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charts/chart7.xml" ContentType="application/vnd.openxmlformats-officedocument.drawingml.chart+xml"/>
  <Override PartName="/ppt/tags/tag12.xml" ContentType="application/vnd.openxmlformats-officedocument.presentationml.tags+xml"/>
  <Override PartName="/ppt/tags/tag23.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tags/tag41.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Default Extension="png" ContentType="image/png"/>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heme/themeOverride4.xml" ContentType="application/vnd.openxmlformats-officedocument.themeOverride+xml"/>
  <Override PartName="/ppt/tags/tag39.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Override PartName="/ppt/tags/tag77.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heme/themeOverride2.xml" ContentType="application/vnd.openxmlformats-officedocument.themeOverride+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charts/chart6.xml" ContentType="application/vnd.openxmlformats-officedocument.drawingml.chart+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charts/chart4.xml" ContentType="application/vnd.openxmlformats-officedocument.drawingml.chart+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wmf" ContentType="image/x-wmf"/>
  <Override PartName="/ppt/theme/themeOverride3.xml" ContentType="application/vnd.openxmlformats-officedocument.themeOverride+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charts/chart5.xml" ContentType="application/vnd.openxmlformats-officedocument.drawingml.chart+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46" r:id="rId1"/>
  </p:sldMasterIdLst>
  <p:notesMasterIdLst>
    <p:notesMasterId r:id="rId27"/>
  </p:notesMasterIdLst>
  <p:handoutMasterIdLst>
    <p:handoutMasterId r:id="rId28"/>
  </p:handoutMasterIdLst>
  <p:sldIdLst>
    <p:sldId id="281" r:id="rId2"/>
    <p:sldId id="304" r:id="rId3"/>
    <p:sldId id="282" r:id="rId4"/>
    <p:sldId id="284" r:id="rId5"/>
    <p:sldId id="275" r:id="rId6"/>
    <p:sldId id="298" r:id="rId7"/>
    <p:sldId id="278" r:id="rId8"/>
    <p:sldId id="286" r:id="rId9"/>
    <p:sldId id="287" r:id="rId10"/>
    <p:sldId id="289" r:id="rId11"/>
    <p:sldId id="277" r:id="rId12"/>
    <p:sldId id="303" r:id="rId13"/>
    <p:sldId id="279" r:id="rId14"/>
    <p:sldId id="265" r:id="rId15"/>
    <p:sldId id="300" r:id="rId16"/>
    <p:sldId id="288" r:id="rId17"/>
    <p:sldId id="291" r:id="rId18"/>
    <p:sldId id="296" r:id="rId19"/>
    <p:sldId id="290" r:id="rId20"/>
    <p:sldId id="301" r:id="rId21"/>
    <p:sldId id="295" r:id="rId22"/>
    <p:sldId id="293" r:id="rId23"/>
    <p:sldId id="266" r:id="rId24"/>
    <p:sldId id="280" r:id="rId25"/>
    <p:sldId id="263" r:id="rId26"/>
  </p:sldIdLst>
  <p:sldSz cx="9144000" cy="6858000" type="screen4x3"/>
  <p:notesSz cx="6858000" cy="9144000"/>
  <p:custDataLst>
    <p:tags r:id="rId29"/>
  </p:custDataLst>
  <p:defaultTextStyle>
    <a:defPPr>
      <a:defRPr lang="en-US"/>
    </a:defPPr>
    <a:lvl1pPr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p:defaultTextStyle>
  <p:extLst>
    <p:ext uri="{EFAFB233-063F-42B5-8137-9DF3F51BA10A}">
      <p15:sldGuideLst xmlns="" xmlns:p15="http://schemas.microsoft.com/office/powerpoint/2012/main">
        <p15:guide id="1" orient="horz" pos="690">
          <p15:clr>
            <a:srgbClr val="A4A3A4"/>
          </p15:clr>
        </p15:guide>
        <p15:guide id="2" orient="horz" pos="988">
          <p15:clr>
            <a:srgbClr val="A4A3A4"/>
          </p15:clr>
        </p15:guide>
        <p15:guide id="3" orient="horz" pos="3658">
          <p15:clr>
            <a:srgbClr val="A4A3A4"/>
          </p15:clr>
        </p15:guide>
        <p15:guide id="4" orient="horz" pos="3442">
          <p15:clr>
            <a:srgbClr val="A4A3A4"/>
          </p15:clr>
        </p15:guide>
        <p15:guide id="5" pos="5577">
          <p15:clr>
            <a:srgbClr val="A4A3A4"/>
          </p15:clr>
        </p15:guide>
        <p15:guide id="6" pos="19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D65AC"/>
    <a:srgbClr val="003399"/>
    <a:srgbClr val="006699"/>
    <a:srgbClr val="0B5593"/>
    <a:srgbClr val="1F7111"/>
    <a:srgbClr val="2A9B18"/>
    <a:srgbClr val="FF9966"/>
    <a:srgbClr val="FFCC00"/>
    <a:srgbClr val="FF7C80"/>
    <a:srgbClr val="3692D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showOutlineIcons="0" snapVertSplitter="1" vertBarState="minimized" horzBarState="maximized">
    <p:restoredLeft sz="34586" autoAdjust="0"/>
    <p:restoredTop sz="86420" autoAdjust="0"/>
  </p:normalViewPr>
  <p:slideViewPr>
    <p:cSldViewPr snapToGrid="0" snapToObjects="1" showGuides="1">
      <p:cViewPr varScale="1">
        <p:scale>
          <a:sx n="74" d="100"/>
          <a:sy n="74" d="100"/>
        </p:scale>
        <p:origin x="-876" y="-276"/>
      </p:cViewPr>
      <p:guideLst>
        <p:guide orient="horz" pos="690"/>
        <p:guide orient="horz" pos="988"/>
        <p:guide orient="horz" pos="3658"/>
        <p:guide orient="horz" pos="3442"/>
        <p:guide pos="5577"/>
        <p:guide pos="195"/>
      </p:guideLst>
    </p:cSldViewPr>
  </p:slideViewPr>
  <p:outlineViewPr>
    <p:cViewPr>
      <p:scale>
        <a:sx n="33" d="100"/>
        <a:sy n="33" d="100"/>
      </p:scale>
      <p:origin x="0" y="1704"/>
    </p:cViewPr>
  </p:outlin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Office_Excel_Worksheet4.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Office_Excel_Worksheet5.xlsx"/><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Office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Office_Excel_Worksheet7.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view3D>
      <c:rotX val="30"/>
      <c:rotY val="90"/>
      <c:rAngAx val="1"/>
    </c:view3D>
    <c:floor>
      <c:spPr>
        <a:noFill/>
        <a:ln w="9525">
          <a:noFill/>
        </a:ln>
        <a:scene3d>
          <a:camera prst="orthographicFront"/>
          <a:lightRig rig="threePt" dir="t"/>
        </a:scene3d>
        <a:sp3d>
          <a:contourClr>
            <a:srgbClr val="000000"/>
          </a:contourClr>
        </a:sp3d>
      </c:spPr>
    </c:floor>
    <c:plotArea>
      <c:layout>
        <c:manualLayout>
          <c:layoutTarget val="inner"/>
          <c:xMode val="edge"/>
          <c:yMode val="edge"/>
          <c:x val="2.2787961040253307E-2"/>
          <c:y val="6.336858126028487E-2"/>
          <c:w val="0.93370774970108128"/>
          <c:h val="0.86035842302239462"/>
        </c:manualLayout>
      </c:layout>
      <c:bar3DChart>
        <c:barDir val="col"/>
        <c:grouping val="stacked"/>
        <c:ser>
          <c:idx val="0"/>
          <c:order val="0"/>
          <c:tx>
            <c:strRef>
              <c:f>Sheet1!$B$1</c:f>
              <c:strCache>
                <c:ptCount val="1"/>
                <c:pt idx="0">
                  <c:v>Turnout</c:v>
                </c:pt>
              </c:strCache>
            </c:strRef>
          </c:tx>
          <c:spPr>
            <a:gradFill flip="none" rotWithShape="1">
              <a:gsLst>
                <a:gs pos="100000">
                  <a:schemeClr val="accent1"/>
                </a:gs>
                <a:gs pos="0">
                  <a:srgbClr val="0D65AC"/>
                </a:gs>
              </a:gsLst>
              <a:lin ang="5400000" scaled="1"/>
              <a:tileRect/>
            </a:gradFill>
            <a:ln>
              <a:noFill/>
            </a:ln>
            <a:effectLst>
              <a:outerShdw blurRad="50800" dist="38100" dir="5400000" algn="t" rotWithShape="0">
                <a:prstClr val="black">
                  <a:alpha val="23000"/>
                </a:prstClr>
              </a:outerShdw>
            </a:effectLst>
            <a:scene3d>
              <a:camera prst="orthographicFront"/>
              <a:lightRig rig="threePt" dir="t"/>
            </a:scene3d>
            <a:sp3d prstMaterial="matte"/>
          </c:spPr>
          <c:dLbls>
            <c:dLbl>
              <c:idx val="0"/>
              <c:layout>
                <c:manualLayout>
                  <c:x val="-1.0062893879098219E-2"/>
                  <c:y val="-0.29278988678584472"/>
                </c:manualLayout>
              </c:layout>
              <c:showVal val="1"/>
            </c:dLbl>
            <c:dLbl>
              <c:idx val="1"/>
              <c:layout>
                <c:manualLayout>
                  <c:x val="2.0125787758196428E-2"/>
                  <c:y val="-0.1377834761345148"/>
                </c:manualLayout>
              </c:layout>
              <c:showVal val="1"/>
            </c:dLbl>
            <c:dLbl>
              <c:idx val="2"/>
              <c:layout>
                <c:manualLayout>
                  <c:x val="2.0125787758196608E-3"/>
                  <c:y val="-0.34445869033628773"/>
                </c:manualLayout>
              </c:layout>
              <c:showVal val="1"/>
            </c:dLbl>
            <c:dLbl>
              <c:idx val="3"/>
              <c:layout>
                <c:manualLayout>
                  <c:x val="1.2075472654917877E-2"/>
                  <c:y val="-0.38136497858660429"/>
                </c:manualLayout>
              </c:layout>
              <c:showVal val="1"/>
            </c:dLbl>
            <c:dLbl>
              <c:idx val="4"/>
              <c:layout>
                <c:manualLayout>
                  <c:x val="3.2201260413114434E-2"/>
                  <c:y val="-0.33461701346953598"/>
                </c:manualLayout>
              </c:layout>
              <c:showVal val="1"/>
            </c:dLbl>
            <c:dLbl>
              <c:idx val="5"/>
              <c:layout>
                <c:manualLayout>
                  <c:x val="1.006289387909818E-2"/>
                  <c:y val="-0.38628581701997977"/>
                </c:manualLayout>
              </c:layout>
              <c:showVal val="1"/>
            </c:dLbl>
            <c:dLbl>
              <c:idx val="6"/>
              <c:layout>
                <c:manualLayout>
                  <c:x val="1.4088051430737519E-2"/>
                  <c:y val="-0.37644414015322791"/>
                </c:manualLayout>
              </c:layout>
              <c:showVal val="1"/>
            </c:dLbl>
            <c:dLbl>
              <c:idx val="7"/>
              <c:layout>
                <c:manualLayout>
                  <c:x val="3.2201260413114399E-2"/>
                  <c:y val="-0.39612749388673058"/>
                </c:manualLayout>
              </c:layout>
              <c:showVal val="1"/>
            </c:dLbl>
            <c:dLbl>
              <c:idx val="8"/>
              <c:layout>
                <c:manualLayout>
                  <c:x val="3.0188681637294625E-2"/>
                  <c:y val="-0.37644414015322791"/>
                </c:manualLayout>
              </c:layout>
              <c:showVal val="1"/>
            </c:dLbl>
            <c:dLbl>
              <c:idx val="9"/>
              <c:layout>
                <c:manualLayout>
                  <c:x val="1.4088051430737519E-2"/>
                  <c:y val="-0.33215659425284927"/>
                </c:manualLayout>
              </c:layout>
              <c:showVal val="1"/>
            </c:dLbl>
            <c:dLbl>
              <c:idx val="10"/>
              <c:layout>
                <c:manualLayout>
                  <c:x val="1.6100630206557186E-2"/>
                  <c:y val="-0.36906288250316482"/>
                </c:manualLayout>
              </c:layout>
              <c:showVal val="1"/>
            </c:dLbl>
            <c:dLbl>
              <c:idx val="11"/>
              <c:layout>
                <c:manualLayout>
                  <c:x val="1.0062735408328482E-2"/>
                  <c:y val="-0.44533587822048581"/>
                </c:manualLayout>
              </c:layout>
              <c:showVal val="1"/>
            </c:dLbl>
            <c:dLbl>
              <c:idx val="12"/>
              <c:layout>
                <c:manualLayout>
                  <c:x val="2.0125787758196428E-2"/>
                  <c:y val="-0.38874623623666682"/>
                </c:manualLayout>
              </c:layout>
              <c:showVal val="1"/>
            </c:dLbl>
            <c:dLbl>
              <c:idx val="13"/>
              <c:layout>
                <c:manualLayout>
                  <c:x val="2.0125787758196428E-2"/>
                  <c:y val="-0.3247753366027849"/>
                </c:manualLayout>
              </c:layout>
              <c:showVal val="1"/>
            </c:dLbl>
            <c:dLbl>
              <c:idx val="14"/>
              <c:layout>
                <c:manualLayout>
                  <c:x val="1.8113208982376779E-2"/>
                  <c:y val="-0.36906288250316482"/>
                </c:manualLayout>
              </c:layout>
              <c:showVal val="1"/>
            </c:dLbl>
            <c:dLbl>
              <c:idx val="15"/>
              <c:layout>
                <c:manualLayout>
                  <c:x val="1.8113208982376779E-2"/>
                  <c:y val="-0.383825397803292"/>
                </c:manualLayout>
              </c:layout>
              <c:showVal val="1"/>
            </c:dLbl>
            <c:spPr>
              <a:noFill/>
              <a:ln>
                <a:noFill/>
              </a:ln>
              <a:effectLst/>
            </c:spPr>
            <c:txPr>
              <a:bodyPr/>
              <a:lstStyle/>
              <a:p>
                <a:pPr>
                  <a:defRPr sz="1800" b="1">
                    <a:solidFill>
                      <a:schemeClr val="tx1"/>
                    </a:solidFill>
                  </a:defRPr>
                </a:pPr>
                <a:endParaRPr lang="en-US"/>
              </a:p>
            </c:txPr>
            <c:showVal val="1"/>
            <c:extLst>
              <c:ext xmlns:c15="http://schemas.microsoft.com/office/drawing/2012/chart" uri="{CE6537A1-D6FC-4f65-9D91-7224C49458BB}">
                <c15:layout/>
                <c15:showLeaderLines val="0"/>
              </c:ext>
            </c:extLst>
          </c:dLbls>
          <c:cat>
            <c:numRef>
              <c:f>Sheet1!$A$2:$A$17</c:f>
              <c:numCache>
                <c:formatCode>General</c:formatCode>
                <c:ptCount val="16"/>
                <c:pt idx="0">
                  <c:v>1952</c:v>
                </c:pt>
                <c:pt idx="1">
                  <c:v>1957</c:v>
                </c:pt>
                <c:pt idx="2">
                  <c:v>1962</c:v>
                </c:pt>
                <c:pt idx="3">
                  <c:v>1967</c:v>
                </c:pt>
                <c:pt idx="4">
                  <c:v>1971</c:v>
                </c:pt>
                <c:pt idx="5">
                  <c:v>1977</c:v>
                </c:pt>
                <c:pt idx="6">
                  <c:v>1980</c:v>
                </c:pt>
                <c:pt idx="7">
                  <c:v>1984</c:v>
                </c:pt>
                <c:pt idx="8">
                  <c:v>1989</c:v>
                </c:pt>
                <c:pt idx="9">
                  <c:v>1991</c:v>
                </c:pt>
                <c:pt idx="10">
                  <c:v>1996</c:v>
                </c:pt>
                <c:pt idx="11">
                  <c:v>1998</c:v>
                </c:pt>
                <c:pt idx="12">
                  <c:v>1999</c:v>
                </c:pt>
                <c:pt idx="13">
                  <c:v>2004</c:v>
                </c:pt>
                <c:pt idx="14">
                  <c:v>2009</c:v>
                </c:pt>
                <c:pt idx="15">
                  <c:v>2014</c:v>
                </c:pt>
              </c:numCache>
            </c:numRef>
          </c:cat>
          <c:val>
            <c:numRef>
              <c:f>Sheet1!$B$2:$B$17</c:f>
              <c:numCache>
                <c:formatCode>General</c:formatCode>
                <c:ptCount val="16"/>
                <c:pt idx="0">
                  <c:v>45.7</c:v>
                </c:pt>
                <c:pt idx="1">
                  <c:v>45.4</c:v>
                </c:pt>
                <c:pt idx="2">
                  <c:v>55.4</c:v>
                </c:pt>
                <c:pt idx="3">
                  <c:v>61.3</c:v>
                </c:pt>
                <c:pt idx="4">
                  <c:v>55.3</c:v>
                </c:pt>
                <c:pt idx="5">
                  <c:v>60.5</c:v>
                </c:pt>
                <c:pt idx="6">
                  <c:v>56.9</c:v>
                </c:pt>
                <c:pt idx="7">
                  <c:v>64.099999999999994</c:v>
                </c:pt>
                <c:pt idx="8">
                  <c:v>61.9</c:v>
                </c:pt>
                <c:pt idx="9">
                  <c:v>56.9</c:v>
                </c:pt>
                <c:pt idx="10">
                  <c:v>57.9</c:v>
                </c:pt>
                <c:pt idx="11">
                  <c:v>61.9</c:v>
                </c:pt>
                <c:pt idx="12">
                  <c:v>59.9</c:v>
                </c:pt>
                <c:pt idx="13">
                  <c:v>58.07</c:v>
                </c:pt>
                <c:pt idx="14">
                  <c:v>58.190000000000012</c:v>
                </c:pt>
                <c:pt idx="15">
                  <c:v>66</c:v>
                </c:pt>
              </c:numCache>
            </c:numRef>
          </c:val>
        </c:ser>
        <c:ser>
          <c:idx val="1"/>
          <c:order val="1"/>
          <c:tx>
            <c:strRef>
              <c:f>Sheet1!$C$1</c:f>
              <c:strCache>
                <c:ptCount val="1"/>
                <c:pt idx="0">
                  <c:v>Column1</c:v>
                </c:pt>
              </c:strCache>
            </c:strRef>
          </c:tx>
          <c:spPr>
            <a:gradFill flip="none" rotWithShape="1">
              <a:gsLst>
                <a:gs pos="100000">
                  <a:schemeClr val="bg1">
                    <a:lumMod val="95000"/>
                  </a:schemeClr>
                </a:gs>
                <a:gs pos="0">
                  <a:schemeClr val="bg1">
                    <a:lumMod val="75000"/>
                  </a:schemeClr>
                </a:gs>
              </a:gsLst>
              <a:lin ang="16200000" scaled="1"/>
              <a:tileRect/>
            </a:gradFill>
            <a:scene3d>
              <a:camera prst="orthographicFront"/>
              <a:lightRig rig="threePt" dir="t"/>
            </a:scene3d>
            <a:sp3d prstMaterial="metal"/>
          </c:spPr>
          <c:dLbls>
            <c:spPr>
              <a:noFill/>
              <a:ln>
                <a:noFill/>
              </a:ln>
              <a:effectLst/>
            </c:spPr>
            <c:txPr>
              <a:bodyPr/>
              <a:lstStyle/>
              <a:p>
                <a:pPr>
                  <a:defRPr sz="1200"/>
                </a:pPr>
                <a:endParaRPr lang="en-US"/>
              </a:p>
            </c:txPr>
            <c:showVal val="1"/>
            <c:extLst>
              <c:ext xmlns:c15="http://schemas.microsoft.com/office/drawing/2012/chart" uri="{CE6537A1-D6FC-4f65-9D91-7224C49458BB}">
                <c15:layout/>
                <c15:showLeaderLines val="0"/>
              </c:ext>
            </c:extLst>
          </c:dLbls>
          <c:cat>
            <c:numRef>
              <c:f>Sheet1!$A$2:$A$17</c:f>
              <c:numCache>
                <c:formatCode>General</c:formatCode>
                <c:ptCount val="16"/>
                <c:pt idx="0">
                  <c:v>1952</c:v>
                </c:pt>
                <c:pt idx="1">
                  <c:v>1957</c:v>
                </c:pt>
                <c:pt idx="2">
                  <c:v>1962</c:v>
                </c:pt>
                <c:pt idx="3">
                  <c:v>1967</c:v>
                </c:pt>
                <c:pt idx="4">
                  <c:v>1971</c:v>
                </c:pt>
                <c:pt idx="5">
                  <c:v>1977</c:v>
                </c:pt>
                <c:pt idx="6">
                  <c:v>1980</c:v>
                </c:pt>
                <c:pt idx="7">
                  <c:v>1984</c:v>
                </c:pt>
                <c:pt idx="8">
                  <c:v>1989</c:v>
                </c:pt>
                <c:pt idx="9">
                  <c:v>1991</c:v>
                </c:pt>
                <c:pt idx="10">
                  <c:v>1996</c:v>
                </c:pt>
                <c:pt idx="11">
                  <c:v>1998</c:v>
                </c:pt>
                <c:pt idx="12">
                  <c:v>1999</c:v>
                </c:pt>
                <c:pt idx="13">
                  <c:v>2004</c:v>
                </c:pt>
                <c:pt idx="14">
                  <c:v>2009</c:v>
                </c:pt>
                <c:pt idx="15">
                  <c:v>2014</c:v>
                </c:pt>
              </c:numCache>
            </c:numRef>
          </c:cat>
          <c:val>
            <c:numRef>
              <c:f>Sheet1!$C$2:$C$17</c:f>
              <c:numCache>
                <c:formatCode>General</c:formatCode>
                <c:ptCount val="16"/>
              </c:numCache>
            </c:numRef>
          </c:val>
        </c:ser>
        <c:dLbls>
          <c:showVal val="1"/>
        </c:dLbls>
        <c:shape val="box"/>
        <c:axId val="81631104"/>
        <c:axId val="81632640"/>
        <c:axId val="0"/>
      </c:bar3DChart>
      <c:catAx>
        <c:axId val="81631104"/>
        <c:scaling>
          <c:orientation val="minMax"/>
        </c:scaling>
        <c:delete val="1"/>
        <c:axPos val="b"/>
        <c:numFmt formatCode="General" sourceLinked="1"/>
        <c:tickLblPos val="nextTo"/>
        <c:crossAx val="81632640"/>
        <c:crosses val="autoZero"/>
        <c:auto val="1"/>
        <c:lblAlgn val="ctr"/>
        <c:lblOffset val="100"/>
      </c:catAx>
      <c:valAx>
        <c:axId val="81632640"/>
        <c:scaling>
          <c:orientation val="minMax"/>
        </c:scaling>
        <c:delete val="1"/>
        <c:axPos val="l"/>
        <c:majorGridlines>
          <c:spPr>
            <a:ln w="3175">
              <a:noFill/>
            </a:ln>
          </c:spPr>
        </c:majorGridlines>
        <c:numFmt formatCode="General" sourceLinked="1"/>
        <c:tickLblPos val="nextTo"/>
        <c:crossAx val="81631104"/>
        <c:crosses val="autoZero"/>
        <c:crossBetween val="between"/>
      </c:valAx>
      <c:spPr>
        <a:noFill/>
        <a:ln w="25400">
          <a:noFill/>
        </a:ln>
      </c:spPr>
    </c:plotArea>
    <c:legend>
      <c:legendPos val="t"/>
      <c:layout>
        <c:manualLayout>
          <c:xMode val="edge"/>
          <c:yMode val="edge"/>
          <c:x val="0.2801392716535433"/>
          <c:y val="0.92022840981107068"/>
          <c:w val="0.28138812335958119"/>
          <c:h val="7.7163506530607454E-2"/>
        </c:manualLayout>
      </c:layout>
      <c:spPr>
        <a:ln>
          <a:noFill/>
        </a:ln>
      </c:spPr>
      <c:txPr>
        <a:bodyPr/>
        <a:lstStyle/>
        <a:p>
          <a:pPr>
            <a:defRPr b="1"/>
          </a:pPr>
          <a:endParaRPr lang="en-US"/>
        </a:p>
      </c:txPr>
    </c:legend>
    <c:plotVisOnly val="1"/>
    <c:dispBlanksAs val="gap"/>
  </c:chart>
  <c:txPr>
    <a:bodyPr/>
    <a:lstStyle/>
    <a:p>
      <a:pPr>
        <a:defRPr sz="18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plotArea>
      <c:layout/>
      <c:lineChart>
        <c:grouping val="standard"/>
        <c:ser>
          <c:idx val="0"/>
          <c:order val="0"/>
          <c:tx>
            <c:strRef>
              <c:f>Sheet1!$B$1</c:f>
              <c:strCache>
                <c:ptCount val="1"/>
                <c:pt idx="0">
                  <c:v>State Parties</c:v>
                </c:pt>
              </c:strCache>
            </c:strRef>
          </c:tx>
          <c:dLbls>
            <c:txPr>
              <a:bodyPr/>
              <a:lstStyle/>
              <a:p>
                <a:pPr>
                  <a:defRPr b="1"/>
                </a:pPr>
                <a:endParaRPr lang="en-US"/>
              </a:p>
            </c:txPr>
            <c:dLblPos val="ctr"/>
            <c:showVal val="1"/>
          </c:dLbls>
          <c:cat>
            <c:numRef>
              <c:f>Sheet1!$A$2:$A$8</c:f>
              <c:numCache>
                <c:formatCode>General</c:formatCode>
                <c:ptCount val="7"/>
                <c:pt idx="0">
                  <c:v>1989</c:v>
                </c:pt>
                <c:pt idx="1">
                  <c:v>1991</c:v>
                </c:pt>
                <c:pt idx="2">
                  <c:v>1996</c:v>
                </c:pt>
                <c:pt idx="3">
                  <c:v>1998</c:v>
                </c:pt>
                <c:pt idx="4">
                  <c:v>1999</c:v>
                </c:pt>
                <c:pt idx="5">
                  <c:v>2004</c:v>
                </c:pt>
                <c:pt idx="6">
                  <c:v>2009</c:v>
                </c:pt>
              </c:numCache>
            </c:numRef>
          </c:cat>
          <c:val>
            <c:numRef>
              <c:f>Sheet1!$B$2:$B$8</c:f>
              <c:numCache>
                <c:formatCode>General</c:formatCode>
                <c:ptCount val="7"/>
                <c:pt idx="0">
                  <c:v>9.2800000000000011</c:v>
                </c:pt>
                <c:pt idx="1">
                  <c:v>13.08</c:v>
                </c:pt>
                <c:pt idx="2">
                  <c:v>22.43</c:v>
                </c:pt>
                <c:pt idx="3">
                  <c:v>18.97</c:v>
                </c:pt>
                <c:pt idx="4">
                  <c:v>26.93</c:v>
                </c:pt>
                <c:pt idx="5">
                  <c:v>28.9</c:v>
                </c:pt>
                <c:pt idx="6">
                  <c:v>28.4</c:v>
                </c:pt>
              </c:numCache>
            </c:numRef>
          </c:val>
        </c:ser>
        <c:ser>
          <c:idx val="1"/>
          <c:order val="1"/>
          <c:tx>
            <c:strRef>
              <c:f>Sheet1!$C$1</c:f>
              <c:strCache>
                <c:ptCount val="1"/>
                <c:pt idx="0">
                  <c:v>National parties</c:v>
                </c:pt>
              </c:strCache>
            </c:strRef>
          </c:tx>
          <c:dLbls>
            <c:txPr>
              <a:bodyPr/>
              <a:lstStyle/>
              <a:p>
                <a:pPr>
                  <a:defRPr b="1"/>
                </a:pPr>
                <a:endParaRPr lang="en-US"/>
              </a:p>
            </c:txPr>
            <c:dLblPos val="ctr"/>
            <c:showVal val="1"/>
          </c:dLbls>
          <c:cat>
            <c:numRef>
              <c:f>Sheet1!$A$2:$A$8</c:f>
              <c:numCache>
                <c:formatCode>General</c:formatCode>
                <c:ptCount val="7"/>
                <c:pt idx="0">
                  <c:v>1989</c:v>
                </c:pt>
                <c:pt idx="1">
                  <c:v>1991</c:v>
                </c:pt>
                <c:pt idx="2">
                  <c:v>1996</c:v>
                </c:pt>
                <c:pt idx="3">
                  <c:v>1998</c:v>
                </c:pt>
                <c:pt idx="4">
                  <c:v>1999</c:v>
                </c:pt>
                <c:pt idx="5">
                  <c:v>2004</c:v>
                </c:pt>
                <c:pt idx="6">
                  <c:v>2009</c:v>
                </c:pt>
              </c:numCache>
            </c:numRef>
          </c:cat>
          <c:val>
            <c:numRef>
              <c:f>Sheet1!$C$2:$C$8</c:f>
              <c:numCache>
                <c:formatCode>General</c:formatCode>
                <c:ptCount val="7"/>
                <c:pt idx="0">
                  <c:v>79.34</c:v>
                </c:pt>
                <c:pt idx="1">
                  <c:v>80.58</c:v>
                </c:pt>
                <c:pt idx="2">
                  <c:v>69.08</c:v>
                </c:pt>
                <c:pt idx="3">
                  <c:v>67.98</c:v>
                </c:pt>
                <c:pt idx="4">
                  <c:v>67.11</c:v>
                </c:pt>
                <c:pt idx="5">
                  <c:v>62.89</c:v>
                </c:pt>
                <c:pt idx="6">
                  <c:v>63.58</c:v>
                </c:pt>
              </c:numCache>
            </c:numRef>
          </c:val>
        </c:ser>
        <c:dLbls>
          <c:showVal val="1"/>
        </c:dLbls>
        <c:marker val="1"/>
        <c:axId val="81940480"/>
        <c:axId val="81942016"/>
      </c:lineChart>
      <c:catAx>
        <c:axId val="81940480"/>
        <c:scaling>
          <c:orientation val="minMax"/>
        </c:scaling>
        <c:axPos val="b"/>
        <c:numFmt formatCode="General" sourceLinked="1"/>
        <c:tickLblPos val="nextTo"/>
        <c:txPr>
          <a:bodyPr/>
          <a:lstStyle/>
          <a:p>
            <a:pPr>
              <a:defRPr b="1"/>
            </a:pPr>
            <a:endParaRPr lang="en-US"/>
          </a:p>
        </c:txPr>
        <c:crossAx val="81942016"/>
        <c:crosses val="autoZero"/>
        <c:auto val="1"/>
        <c:lblAlgn val="ctr"/>
        <c:lblOffset val="100"/>
      </c:catAx>
      <c:valAx>
        <c:axId val="81942016"/>
        <c:scaling>
          <c:orientation val="minMax"/>
        </c:scaling>
        <c:axPos val="l"/>
        <c:majorGridlines/>
        <c:numFmt formatCode="General" sourceLinked="1"/>
        <c:tickLblPos val="nextTo"/>
        <c:txPr>
          <a:bodyPr/>
          <a:lstStyle/>
          <a:p>
            <a:pPr>
              <a:defRPr b="1"/>
            </a:pPr>
            <a:endParaRPr lang="en-US"/>
          </a:p>
        </c:txPr>
        <c:crossAx val="81940480"/>
        <c:crosses val="autoZero"/>
        <c:crossBetween val="between"/>
      </c:valAx>
    </c:plotArea>
    <c:legend>
      <c:legendPos val="b"/>
      <c:layout>
        <c:manualLayout>
          <c:xMode val="edge"/>
          <c:yMode val="edge"/>
          <c:x val="0.13442096053782779"/>
          <c:y val="0.90333723526622556"/>
          <c:w val="0.7589357415849336"/>
          <c:h val="7.9826565048491463E-2"/>
        </c:manualLayout>
      </c:layout>
      <c:txPr>
        <a:bodyPr/>
        <a:lstStyle/>
        <a:p>
          <a:pPr>
            <a:defRPr sz="2000" b="1"/>
          </a:pPr>
          <a:endParaRPr lang="en-US"/>
        </a:p>
      </c:txPr>
    </c:legend>
    <c:plotVisOnly val="1"/>
  </c:chart>
  <c:spPr>
    <a:ln cmpd="dbl">
      <a:solidFill>
        <a:srgbClr val="2A9B18"/>
      </a:solidFill>
    </a:ln>
  </c:spPr>
  <c:txPr>
    <a:bodyPr/>
    <a:lstStyle/>
    <a:p>
      <a:pPr>
        <a:defRPr sz="1800"/>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plotArea>
      <c:layout/>
      <c:lineChart>
        <c:grouping val="standard"/>
        <c:ser>
          <c:idx val="0"/>
          <c:order val="0"/>
          <c:tx>
            <c:strRef>
              <c:f>Sheet1!$B$1</c:f>
              <c:strCache>
                <c:ptCount val="1"/>
                <c:pt idx="0">
                  <c:v>State Parties</c:v>
                </c:pt>
              </c:strCache>
            </c:strRef>
          </c:tx>
          <c:dLbls>
            <c:txPr>
              <a:bodyPr/>
              <a:lstStyle/>
              <a:p>
                <a:pPr>
                  <a:defRPr b="1"/>
                </a:pPr>
                <a:endParaRPr lang="en-US"/>
              </a:p>
            </c:txPr>
            <c:dLblPos val="ctr"/>
            <c:showVal val="1"/>
          </c:dLbls>
          <c:cat>
            <c:numRef>
              <c:f>Sheet1!$A$2:$A$8</c:f>
              <c:numCache>
                <c:formatCode>General</c:formatCode>
                <c:ptCount val="7"/>
                <c:pt idx="0">
                  <c:v>1989</c:v>
                </c:pt>
                <c:pt idx="1">
                  <c:v>1991</c:v>
                </c:pt>
                <c:pt idx="2">
                  <c:v>1996</c:v>
                </c:pt>
                <c:pt idx="3">
                  <c:v>1998</c:v>
                </c:pt>
                <c:pt idx="4">
                  <c:v>1999</c:v>
                </c:pt>
                <c:pt idx="5">
                  <c:v>2004</c:v>
                </c:pt>
                <c:pt idx="6">
                  <c:v>2009</c:v>
                </c:pt>
              </c:numCache>
            </c:numRef>
          </c:cat>
          <c:val>
            <c:numRef>
              <c:f>Sheet1!$B$2:$B$8</c:f>
              <c:numCache>
                <c:formatCode>General</c:formatCode>
                <c:ptCount val="7"/>
                <c:pt idx="0">
                  <c:v>9.2800000000000011</c:v>
                </c:pt>
                <c:pt idx="1">
                  <c:v>13.08</c:v>
                </c:pt>
                <c:pt idx="2">
                  <c:v>22.43</c:v>
                </c:pt>
                <c:pt idx="3">
                  <c:v>18.97</c:v>
                </c:pt>
                <c:pt idx="4">
                  <c:v>26.93</c:v>
                </c:pt>
                <c:pt idx="5">
                  <c:v>28.9</c:v>
                </c:pt>
                <c:pt idx="6">
                  <c:v>28.4</c:v>
                </c:pt>
              </c:numCache>
            </c:numRef>
          </c:val>
        </c:ser>
        <c:ser>
          <c:idx val="1"/>
          <c:order val="1"/>
          <c:tx>
            <c:strRef>
              <c:f>Sheet1!$C$1</c:f>
              <c:strCache>
                <c:ptCount val="1"/>
                <c:pt idx="0">
                  <c:v>National parties</c:v>
                </c:pt>
              </c:strCache>
            </c:strRef>
          </c:tx>
          <c:dLbls>
            <c:txPr>
              <a:bodyPr/>
              <a:lstStyle/>
              <a:p>
                <a:pPr>
                  <a:defRPr b="1"/>
                </a:pPr>
                <a:endParaRPr lang="en-US"/>
              </a:p>
            </c:txPr>
            <c:dLblPos val="ctr"/>
            <c:showVal val="1"/>
          </c:dLbls>
          <c:cat>
            <c:numRef>
              <c:f>Sheet1!$A$2:$A$8</c:f>
              <c:numCache>
                <c:formatCode>General</c:formatCode>
                <c:ptCount val="7"/>
                <c:pt idx="0">
                  <c:v>1989</c:v>
                </c:pt>
                <c:pt idx="1">
                  <c:v>1991</c:v>
                </c:pt>
                <c:pt idx="2">
                  <c:v>1996</c:v>
                </c:pt>
                <c:pt idx="3">
                  <c:v>1998</c:v>
                </c:pt>
                <c:pt idx="4">
                  <c:v>1999</c:v>
                </c:pt>
                <c:pt idx="5">
                  <c:v>2004</c:v>
                </c:pt>
                <c:pt idx="6">
                  <c:v>2009</c:v>
                </c:pt>
              </c:numCache>
            </c:numRef>
          </c:cat>
          <c:val>
            <c:numRef>
              <c:f>Sheet1!$C$2:$C$8</c:f>
              <c:numCache>
                <c:formatCode>General</c:formatCode>
                <c:ptCount val="7"/>
                <c:pt idx="0">
                  <c:v>79.34</c:v>
                </c:pt>
                <c:pt idx="1">
                  <c:v>80.58</c:v>
                </c:pt>
                <c:pt idx="2">
                  <c:v>69.08</c:v>
                </c:pt>
                <c:pt idx="3">
                  <c:v>67.98</c:v>
                </c:pt>
                <c:pt idx="4">
                  <c:v>67.11</c:v>
                </c:pt>
                <c:pt idx="5">
                  <c:v>62.89</c:v>
                </c:pt>
                <c:pt idx="6">
                  <c:v>63.58</c:v>
                </c:pt>
              </c:numCache>
            </c:numRef>
          </c:val>
        </c:ser>
        <c:dLbls>
          <c:showVal val="1"/>
        </c:dLbls>
        <c:marker val="1"/>
        <c:axId val="82459264"/>
        <c:axId val="82518400"/>
      </c:lineChart>
      <c:catAx>
        <c:axId val="82459264"/>
        <c:scaling>
          <c:orientation val="minMax"/>
        </c:scaling>
        <c:axPos val="b"/>
        <c:numFmt formatCode="General" sourceLinked="1"/>
        <c:tickLblPos val="nextTo"/>
        <c:crossAx val="82518400"/>
        <c:crosses val="autoZero"/>
        <c:auto val="1"/>
        <c:lblAlgn val="ctr"/>
        <c:lblOffset val="100"/>
      </c:catAx>
      <c:valAx>
        <c:axId val="82518400"/>
        <c:scaling>
          <c:orientation val="minMax"/>
        </c:scaling>
        <c:axPos val="l"/>
        <c:majorGridlines/>
        <c:numFmt formatCode="General" sourceLinked="1"/>
        <c:tickLblPos val="nextTo"/>
        <c:crossAx val="82459264"/>
        <c:crosses val="autoZero"/>
        <c:crossBetween val="between"/>
      </c:valAx>
    </c:plotArea>
    <c:legend>
      <c:legendPos val="b"/>
      <c:layout/>
      <c:txPr>
        <a:bodyPr/>
        <a:lstStyle/>
        <a:p>
          <a:pPr>
            <a:defRPr sz="2000" b="1"/>
          </a:pPr>
          <a:endParaRPr lang="en-US"/>
        </a:p>
      </c:txPr>
    </c:legend>
    <c:plotVisOnly val="1"/>
  </c:chart>
  <c:spPr>
    <a:noFill/>
    <a:ln w="19050" cmpd="dbl">
      <a:solidFill>
        <a:srgbClr val="2A9B18"/>
      </a:solidFill>
    </a:ln>
  </c:spPr>
  <c:txPr>
    <a:bodyPr/>
    <a:lstStyle/>
    <a:p>
      <a:pPr>
        <a:defRPr sz="1800"/>
      </a:pPr>
      <a:endParaRPr lang="en-US"/>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plotArea>
      <c:layout/>
      <c:lineChart>
        <c:grouping val="standard"/>
        <c:ser>
          <c:idx val="0"/>
          <c:order val="0"/>
          <c:tx>
            <c:strRef>
              <c:f>Sheet1!$B$1</c:f>
              <c:strCache>
                <c:ptCount val="1"/>
                <c:pt idx="0">
                  <c:v>Lawyers</c:v>
                </c:pt>
              </c:strCache>
            </c:strRef>
          </c:tx>
          <c:cat>
            <c:numRef>
              <c:f>Sheet1!$A$2:$A$9</c:f>
              <c:numCache>
                <c:formatCode>General</c:formatCode>
                <c:ptCount val="8"/>
                <c:pt idx="0">
                  <c:v>1952</c:v>
                </c:pt>
                <c:pt idx="1">
                  <c:v>1962</c:v>
                </c:pt>
                <c:pt idx="2">
                  <c:v>1967</c:v>
                </c:pt>
                <c:pt idx="3">
                  <c:v>1977</c:v>
                </c:pt>
                <c:pt idx="4">
                  <c:v>1989</c:v>
                </c:pt>
                <c:pt idx="5">
                  <c:v>1996</c:v>
                </c:pt>
                <c:pt idx="6">
                  <c:v>2004</c:v>
                </c:pt>
                <c:pt idx="7">
                  <c:v>2009</c:v>
                </c:pt>
              </c:numCache>
            </c:numRef>
          </c:cat>
          <c:val>
            <c:numRef>
              <c:f>Sheet1!$B$2:$B$9</c:f>
              <c:numCache>
                <c:formatCode>General</c:formatCode>
                <c:ptCount val="8"/>
                <c:pt idx="0">
                  <c:v>31</c:v>
                </c:pt>
                <c:pt idx="1">
                  <c:v>22</c:v>
                </c:pt>
                <c:pt idx="2">
                  <c:v>17.399999999999999</c:v>
                </c:pt>
                <c:pt idx="3">
                  <c:v>23.4</c:v>
                </c:pt>
                <c:pt idx="4">
                  <c:v>15.360000000000017</c:v>
                </c:pt>
                <c:pt idx="5">
                  <c:v>12.24</c:v>
                </c:pt>
                <c:pt idx="6">
                  <c:v>12.26</c:v>
                </c:pt>
                <c:pt idx="7">
                  <c:v>13.57</c:v>
                </c:pt>
              </c:numCache>
            </c:numRef>
          </c:val>
        </c:ser>
        <c:ser>
          <c:idx val="1"/>
          <c:order val="1"/>
          <c:tx>
            <c:strRef>
              <c:f>Sheet1!$C$1</c:f>
              <c:strCache>
                <c:ptCount val="1"/>
                <c:pt idx="0">
                  <c:v>Agriculture</c:v>
                </c:pt>
              </c:strCache>
            </c:strRef>
          </c:tx>
          <c:cat>
            <c:numRef>
              <c:f>Sheet1!$A$2:$A$9</c:f>
              <c:numCache>
                <c:formatCode>General</c:formatCode>
                <c:ptCount val="8"/>
                <c:pt idx="0">
                  <c:v>1952</c:v>
                </c:pt>
                <c:pt idx="1">
                  <c:v>1962</c:v>
                </c:pt>
                <c:pt idx="2">
                  <c:v>1967</c:v>
                </c:pt>
                <c:pt idx="3">
                  <c:v>1977</c:v>
                </c:pt>
                <c:pt idx="4">
                  <c:v>1989</c:v>
                </c:pt>
                <c:pt idx="5">
                  <c:v>1996</c:v>
                </c:pt>
                <c:pt idx="6">
                  <c:v>2004</c:v>
                </c:pt>
                <c:pt idx="7">
                  <c:v>2009</c:v>
                </c:pt>
              </c:numCache>
            </c:numRef>
          </c:cat>
          <c:val>
            <c:numRef>
              <c:f>Sheet1!$C$2:$C$9</c:f>
              <c:numCache>
                <c:formatCode>General</c:formatCode>
                <c:ptCount val="8"/>
                <c:pt idx="0">
                  <c:v>19</c:v>
                </c:pt>
                <c:pt idx="1">
                  <c:v>25</c:v>
                </c:pt>
                <c:pt idx="2">
                  <c:v>29.4</c:v>
                </c:pt>
                <c:pt idx="3">
                  <c:v>36</c:v>
                </c:pt>
                <c:pt idx="4">
                  <c:v>44.14</c:v>
                </c:pt>
                <c:pt idx="5">
                  <c:v>38.980000000000004</c:v>
                </c:pt>
                <c:pt idx="6">
                  <c:v>41.9</c:v>
                </c:pt>
                <c:pt idx="7">
                  <c:v>41.1</c:v>
                </c:pt>
              </c:numCache>
            </c:numRef>
          </c:val>
        </c:ser>
        <c:ser>
          <c:idx val="2"/>
          <c:order val="2"/>
          <c:tx>
            <c:strRef>
              <c:f>Sheet1!$D$1</c:f>
              <c:strCache>
                <c:ptCount val="1"/>
                <c:pt idx="0">
                  <c:v>Social work</c:v>
                </c:pt>
              </c:strCache>
            </c:strRef>
          </c:tx>
          <c:cat>
            <c:numRef>
              <c:f>Sheet1!$A$2:$A$9</c:f>
              <c:numCache>
                <c:formatCode>General</c:formatCode>
                <c:ptCount val="8"/>
                <c:pt idx="0">
                  <c:v>1952</c:v>
                </c:pt>
                <c:pt idx="1">
                  <c:v>1962</c:v>
                </c:pt>
                <c:pt idx="2">
                  <c:v>1967</c:v>
                </c:pt>
                <c:pt idx="3">
                  <c:v>1977</c:v>
                </c:pt>
                <c:pt idx="4">
                  <c:v>1989</c:v>
                </c:pt>
                <c:pt idx="5">
                  <c:v>1996</c:v>
                </c:pt>
                <c:pt idx="6">
                  <c:v>2004</c:v>
                </c:pt>
                <c:pt idx="7">
                  <c:v>2009</c:v>
                </c:pt>
              </c:numCache>
            </c:numRef>
          </c:cat>
          <c:val>
            <c:numRef>
              <c:f>Sheet1!$D$2:$D$9</c:f>
              <c:numCache>
                <c:formatCode>General</c:formatCode>
                <c:ptCount val="8"/>
                <c:pt idx="0">
                  <c:v>17</c:v>
                </c:pt>
                <c:pt idx="1">
                  <c:v>20</c:v>
                </c:pt>
                <c:pt idx="2">
                  <c:v>22.8</c:v>
                </c:pt>
                <c:pt idx="3">
                  <c:v>20</c:v>
                </c:pt>
                <c:pt idx="4">
                  <c:v>17.079999999999988</c:v>
                </c:pt>
                <c:pt idx="5">
                  <c:v>19.59</c:v>
                </c:pt>
                <c:pt idx="6">
                  <c:v>22.7</c:v>
                </c:pt>
                <c:pt idx="7">
                  <c:v>19.190000000000001</c:v>
                </c:pt>
              </c:numCache>
            </c:numRef>
          </c:val>
        </c:ser>
        <c:marker val="1"/>
        <c:axId val="82916864"/>
        <c:axId val="82918400"/>
      </c:lineChart>
      <c:catAx>
        <c:axId val="82916864"/>
        <c:scaling>
          <c:orientation val="minMax"/>
        </c:scaling>
        <c:axPos val="b"/>
        <c:majorGridlines/>
        <c:numFmt formatCode="General" sourceLinked="1"/>
        <c:tickLblPos val="nextTo"/>
        <c:txPr>
          <a:bodyPr/>
          <a:lstStyle/>
          <a:p>
            <a:pPr>
              <a:defRPr b="1"/>
            </a:pPr>
            <a:endParaRPr lang="en-US"/>
          </a:p>
        </c:txPr>
        <c:crossAx val="82918400"/>
        <c:crosses val="autoZero"/>
        <c:auto val="1"/>
        <c:lblAlgn val="ctr"/>
        <c:lblOffset val="100"/>
      </c:catAx>
      <c:valAx>
        <c:axId val="82918400"/>
        <c:scaling>
          <c:orientation val="minMax"/>
        </c:scaling>
        <c:axPos val="l"/>
        <c:majorGridlines/>
        <c:numFmt formatCode="General" sourceLinked="1"/>
        <c:tickLblPos val="nextTo"/>
        <c:txPr>
          <a:bodyPr/>
          <a:lstStyle/>
          <a:p>
            <a:pPr>
              <a:defRPr b="1"/>
            </a:pPr>
            <a:endParaRPr lang="en-US"/>
          </a:p>
        </c:txPr>
        <c:crossAx val="82916864"/>
        <c:crosses val="autoZero"/>
        <c:crossBetween val="between"/>
      </c:valAx>
    </c:plotArea>
    <c:legend>
      <c:legendPos val="b"/>
      <c:legendEntry>
        <c:idx val="0"/>
        <c:txPr>
          <a:bodyPr/>
          <a:lstStyle/>
          <a:p>
            <a:pPr>
              <a:defRPr b="1"/>
            </a:pPr>
            <a:endParaRPr lang="en-US"/>
          </a:p>
        </c:txPr>
      </c:legendEntry>
      <c:legendEntry>
        <c:idx val="1"/>
        <c:txPr>
          <a:bodyPr/>
          <a:lstStyle/>
          <a:p>
            <a:pPr>
              <a:defRPr b="1"/>
            </a:pPr>
            <a:endParaRPr lang="en-US"/>
          </a:p>
        </c:txPr>
      </c:legendEntry>
      <c:legendEntry>
        <c:idx val="2"/>
        <c:txPr>
          <a:bodyPr/>
          <a:lstStyle/>
          <a:p>
            <a:pPr>
              <a:defRPr b="1"/>
            </a:pPr>
            <a:endParaRPr lang="en-US"/>
          </a:p>
        </c:txPr>
      </c:legendEntry>
      <c:layout/>
    </c:legend>
    <c:plotVisOnly val="1"/>
  </c:chart>
  <c:txPr>
    <a:bodyPr/>
    <a:lstStyle/>
    <a:p>
      <a:pPr>
        <a:defRPr sz="1800"/>
      </a:pPr>
      <a:endParaRPr lang="en-US"/>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plotArea>
      <c:layout/>
      <c:lineChart>
        <c:grouping val="standard"/>
        <c:ser>
          <c:idx val="0"/>
          <c:order val="0"/>
          <c:tx>
            <c:strRef>
              <c:f>Sheet1!$B$1</c:f>
              <c:strCache>
                <c:ptCount val="1"/>
                <c:pt idx="0">
                  <c:v>Below Graduate</c:v>
                </c:pt>
              </c:strCache>
            </c:strRef>
          </c:tx>
          <c:cat>
            <c:numRef>
              <c:f>Sheet1!$A$2:$A$9</c:f>
              <c:numCache>
                <c:formatCode>General</c:formatCode>
                <c:ptCount val="8"/>
                <c:pt idx="0">
                  <c:v>1952</c:v>
                </c:pt>
                <c:pt idx="1">
                  <c:v>1962</c:v>
                </c:pt>
                <c:pt idx="2">
                  <c:v>1967</c:v>
                </c:pt>
                <c:pt idx="3">
                  <c:v>1977</c:v>
                </c:pt>
                <c:pt idx="4">
                  <c:v>1989</c:v>
                </c:pt>
                <c:pt idx="5">
                  <c:v>1999</c:v>
                </c:pt>
                <c:pt idx="6">
                  <c:v>2004</c:v>
                </c:pt>
                <c:pt idx="7">
                  <c:v>2009</c:v>
                </c:pt>
              </c:numCache>
            </c:numRef>
          </c:cat>
          <c:val>
            <c:numRef>
              <c:f>Sheet1!$B$2:$B$9</c:f>
              <c:numCache>
                <c:formatCode>General</c:formatCode>
                <c:ptCount val="8"/>
                <c:pt idx="1">
                  <c:v>30.2</c:v>
                </c:pt>
                <c:pt idx="2">
                  <c:v>31.5</c:v>
                </c:pt>
                <c:pt idx="3">
                  <c:v>35.200000000000003</c:v>
                </c:pt>
                <c:pt idx="4">
                  <c:v>21.8</c:v>
                </c:pt>
                <c:pt idx="5">
                  <c:v>22.6</c:v>
                </c:pt>
                <c:pt idx="6">
                  <c:v>21.2</c:v>
                </c:pt>
                <c:pt idx="7">
                  <c:v>19.3</c:v>
                </c:pt>
              </c:numCache>
            </c:numRef>
          </c:val>
        </c:ser>
        <c:ser>
          <c:idx val="1"/>
          <c:order val="1"/>
          <c:tx>
            <c:strRef>
              <c:f>Sheet1!$C$1</c:f>
              <c:strCache>
                <c:ptCount val="1"/>
                <c:pt idx="0">
                  <c:v>Graduates</c:v>
                </c:pt>
              </c:strCache>
            </c:strRef>
          </c:tx>
          <c:cat>
            <c:numRef>
              <c:f>Sheet1!$A$2:$A$9</c:f>
              <c:numCache>
                <c:formatCode>General</c:formatCode>
                <c:ptCount val="8"/>
                <c:pt idx="0">
                  <c:v>1952</c:v>
                </c:pt>
                <c:pt idx="1">
                  <c:v>1962</c:v>
                </c:pt>
                <c:pt idx="2">
                  <c:v>1967</c:v>
                </c:pt>
                <c:pt idx="3">
                  <c:v>1977</c:v>
                </c:pt>
                <c:pt idx="4">
                  <c:v>1989</c:v>
                </c:pt>
                <c:pt idx="5">
                  <c:v>1999</c:v>
                </c:pt>
                <c:pt idx="6">
                  <c:v>2004</c:v>
                </c:pt>
                <c:pt idx="7">
                  <c:v>2009</c:v>
                </c:pt>
              </c:numCache>
            </c:numRef>
          </c:cat>
          <c:val>
            <c:numRef>
              <c:f>Sheet1!$C$2:$C$9</c:f>
              <c:numCache>
                <c:formatCode>General</c:formatCode>
                <c:ptCount val="8"/>
                <c:pt idx="0">
                  <c:v>26</c:v>
                </c:pt>
                <c:pt idx="1">
                  <c:v>22</c:v>
                </c:pt>
                <c:pt idx="2">
                  <c:v>27.6</c:v>
                </c:pt>
                <c:pt idx="3">
                  <c:v>40.300000000000004</c:v>
                </c:pt>
                <c:pt idx="4">
                  <c:v>48.7</c:v>
                </c:pt>
                <c:pt idx="5">
                  <c:v>42.9</c:v>
                </c:pt>
                <c:pt idx="6">
                  <c:v>45.9</c:v>
                </c:pt>
                <c:pt idx="7">
                  <c:v>48.9</c:v>
                </c:pt>
              </c:numCache>
            </c:numRef>
          </c:val>
        </c:ser>
        <c:ser>
          <c:idx val="2"/>
          <c:order val="2"/>
          <c:tx>
            <c:strRef>
              <c:f>Sheet1!$D$1</c:f>
              <c:strCache>
                <c:ptCount val="1"/>
                <c:pt idx="0">
                  <c:v>Post Graduates</c:v>
                </c:pt>
              </c:strCache>
            </c:strRef>
          </c:tx>
          <c:cat>
            <c:numRef>
              <c:f>Sheet1!$A$2:$A$9</c:f>
              <c:numCache>
                <c:formatCode>General</c:formatCode>
                <c:ptCount val="8"/>
                <c:pt idx="0">
                  <c:v>1952</c:v>
                </c:pt>
                <c:pt idx="1">
                  <c:v>1962</c:v>
                </c:pt>
                <c:pt idx="2">
                  <c:v>1967</c:v>
                </c:pt>
                <c:pt idx="3">
                  <c:v>1977</c:v>
                </c:pt>
                <c:pt idx="4">
                  <c:v>1989</c:v>
                </c:pt>
                <c:pt idx="5">
                  <c:v>1999</c:v>
                </c:pt>
                <c:pt idx="6">
                  <c:v>2004</c:v>
                </c:pt>
                <c:pt idx="7">
                  <c:v>2009</c:v>
                </c:pt>
              </c:numCache>
            </c:numRef>
          </c:cat>
          <c:val>
            <c:numRef>
              <c:f>Sheet1!$D$2:$D$9</c:f>
              <c:numCache>
                <c:formatCode>General</c:formatCode>
                <c:ptCount val="8"/>
                <c:pt idx="0">
                  <c:v>20</c:v>
                </c:pt>
                <c:pt idx="1">
                  <c:v>21.5</c:v>
                </c:pt>
                <c:pt idx="2">
                  <c:v>29.4</c:v>
                </c:pt>
                <c:pt idx="3">
                  <c:v>27.2</c:v>
                </c:pt>
                <c:pt idx="4">
                  <c:v>29.5</c:v>
                </c:pt>
                <c:pt idx="5">
                  <c:v>24.4</c:v>
                </c:pt>
                <c:pt idx="6">
                  <c:v>21.1</c:v>
                </c:pt>
                <c:pt idx="7">
                  <c:v>20.5</c:v>
                </c:pt>
              </c:numCache>
            </c:numRef>
          </c:val>
        </c:ser>
        <c:marker val="1"/>
        <c:axId val="82977920"/>
        <c:axId val="82979456"/>
      </c:lineChart>
      <c:catAx>
        <c:axId val="82977920"/>
        <c:scaling>
          <c:orientation val="minMax"/>
        </c:scaling>
        <c:axPos val="b"/>
        <c:majorGridlines/>
        <c:numFmt formatCode="General" sourceLinked="1"/>
        <c:tickLblPos val="nextTo"/>
        <c:txPr>
          <a:bodyPr/>
          <a:lstStyle/>
          <a:p>
            <a:pPr>
              <a:defRPr b="1"/>
            </a:pPr>
            <a:endParaRPr lang="en-US"/>
          </a:p>
        </c:txPr>
        <c:crossAx val="82979456"/>
        <c:crosses val="autoZero"/>
        <c:auto val="1"/>
        <c:lblAlgn val="ctr"/>
        <c:lblOffset val="100"/>
      </c:catAx>
      <c:valAx>
        <c:axId val="82979456"/>
        <c:scaling>
          <c:orientation val="minMax"/>
        </c:scaling>
        <c:axPos val="l"/>
        <c:majorGridlines/>
        <c:numFmt formatCode="General" sourceLinked="1"/>
        <c:tickLblPos val="nextTo"/>
        <c:txPr>
          <a:bodyPr/>
          <a:lstStyle/>
          <a:p>
            <a:pPr>
              <a:defRPr b="1"/>
            </a:pPr>
            <a:endParaRPr lang="en-US"/>
          </a:p>
        </c:txPr>
        <c:crossAx val="82977920"/>
        <c:crosses val="autoZero"/>
        <c:crossBetween val="between"/>
      </c:valAx>
    </c:plotArea>
    <c:legend>
      <c:legendPos val="b"/>
      <c:layout/>
      <c:txPr>
        <a:bodyPr/>
        <a:lstStyle/>
        <a:p>
          <a:pPr>
            <a:defRPr b="1"/>
          </a:pPr>
          <a:endParaRPr lang="en-US"/>
        </a:p>
      </c:txPr>
    </c:legend>
    <c:plotVisOnly val="1"/>
  </c:chart>
  <c:txPr>
    <a:bodyPr/>
    <a:lstStyle/>
    <a:p>
      <a:pPr>
        <a:defRPr sz="1800"/>
      </a:pPr>
      <a:endParaRPr lang="en-US"/>
    </a:p>
  </c:txPr>
  <c:externalData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n-US"/>
  <c:chart>
    <c:autoTitleDeleted val="1"/>
    <c:view3D>
      <c:rotX val="30"/>
      <c:perspective val="30"/>
    </c:view3D>
    <c:plotArea>
      <c:layout/>
      <c:pie3DChart>
        <c:varyColors val="1"/>
        <c:ser>
          <c:idx val="0"/>
          <c:order val="0"/>
          <c:tx>
            <c:strRef>
              <c:f>Sheet1!$B$1</c:f>
              <c:strCache>
                <c:ptCount val="1"/>
                <c:pt idx="0">
                  <c:v>2009</c:v>
                </c:pt>
              </c:strCache>
            </c:strRef>
          </c:tx>
          <c:spPr>
            <a:scene3d>
              <a:camera prst="orthographicFront"/>
              <a:lightRig rig="threePt" dir="t"/>
            </a:scene3d>
            <a:sp3d>
              <a:bevelT w="1905000" h="1905000" prst="coolSlant"/>
            </a:sp3d>
          </c:spPr>
          <c:dPt>
            <c:idx val="0"/>
            <c:spPr>
              <a:gradFill>
                <a:gsLst>
                  <a:gs pos="0">
                    <a:schemeClr val="bg1"/>
                  </a:gs>
                  <a:gs pos="100000">
                    <a:schemeClr val="bg1">
                      <a:lumMod val="85000"/>
                    </a:schemeClr>
                  </a:gs>
                </a:gsLst>
                <a:path path="circle">
                  <a:fillToRect l="100000" b="100000"/>
                </a:path>
              </a:gradFill>
              <a:scene3d>
                <a:camera prst="orthographicFront"/>
                <a:lightRig rig="threePt" dir="t"/>
              </a:scene3d>
              <a:sp3d>
                <a:bevelT w="1905000" h="1905000" prst="coolSlant"/>
              </a:sp3d>
            </c:spPr>
          </c:dPt>
          <c:dPt>
            <c:idx val="1"/>
            <c:spPr>
              <a:gradFill flip="none" rotWithShape="1">
                <a:gsLst>
                  <a:gs pos="0">
                    <a:schemeClr val="bg1">
                      <a:lumMod val="65000"/>
                    </a:schemeClr>
                  </a:gs>
                  <a:gs pos="100000">
                    <a:schemeClr val="tx1">
                      <a:lumMod val="75000"/>
                      <a:lumOff val="25000"/>
                    </a:schemeClr>
                  </a:gs>
                </a:gsLst>
                <a:path path="circle">
                  <a:fillToRect r="100000" b="100000"/>
                </a:path>
                <a:tileRect l="-100000" t="-100000"/>
              </a:gradFill>
              <a:scene3d>
                <a:camera prst="orthographicFront"/>
                <a:lightRig rig="threePt" dir="t"/>
              </a:scene3d>
              <a:sp3d>
                <a:bevelT w="1905000" h="1905000" prst="coolSlant"/>
              </a:sp3d>
            </c:spPr>
          </c:dPt>
          <c:dPt>
            <c:idx val="2"/>
            <c:spPr>
              <a:solidFill>
                <a:srgbClr val="1F7111"/>
              </a:solidFill>
              <a:scene3d>
                <a:camera prst="orthographicFront"/>
                <a:lightRig rig="threePt" dir="t"/>
              </a:scene3d>
              <a:sp3d>
                <a:bevelT w="1905000" h="1905000" prst="coolSlant"/>
              </a:sp3d>
            </c:spPr>
          </c:dPt>
          <c:dPt>
            <c:idx val="3"/>
            <c:explosion val="20"/>
            <c:spPr>
              <a:solidFill>
                <a:schemeClr val="accent2">
                  <a:lumMod val="60000"/>
                  <a:lumOff val="40000"/>
                </a:schemeClr>
              </a:solidFill>
              <a:scene3d>
                <a:camera prst="orthographicFront"/>
                <a:lightRig rig="threePt" dir="t"/>
              </a:scene3d>
              <a:sp3d>
                <a:bevelT w="1905000" h="1905000" prst="coolSlant"/>
              </a:sp3d>
            </c:spPr>
          </c:dPt>
          <c:dPt>
            <c:idx val="4"/>
            <c:spPr>
              <a:gradFill flip="none" rotWithShape="1">
                <a:gsLst>
                  <a:gs pos="0">
                    <a:srgbClr val="0D65AC"/>
                  </a:gs>
                  <a:gs pos="100000">
                    <a:schemeClr val="accent1">
                      <a:lumMod val="50000"/>
                    </a:schemeClr>
                  </a:gs>
                </a:gsLst>
                <a:path path="circle">
                  <a:fillToRect l="100000" b="100000"/>
                </a:path>
                <a:tileRect t="-100000" r="-100000"/>
              </a:gradFill>
              <a:scene3d>
                <a:camera prst="orthographicFront"/>
                <a:lightRig rig="threePt" dir="t"/>
              </a:scene3d>
              <a:sp3d>
                <a:bevelT w="1905000" h="1905000" prst="coolSlant"/>
              </a:sp3d>
            </c:spPr>
          </c:dPt>
          <c:dLbls>
            <c:dLbl>
              <c:idx val="0"/>
              <c:spPr/>
              <c:txPr>
                <a:bodyPr/>
                <a:lstStyle/>
                <a:p>
                  <a:pPr>
                    <a:defRPr sz="1200">
                      <a:solidFill>
                        <a:schemeClr val="tx1"/>
                      </a:solidFill>
                    </a:defRPr>
                  </a:pPr>
                  <a:endParaRPr lang="en-US"/>
                </a:p>
              </c:txPr>
            </c:dLbl>
            <c:dLbl>
              <c:idx val="2"/>
              <c:spPr/>
              <c:txPr>
                <a:bodyPr/>
                <a:lstStyle/>
                <a:p>
                  <a:pPr>
                    <a:defRPr sz="1200">
                      <a:solidFill>
                        <a:schemeClr val="tx1"/>
                      </a:solidFill>
                    </a:defRPr>
                  </a:pPr>
                  <a:endParaRPr lang="en-US"/>
                </a:p>
              </c:txPr>
            </c:dLbl>
            <c:dLbl>
              <c:idx val="3"/>
              <c:layout>
                <c:manualLayout>
                  <c:x val="0.11743274278215252"/>
                  <c:y val="-0.20028001968503936"/>
                </c:manualLayout>
              </c:layout>
              <c:dLblPos val="bestFit"/>
              <c:showPercent val="1"/>
              <c:extLst>
                <c:ext xmlns:c15="http://schemas.microsoft.com/office/drawing/2012/chart" uri="{CE6537A1-D6FC-4f65-9D91-7224C49458BB}">
                  <c15:layout/>
                </c:ext>
              </c:extLst>
            </c:dLbl>
            <c:spPr>
              <a:noFill/>
              <a:ln>
                <a:noFill/>
              </a:ln>
              <a:effectLst/>
            </c:spPr>
            <c:txPr>
              <a:bodyPr/>
              <a:lstStyle/>
              <a:p>
                <a:pPr>
                  <a:defRPr sz="1200">
                    <a:solidFill>
                      <a:schemeClr val="bg1"/>
                    </a:solidFill>
                  </a:defRPr>
                </a:pPr>
                <a:endParaRPr lang="en-US"/>
              </a:p>
            </c:txPr>
            <c:dLblPos val="ctr"/>
            <c:showPercent val="1"/>
            <c:showLeaderLines val="1"/>
            <c:extLst>
              <c:ext xmlns:c15="http://schemas.microsoft.com/office/drawing/2012/chart" uri="{CE6537A1-D6FC-4f65-9D91-7224C49458BB}">
                <c15:layout/>
              </c:ext>
            </c:extLst>
          </c:dLbls>
          <c:cat>
            <c:strRef>
              <c:f>Sheet1!$A$2:$A$6</c:f>
              <c:strCache>
                <c:ptCount val="5"/>
                <c:pt idx="0">
                  <c:v>SC &amp;STs</c:v>
                </c:pt>
                <c:pt idx="1">
                  <c:v>OBC</c:v>
                </c:pt>
                <c:pt idx="2">
                  <c:v>Upper Caste</c:v>
                </c:pt>
                <c:pt idx="3">
                  <c:v>Muslim</c:v>
                </c:pt>
                <c:pt idx="4">
                  <c:v>Women</c:v>
                </c:pt>
              </c:strCache>
            </c:strRef>
          </c:cat>
          <c:val>
            <c:numRef>
              <c:f>Sheet1!$B$2:$B$6</c:f>
              <c:numCache>
                <c:formatCode>General</c:formatCode>
                <c:ptCount val="5"/>
                <c:pt idx="0">
                  <c:v>23</c:v>
                </c:pt>
                <c:pt idx="1">
                  <c:v>24</c:v>
                </c:pt>
                <c:pt idx="2">
                  <c:v>41</c:v>
                </c:pt>
                <c:pt idx="3">
                  <c:v>5.6</c:v>
                </c:pt>
                <c:pt idx="4">
                  <c:v>10.7</c:v>
                </c:pt>
              </c:numCache>
            </c:numRef>
          </c:val>
        </c:ser>
      </c:pie3DChart>
      <c:spPr>
        <a:noFill/>
        <a:ln w="25400">
          <a:noFill/>
        </a:ln>
        <a:scene3d>
          <a:camera prst="orthographicFront"/>
          <a:lightRig rig="threePt" dir="t"/>
        </a:scene3d>
        <a:sp3d>
          <a:bevelT w="165100" prst="coolSlant"/>
        </a:sp3d>
      </c:spPr>
    </c:plotArea>
    <c:legend>
      <c:legendPos val="b"/>
      <c:layout>
        <c:manualLayout>
          <c:xMode val="edge"/>
          <c:yMode val="edge"/>
          <c:x val="0.05"/>
          <c:y val="0.84975670467723352"/>
          <c:w val="0.9"/>
          <c:h val="0.13149350864107834"/>
        </c:manualLayout>
      </c:layout>
      <c:txPr>
        <a:bodyPr/>
        <a:lstStyle/>
        <a:p>
          <a:pPr>
            <a:defRPr b="1"/>
          </a:pPr>
          <a:endParaRPr lang="en-US"/>
        </a:p>
      </c:txPr>
    </c:legend>
    <c:plotVisOnly val="1"/>
    <c:dispBlanksAs val="zero"/>
  </c:chart>
  <c:txPr>
    <a:bodyPr/>
    <a:lstStyle/>
    <a:p>
      <a:pPr>
        <a:defRPr sz="1800"/>
      </a:pPr>
      <a:endParaRPr lang="en-US"/>
    </a:p>
  </c:txPr>
  <c:externalData r:id="rId1"/>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1"/>
  <c:lang val="en-US"/>
  <c:chart>
    <c:view3D>
      <c:rAngAx val="1"/>
    </c:view3D>
    <c:plotArea>
      <c:layout/>
      <c:bar3DChart>
        <c:barDir val="col"/>
        <c:grouping val="clustered"/>
        <c:ser>
          <c:idx val="0"/>
          <c:order val="0"/>
          <c:tx>
            <c:strRef>
              <c:f>Sheet1!$B$1</c:f>
              <c:strCache>
                <c:ptCount val="1"/>
                <c:pt idx="0">
                  <c:v>1996</c:v>
                </c:pt>
              </c:strCache>
            </c:strRef>
          </c:tx>
          <c:spPr>
            <a:solidFill>
              <a:srgbClr val="2A9B18"/>
            </a:solidFill>
          </c:spPr>
          <c:dLbls>
            <c:txPr>
              <a:bodyPr/>
              <a:lstStyle/>
              <a:p>
                <a:pPr>
                  <a:defRPr b="1"/>
                </a:pPr>
                <a:endParaRPr lang="en-US"/>
              </a:p>
            </c:txPr>
            <c:showVal val="1"/>
          </c:dLbls>
          <c:cat>
            <c:strRef>
              <c:f>Sheet1!$A$2:$A$4</c:f>
              <c:strCache>
                <c:ptCount val="3"/>
                <c:pt idx="0">
                  <c:v>Bills </c:v>
                </c:pt>
                <c:pt idx="1">
                  <c:v>Budget </c:v>
                </c:pt>
                <c:pt idx="2">
                  <c:v>Others</c:v>
                </c:pt>
              </c:strCache>
            </c:strRef>
          </c:cat>
          <c:val>
            <c:numRef>
              <c:f>Sheet1!$B$2:$B$4</c:f>
              <c:numCache>
                <c:formatCode>General</c:formatCode>
                <c:ptCount val="3"/>
                <c:pt idx="0">
                  <c:v>15.66</c:v>
                </c:pt>
                <c:pt idx="1">
                  <c:v>17.600000000000001</c:v>
                </c:pt>
                <c:pt idx="2">
                  <c:v>20.66</c:v>
                </c:pt>
              </c:numCache>
            </c:numRef>
          </c:val>
        </c:ser>
        <c:ser>
          <c:idx val="1"/>
          <c:order val="1"/>
          <c:tx>
            <c:strRef>
              <c:f>Sheet1!$C$1</c:f>
              <c:strCache>
                <c:ptCount val="1"/>
                <c:pt idx="0">
                  <c:v>1998</c:v>
                </c:pt>
              </c:strCache>
            </c:strRef>
          </c:tx>
          <c:spPr>
            <a:solidFill>
              <a:srgbClr val="0D65AC"/>
            </a:solidFill>
          </c:spPr>
          <c:dLbls>
            <c:txPr>
              <a:bodyPr/>
              <a:lstStyle/>
              <a:p>
                <a:pPr>
                  <a:defRPr b="1"/>
                </a:pPr>
                <a:endParaRPr lang="en-US"/>
              </a:p>
            </c:txPr>
            <c:showVal val="1"/>
          </c:dLbls>
          <c:cat>
            <c:strRef>
              <c:f>Sheet1!$A$2:$A$4</c:f>
              <c:strCache>
                <c:ptCount val="3"/>
                <c:pt idx="0">
                  <c:v>Bills </c:v>
                </c:pt>
                <c:pt idx="1">
                  <c:v>Budget </c:v>
                </c:pt>
                <c:pt idx="2">
                  <c:v>Others</c:v>
                </c:pt>
              </c:strCache>
            </c:strRef>
          </c:cat>
          <c:val>
            <c:numRef>
              <c:f>Sheet1!$C$2:$C$4</c:f>
              <c:numCache>
                <c:formatCode>General</c:formatCode>
                <c:ptCount val="3"/>
                <c:pt idx="0">
                  <c:v>16.600000000000001</c:v>
                </c:pt>
                <c:pt idx="1">
                  <c:v>14.68</c:v>
                </c:pt>
                <c:pt idx="2">
                  <c:v>31.25</c:v>
                </c:pt>
              </c:numCache>
            </c:numRef>
          </c:val>
        </c:ser>
        <c:ser>
          <c:idx val="2"/>
          <c:order val="2"/>
          <c:tx>
            <c:strRef>
              <c:f>Sheet1!$D$1</c:f>
              <c:strCache>
                <c:ptCount val="1"/>
                <c:pt idx="0">
                  <c:v>1999</c:v>
                </c:pt>
              </c:strCache>
            </c:strRef>
          </c:tx>
          <c:spPr>
            <a:solidFill>
              <a:srgbClr val="FF9966"/>
            </a:solidFill>
          </c:spPr>
          <c:dLbls>
            <c:txPr>
              <a:bodyPr/>
              <a:lstStyle/>
              <a:p>
                <a:pPr>
                  <a:defRPr b="1"/>
                </a:pPr>
                <a:endParaRPr lang="en-US"/>
              </a:p>
            </c:txPr>
            <c:showVal val="1"/>
          </c:dLbls>
          <c:cat>
            <c:strRef>
              <c:f>Sheet1!$A$2:$A$4</c:f>
              <c:strCache>
                <c:ptCount val="3"/>
                <c:pt idx="0">
                  <c:v>Bills </c:v>
                </c:pt>
                <c:pt idx="1">
                  <c:v>Budget </c:v>
                </c:pt>
                <c:pt idx="2">
                  <c:v>Others</c:v>
                </c:pt>
              </c:strCache>
            </c:strRef>
          </c:cat>
          <c:val>
            <c:numRef>
              <c:f>Sheet1!$D$2:$D$4</c:f>
              <c:numCache>
                <c:formatCode>General</c:formatCode>
                <c:ptCount val="3"/>
                <c:pt idx="0">
                  <c:v>25.3</c:v>
                </c:pt>
                <c:pt idx="1">
                  <c:v>10.9</c:v>
                </c:pt>
                <c:pt idx="2">
                  <c:v>42.690000000000012</c:v>
                </c:pt>
              </c:numCache>
            </c:numRef>
          </c:val>
        </c:ser>
        <c:ser>
          <c:idx val="3"/>
          <c:order val="3"/>
          <c:tx>
            <c:strRef>
              <c:f>Sheet1!$E$1</c:f>
              <c:strCache>
                <c:ptCount val="1"/>
                <c:pt idx="0">
                  <c:v>2004</c:v>
                </c:pt>
              </c:strCache>
            </c:strRef>
          </c:tx>
          <c:spPr>
            <a:solidFill>
              <a:srgbClr val="F0B71F"/>
            </a:solidFill>
          </c:spPr>
          <c:dLbls>
            <c:txPr>
              <a:bodyPr/>
              <a:lstStyle/>
              <a:p>
                <a:pPr>
                  <a:defRPr b="1"/>
                </a:pPr>
                <a:endParaRPr lang="en-US"/>
              </a:p>
            </c:txPr>
            <c:showVal val="1"/>
          </c:dLbls>
          <c:cat>
            <c:strRef>
              <c:f>Sheet1!$A$2:$A$4</c:f>
              <c:strCache>
                <c:ptCount val="3"/>
                <c:pt idx="0">
                  <c:v>Bills </c:v>
                </c:pt>
                <c:pt idx="1">
                  <c:v>Budget </c:v>
                </c:pt>
                <c:pt idx="2">
                  <c:v>Others</c:v>
                </c:pt>
              </c:strCache>
            </c:strRef>
          </c:cat>
          <c:val>
            <c:numRef>
              <c:f>Sheet1!$E$2:$E$4</c:f>
              <c:numCache>
                <c:formatCode>General</c:formatCode>
                <c:ptCount val="3"/>
                <c:pt idx="0">
                  <c:v>21.630000000000017</c:v>
                </c:pt>
                <c:pt idx="1">
                  <c:v>20.32</c:v>
                </c:pt>
                <c:pt idx="2">
                  <c:v>32.07</c:v>
                </c:pt>
              </c:numCache>
            </c:numRef>
          </c:val>
        </c:ser>
        <c:dLbls>
          <c:showVal val="1"/>
        </c:dLbls>
        <c:shape val="cylinder"/>
        <c:axId val="93723264"/>
        <c:axId val="93749632"/>
        <c:axId val="0"/>
      </c:bar3DChart>
      <c:catAx>
        <c:axId val="93723264"/>
        <c:scaling>
          <c:orientation val="minMax"/>
        </c:scaling>
        <c:axPos val="b"/>
        <c:tickLblPos val="nextTo"/>
        <c:txPr>
          <a:bodyPr/>
          <a:lstStyle/>
          <a:p>
            <a:pPr>
              <a:defRPr b="1"/>
            </a:pPr>
            <a:endParaRPr lang="en-US"/>
          </a:p>
        </c:txPr>
        <c:crossAx val="93749632"/>
        <c:crosses val="autoZero"/>
        <c:auto val="1"/>
        <c:lblAlgn val="ctr"/>
        <c:lblOffset val="100"/>
      </c:catAx>
      <c:valAx>
        <c:axId val="93749632"/>
        <c:scaling>
          <c:orientation val="minMax"/>
        </c:scaling>
        <c:axPos val="l"/>
        <c:majorGridlines/>
        <c:numFmt formatCode="General" sourceLinked="1"/>
        <c:tickLblPos val="nextTo"/>
        <c:txPr>
          <a:bodyPr/>
          <a:lstStyle/>
          <a:p>
            <a:pPr>
              <a:defRPr b="1"/>
            </a:pPr>
            <a:endParaRPr lang="en-US"/>
          </a:p>
        </c:txPr>
        <c:crossAx val="93723264"/>
        <c:crosses val="autoZero"/>
        <c:crossBetween val="between"/>
      </c:valAx>
    </c:plotArea>
    <c:legend>
      <c:legendPos val="b"/>
      <c:layout/>
      <c:txPr>
        <a:bodyPr/>
        <a:lstStyle/>
        <a:p>
          <a:pPr>
            <a:defRPr b="1"/>
          </a:pPr>
          <a:endParaRPr lang="en-US"/>
        </a:p>
      </c:txPr>
    </c:legend>
    <c:plotVisOnly val="1"/>
  </c:chart>
  <c:txPr>
    <a:bodyPr/>
    <a:lstStyle/>
    <a:p>
      <a:pPr>
        <a:defRPr sz="1800"/>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3361</cdr:x>
      <cdr:y>0.7087</cdr:y>
    </cdr:from>
    <cdr:to>
      <cdr:x>0.47962</cdr:x>
      <cdr:y>0.91852</cdr:y>
    </cdr:to>
    <cdr:sp macro="" textlink="">
      <cdr:nvSpPr>
        <cdr:cNvPr id="5" name="Straight Arrow Connector 4"/>
        <cdr:cNvSpPr/>
      </cdr:nvSpPr>
      <cdr:spPr>
        <a:xfrm xmlns:a="http://schemas.openxmlformats.org/drawingml/2006/main">
          <a:off x="2033664" y="2880153"/>
          <a:ext cx="890125" cy="852700"/>
        </a:xfrm>
        <a:prstGeom xmlns:a="http://schemas.openxmlformats.org/drawingml/2006/main" prst="straightConnector1">
          <a:avLst/>
        </a:prstGeom>
        <a:ln xmlns:a="http://schemas.openxmlformats.org/drawingml/2006/main">
          <a:tailEnd type="arrow"/>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6D98453-6A85-4C55-969E-A46B8A4E0974}" type="datetimeFigureOut">
              <a:rPr lang="en-US" smtClean="0"/>
              <a:pPr/>
              <a:t>6/1/201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85B6532-6D4F-4DAD-AE06-BFF21E8F3AA5}" type="slidenum">
              <a:rPr lang="en-US" smtClean="0"/>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B0B89EC-F0A8-405F-A335-374EB4C2C169}" type="datetimeFigureOut">
              <a:rPr lang="en-US" smtClean="0"/>
              <a:pPr/>
              <a:t>6/1/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CA826CD-17A5-4E92-B146-C3C4B401182B}" type="slidenum">
              <a:rPr lang="en-US" smtClean="0"/>
              <a:pPr/>
              <a:t>‹#›</a:t>
            </a:fld>
            <a:endParaRPr lang="en-US"/>
          </a:p>
        </p:txBody>
      </p:sp>
    </p:spTree>
    <p:extLst>
      <p:ext uri="{BB962C8B-B14F-4D97-AF65-F5344CB8AC3E}">
        <p14:creationId xmlns:p14="http://schemas.microsoft.com/office/powerpoint/2010/main" xmlns="" val="6347963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CA826CD-17A5-4E92-B146-C3C4B401182B}" type="slidenum">
              <a:rPr lang="en-US" smtClean="0"/>
              <a:pPr/>
              <a:t>4</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CA826CD-17A5-4E92-B146-C3C4B401182B}" type="slidenum">
              <a:rPr lang="en-US" smtClean="0"/>
              <a:pPr/>
              <a:t>5</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CA826CD-17A5-4E92-B146-C3C4B401182B}" type="slidenum">
              <a:rPr lang="en-US" smtClean="0"/>
              <a:pPr/>
              <a:t>6</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CA826CD-17A5-4E92-B146-C3C4B401182B}" type="slidenum">
              <a:rPr lang="en-US" smtClean="0"/>
              <a:pPr/>
              <a:t>12</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CA826CD-17A5-4E92-B146-C3C4B401182B}" type="slidenum">
              <a:rPr lang="en-US" smtClean="0"/>
              <a:pPr/>
              <a:t>20</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CA826CD-17A5-4E92-B146-C3C4B401182B}" type="slidenum">
              <a:rPr lang="en-US" smtClean="0"/>
              <a:pPr/>
              <a:t>24</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xmlns="" val="3424484296"/>
              </p:ext>
            </p:extLst>
          </p:nvPr>
        </p:nvGraphicFramePr>
        <p:xfrm>
          <a:off x="1588" y="1588"/>
          <a:ext cx="1587" cy="1587"/>
        </p:xfrm>
        <a:graphic>
          <a:graphicData uri="http://schemas.openxmlformats.org/presentationml/2006/ole">
            <p:oleObj spid="_x0000_s16393" name="think-cell Slide" r:id="rId10" imgW="360" imgH="360" progId="">
              <p:embed/>
            </p:oleObj>
          </a:graphicData>
        </a:graphic>
      </p:graphicFrame>
      <p:sp>
        <p:nvSpPr>
          <p:cNvPr id="7" name="Rectangle 6"/>
          <p:cNvSpPr/>
          <p:nvPr userDrawn="1">
            <p:custDataLst>
              <p:tags r:id="rId3"/>
            </p:custDataLst>
          </p:nvPr>
        </p:nvSpPr>
        <p:spPr>
          <a:xfrm>
            <a:off x="0" y="0"/>
            <a:ext cx="9144000" cy="6858000"/>
          </a:xfrm>
          <a:prstGeom prst="rect">
            <a:avLst/>
          </a:prstGeom>
          <a:gradFill flip="none" rotWithShape="1">
            <a:gsLst>
              <a:gs pos="42000">
                <a:schemeClr val="bg1"/>
              </a:gs>
              <a:gs pos="100000">
                <a:srgbClr val="C7C7C7"/>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custDataLst>
              <p:tags r:id="rId4"/>
            </p:custDataLst>
          </p:nvPr>
        </p:nvSpPr>
        <p:spPr>
          <a:xfrm>
            <a:off x="685800" y="2130425"/>
            <a:ext cx="7772400" cy="1470025"/>
          </a:xfrm>
        </p:spPr>
        <p:txBody>
          <a:bodyPr/>
          <a:lstStyle/>
          <a:p>
            <a:r>
              <a:rPr lang="da-DK" smtClean="0"/>
              <a:t>Click to edit Master title style</a:t>
            </a:r>
            <a:endParaRPr lang="en-US"/>
          </a:p>
        </p:txBody>
      </p:sp>
      <p:sp>
        <p:nvSpPr>
          <p:cNvPr id="3" name="Subtitle 2"/>
          <p:cNvSpPr>
            <a:spLocks noGrp="1"/>
          </p:cNvSpPr>
          <p:nvPr>
            <p:ph type="subTitle" idx="1"/>
            <p:custDataLst>
              <p:tags r:id="rId5"/>
            </p:custDataLst>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Click to edit Master subtitle style</a:t>
            </a:r>
            <a:endParaRPr lang="en-US"/>
          </a:p>
        </p:txBody>
      </p:sp>
      <p:sp>
        <p:nvSpPr>
          <p:cNvPr id="5" name="Footer Placeholder 4"/>
          <p:cNvSpPr>
            <a:spLocks noGrp="1"/>
          </p:cNvSpPr>
          <p:nvPr>
            <p:ph type="ftr" sz="quarter" idx="11"/>
            <p:custDataLst>
              <p:tags r:id="rId6"/>
            </p:custDataLst>
          </p:nvPr>
        </p:nvSpPr>
        <p:spPr>
          <a:xfrm>
            <a:off x="373197" y="6387871"/>
            <a:ext cx="2895600" cy="268214"/>
          </a:xfrm>
        </p:spPr>
        <p:txBody>
          <a:bodyPr/>
          <a:lstStyle>
            <a:lvl1pPr algn="l">
              <a:defRPr>
                <a:solidFill>
                  <a:schemeClr val="tx1"/>
                </a:solidFill>
              </a:defRPr>
            </a:lvl1pPr>
          </a:lstStyle>
          <a:p>
            <a:pPr>
              <a:defRPr/>
            </a:pPr>
            <a:r>
              <a:rPr lang="en-US" smtClean="0"/>
              <a:t>What deters the unveiling of Legislative Process?</a:t>
            </a:r>
            <a:endParaRPr lang="en-US" dirty="0"/>
          </a:p>
        </p:txBody>
      </p:sp>
      <p:sp>
        <p:nvSpPr>
          <p:cNvPr id="10" name="Rektangel 13"/>
          <p:cNvSpPr>
            <a:spLocks noChangeArrowheads="1"/>
          </p:cNvSpPr>
          <p:nvPr userDrawn="1">
            <p:custDataLst>
              <p:tags r:id="rId7"/>
            </p:custDataLst>
          </p:nvPr>
        </p:nvSpPr>
        <p:spPr bwMode="auto">
          <a:xfrm rot="16200000">
            <a:off x="39184" y="6351271"/>
            <a:ext cx="276636" cy="357522"/>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6" name="Slide Number Placeholder 5"/>
          <p:cNvSpPr>
            <a:spLocks noGrp="1"/>
          </p:cNvSpPr>
          <p:nvPr>
            <p:ph type="sldNum" sz="quarter" idx="12"/>
            <p:custDataLst>
              <p:tags r:id="rId8"/>
            </p:custDataLst>
          </p:nvPr>
        </p:nvSpPr>
        <p:spPr>
          <a:xfrm>
            <a:off x="-12572" y="6380806"/>
            <a:ext cx="361098" cy="279403"/>
          </a:xfrm>
        </p:spPr>
        <p:txBody>
          <a:bodyPr vert="horz" lIns="0" tIns="0" rIns="0" bIns="0" rtlCol="0" anchor="ctr"/>
          <a:lstStyle>
            <a:lvl1pPr>
              <a:defRPr lang="en-US" smtClean="0">
                <a:solidFill>
                  <a:schemeClr val="bg1"/>
                </a:solidFill>
              </a:defRPr>
            </a:lvl1pPr>
          </a:lstStyle>
          <a:p>
            <a:pPr algn="ctr"/>
            <a:fld id="{FA84A37A-AFC2-4A01-80A1-FC20F2C0D5BB}" type="slidenum">
              <a:rPr lang="en-US" smtClean="0"/>
              <a:pPr algn="ctr"/>
              <a:t>‹#›</a:t>
            </a:fld>
            <a:endParaRPr lang="en-US" dirty="0"/>
          </a:p>
        </p:txBody>
      </p:sp>
    </p:spTree>
    <p:extLst>
      <p:ext uri="{BB962C8B-B14F-4D97-AF65-F5344CB8AC3E}">
        <p14:creationId xmlns:p14="http://schemas.microsoft.com/office/powerpoint/2010/main" xmlns="" val="1022804830"/>
      </p:ext>
    </p:extLst>
  </p:cSld>
  <p:clrMapOvr>
    <a:masterClrMapping/>
  </p:clrMapOvr>
  <p:transition spd="med">
    <p:plus/>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Date Placeholder 3"/>
          <p:cNvSpPr>
            <a:spLocks noGrp="1"/>
          </p:cNvSpPr>
          <p:nvPr>
            <p:ph type="dt" sz="half" idx="10"/>
          </p:nvPr>
        </p:nvSpPr>
        <p:spPr/>
        <p:txBody>
          <a:bodyPr/>
          <a:lstStyle>
            <a:lvl1pPr>
              <a:defRPr/>
            </a:lvl1pPr>
          </a:lstStyle>
          <a:p>
            <a:fld id="{CCC88B26-E4A3-45EE-807E-8D71069976F1}" type="datetime1">
              <a:rPr lang="en-US" smtClean="0"/>
              <a:pPr/>
              <a:t>6/1/2014</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smtClean="0"/>
              <a:t>What deters the unveiling of Legislative Process?</a:t>
            </a:r>
            <a:endParaRPr lang="en-US"/>
          </a:p>
        </p:txBody>
      </p:sp>
      <p:sp>
        <p:nvSpPr>
          <p:cNvPr id="6" name="Slide Number Placeholder 5"/>
          <p:cNvSpPr>
            <a:spLocks noGrp="1"/>
          </p:cNvSpPr>
          <p:nvPr>
            <p:ph type="sldNum" sz="quarter" idx="12"/>
          </p:nvPr>
        </p:nvSpPr>
        <p:spPr/>
        <p:txBody>
          <a:bodyPr/>
          <a:lstStyle>
            <a:lvl1pPr>
              <a:defRPr/>
            </a:lvl1pPr>
          </a:lstStyle>
          <a:p>
            <a:fld id="{F2135A88-343A-A94C-A04F-235B3C1A106F}" type="slidenum">
              <a:rPr lang="en-US" smtClean="0"/>
              <a:pPr/>
              <a:t>‹#›</a:t>
            </a:fld>
            <a:endParaRPr lang="en-US"/>
          </a:p>
        </p:txBody>
      </p:sp>
    </p:spTree>
    <p:extLst>
      <p:ext uri="{BB962C8B-B14F-4D97-AF65-F5344CB8AC3E}">
        <p14:creationId xmlns:p14="http://schemas.microsoft.com/office/powerpoint/2010/main" xmlns="" val="1769582825"/>
      </p:ext>
    </p:extLst>
  </p:cSld>
  <p:clrMapOvr>
    <a:masterClrMapping/>
  </p:clrMapOvr>
  <p:transition spd="med">
    <p:plus/>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da-DK"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Date Placeholder 3"/>
          <p:cNvSpPr>
            <a:spLocks noGrp="1"/>
          </p:cNvSpPr>
          <p:nvPr>
            <p:ph type="dt" sz="half" idx="10"/>
          </p:nvPr>
        </p:nvSpPr>
        <p:spPr/>
        <p:txBody>
          <a:bodyPr/>
          <a:lstStyle>
            <a:lvl1pPr>
              <a:defRPr/>
            </a:lvl1pPr>
          </a:lstStyle>
          <a:p>
            <a:fld id="{991CC9AA-AB68-400E-AE44-537A94729ED1}" type="datetime1">
              <a:rPr lang="en-US" smtClean="0"/>
              <a:pPr/>
              <a:t>6/1/2014</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smtClean="0"/>
              <a:t>What deters the unveiling of Legislative Process?</a:t>
            </a:r>
            <a:endParaRPr lang="en-US"/>
          </a:p>
        </p:txBody>
      </p:sp>
      <p:sp>
        <p:nvSpPr>
          <p:cNvPr id="6" name="Slide Number Placeholder 5"/>
          <p:cNvSpPr>
            <a:spLocks noGrp="1"/>
          </p:cNvSpPr>
          <p:nvPr>
            <p:ph type="sldNum" sz="quarter" idx="12"/>
          </p:nvPr>
        </p:nvSpPr>
        <p:spPr/>
        <p:txBody>
          <a:bodyPr/>
          <a:lstStyle>
            <a:lvl1pPr>
              <a:defRPr/>
            </a:lvl1pPr>
          </a:lstStyle>
          <a:p>
            <a:fld id="{23A9394C-41DC-B84E-8427-1DE8BBF91D4D}" type="slidenum">
              <a:rPr lang="en-US" smtClean="0"/>
              <a:pPr/>
              <a:t>‹#›</a:t>
            </a:fld>
            <a:endParaRPr lang="en-US"/>
          </a:p>
        </p:txBody>
      </p:sp>
    </p:spTree>
    <p:extLst>
      <p:ext uri="{BB962C8B-B14F-4D97-AF65-F5344CB8AC3E}">
        <p14:creationId xmlns:p14="http://schemas.microsoft.com/office/powerpoint/2010/main" xmlns="" val="3418857653"/>
      </p:ext>
    </p:extLst>
  </p:cSld>
  <p:clrMapOvr>
    <a:masterClrMapping/>
  </p:clrMapOvr>
  <p:transition spd="med">
    <p:plus/>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xmlns="" val="1732604008"/>
              </p:ext>
            </p:extLst>
          </p:nvPr>
        </p:nvGraphicFramePr>
        <p:xfrm>
          <a:off x="1588" y="1588"/>
          <a:ext cx="1587" cy="1587"/>
        </p:xfrm>
        <a:graphic>
          <a:graphicData uri="http://schemas.openxmlformats.org/presentationml/2006/ole">
            <p:oleObj spid="_x0000_s2063" name="think-cell Slide" r:id="rId10" imgW="360" imgH="360" progId="">
              <p:embed/>
            </p:oleObj>
          </a:graphicData>
        </a:graphic>
      </p:graphicFrame>
      <p:sp>
        <p:nvSpPr>
          <p:cNvPr id="2" name="Title 1"/>
          <p:cNvSpPr>
            <a:spLocks noGrp="1"/>
          </p:cNvSpPr>
          <p:nvPr>
            <p:ph type="title"/>
            <p:custDataLst>
              <p:tags r:id="rId3"/>
            </p:custDataLst>
          </p:nvPr>
        </p:nvSpPr>
        <p:spPr/>
        <p:txBody>
          <a:bodyPr/>
          <a:lstStyle/>
          <a:p>
            <a:r>
              <a:rPr lang="da-DK" smtClean="0"/>
              <a:t>Click to edit Master title style</a:t>
            </a:r>
            <a:endParaRPr lang="en-US"/>
          </a:p>
        </p:txBody>
      </p:sp>
      <p:sp>
        <p:nvSpPr>
          <p:cNvPr id="3" name="Content Placeholder 2"/>
          <p:cNvSpPr>
            <a:spLocks noGrp="1"/>
          </p:cNvSpPr>
          <p:nvPr>
            <p:ph idx="1"/>
            <p:custDataLst>
              <p:tags r:id="rId4"/>
            </p:custDataLst>
          </p:nvPr>
        </p:nvSpPr>
        <p:spPr/>
        <p:txBody>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7" name="Rektangel 13"/>
          <p:cNvSpPr>
            <a:spLocks noChangeArrowheads="1"/>
          </p:cNvSpPr>
          <p:nvPr userDrawn="1">
            <p:custDataLst>
              <p:tags r:id="rId5"/>
            </p:custDataLst>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6" name="Slide Number Placeholder 5"/>
          <p:cNvSpPr>
            <a:spLocks noGrp="1"/>
          </p:cNvSpPr>
          <p:nvPr>
            <p:ph type="sldNum" sz="quarter" idx="12"/>
            <p:custDataLst>
              <p:tags r:id="rId6"/>
            </p:custDataLst>
          </p:nvPr>
        </p:nvSpPr>
        <p:spPr>
          <a:xfrm>
            <a:off x="11410" y="6397401"/>
            <a:ext cx="332185" cy="249385"/>
          </a:xfrm>
        </p:spPr>
        <p:txBody>
          <a:bodyPr lIns="0" tIns="0" rIns="0" bIns="0"/>
          <a:lstStyle>
            <a:lvl1pPr algn="ctr">
              <a:defRPr>
                <a:solidFill>
                  <a:schemeClr val="bg1"/>
                </a:solidFill>
              </a:defRPr>
            </a:lvl1pPr>
          </a:lstStyle>
          <a:p>
            <a:fld id="{EA72F2ED-C0F1-A14B-BA46-C5847C658EB2}" type="slidenum">
              <a:rPr lang="en-US" smtClean="0"/>
              <a:pPr/>
              <a:t>‹#›</a:t>
            </a:fld>
            <a:endParaRPr lang="en-US" dirty="0"/>
          </a:p>
        </p:txBody>
      </p:sp>
      <p:sp>
        <p:nvSpPr>
          <p:cNvPr id="10" name="Rektangel 13"/>
          <p:cNvSpPr>
            <a:spLocks noChangeArrowheads="1"/>
          </p:cNvSpPr>
          <p:nvPr userDrawn="1">
            <p:custDataLst>
              <p:tags r:id="rId7"/>
            </p:custDataLst>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5" name="Footer Placeholder 4"/>
          <p:cNvSpPr>
            <a:spLocks noGrp="1"/>
          </p:cNvSpPr>
          <p:nvPr>
            <p:ph type="ftr" sz="quarter" idx="11"/>
            <p:custDataLst>
              <p:tags r:id="rId8"/>
            </p:custDataLst>
          </p:nvPr>
        </p:nvSpPr>
        <p:spPr>
          <a:xfrm>
            <a:off x="343595" y="6373735"/>
            <a:ext cx="893276" cy="295999"/>
          </a:xfrm>
        </p:spPr>
        <p:txBody>
          <a:bodyPr/>
          <a:lstStyle>
            <a:lvl1pPr>
              <a:defRPr>
                <a:solidFill>
                  <a:schemeClr val="tx1">
                    <a:lumMod val="85000"/>
                    <a:lumOff val="15000"/>
                  </a:schemeClr>
                </a:solidFill>
              </a:defRPr>
            </a:lvl1pPr>
          </a:lstStyle>
          <a:p>
            <a:pPr>
              <a:defRPr/>
            </a:pPr>
            <a:r>
              <a:rPr lang="en-US" smtClean="0"/>
              <a:t>What deters the unveiling of Legislative Process?</a:t>
            </a:r>
            <a:endParaRPr lang="en-US" dirty="0"/>
          </a:p>
        </p:txBody>
      </p:sp>
    </p:spTree>
    <p:extLst>
      <p:ext uri="{BB962C8B-B14F-4D97-AF65-F5344CB8AC3E}">
        <p14:creationId xmlns:p14="http://schemas.microsoft.com/office/powerpoint/2010/main" xmlns="" val="1163008849"/>
      </p:ext>
    </p:extLst>
  </p:cSld>
  <p:clrMapOvr>
    <a:masterClrMapping/>
  </p:clrMapOvr>
  <p:transition spd="med">
    <p:plus/>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da-DK"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smtClean="0"/>
              <a:t>Click to edit Master text styles</a:t>
            </a:r>
          </a:p>
        </p:txBody>
      </p:sp>
      <p:sp>
        <p:nvSpPr>
          <p:cNvPr id="4" name="Date Placeholder 3"/>
          <p:cNvSpPr>
            <a:spLocks noGrp="1"/>
          </p:cNvSpPr>
          <p:nvPr>
            <p:ph type="dt" sz="half" idx="10"/>
          </p:nvPr>
        </p:nvSpPr>
        <p:spPr/>
        <p:txBody>
          <a:bodyPr/>
          <a:lstStyle>
            <a:lvl1pPr>
              <a:defRPr/>
            </a:lvl1pPr>
          </a:lstStyle>
          <a:p>
            <a:fld id="{5C3E8C76-A15E-46DA-BA60-8DDB4D3CE74E}" type="datetime1">
              <a:rPr lang="en-US" smtClean="0"/>
              <a:pPr/>
              <a:t>6/1/2014</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smtClean="0"/>
              <a:t>What deters the unveiling of Legislative Process?</a:t>
            </a:r>
            <a:endParaRPr lang="en-US"/>
          </a:p>
        </p:txBody>
      </p:sp>
      <p:sp>
        <p:nvSpPr>
          <p:cNvPr id="6" name="Slide Number Placeholder 5"/>
          <p:cNvSpPr>
            <a:spLocks noGrp="1"/>
          </p:cNvSpPr>
          <p:nvPr>
            <p:ph type="sldNum" sz="quarter" idx="12"/>
          </p:nvPr>
        </p:nvSpPr>
        <p:spPr/>
        <p:txBody>
          <a:bodyPr/>
          <a:lstStyle>
            <a:lvl1pPr>
              <a:defRPr/>
            </a:lvl1pPr>
          </a:lstStyle>
          <a:p>
            <a:fld id="{2D1A6C09-B753-8146-9EE8-71C4CCA0D42A}" type="slidenum">
              <a:rPr lang="en-US" smtClean="0"/>
              <a:pPr/>
              <a:t>‹#›</a:t>
            </a:fld>
            <a:endParaRPr lang="en-US"/>
          </a:p>
        </p:txBody>
      </p:sp>
    </p:spTree>
    <p:extLst>
      <p:ext uri="{BB962C8B-B14F-4D97-AF65-F5344CB8AC3E}">
        <p14:creationId xmlns:p14="http://schemas.microsoft.com/office/powerpoint/2010/main" xmlns="" val="3366691835"/>
      </p:ext>
    </p:extLst>
  </p:cSld>
  <p:clrMapOvr>
    <a:masterClrMapping/>
  </p:clrMapOvr>
  <p:transition spd="med">
    <p:plus/>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Date Placeholder 3"/>
          <p:cNvSpPr>
            <a:spLocks noGrp="1"/>
          </p:cNvSpPr>
          <p:nvPr>
            <p:ph type="dt" sz="half" idx="10"/>
          </p:nvPr>
        </p:nvSpPr>
        <p:spPr/>
        <p:txBody>
          <a:bodyPr/>
          <a:lstStyle>
            <a:lvl1pPr>
              <a:defRPr/>
            </a:lvl1pPr>
          </a:lstStyle>
          <a:p>
            <a:fld id="{999252E0-D853-43F9-A4ED-C412854F9CE5}" type="datetime1">
              <a:rPr lang="en-US" smtClean="0"/>
              <a:pPr/>
              <a:t>6/1/2014</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smtClean="0"/>
              <a:t>What deters the unveiling of Legislative Process?</a:t>
            </a:r>
            <a:endParaRPr lang="en-US"/>
          </a:p>
        </p:txBody>
      </p:sp>
      <p:sp>
        <p:nvSpPr>
          <p:cNvPr id="7" name="Slide Number Placeholder 5"/>
          <p:cNvSpPr>
            <a:spLocks noGrp="1"/>
          </p:cNvSpPr>
          <p:nvPr>
            <p:ph type="sldNum" sz="quarter" idx="12"/>
          </p:nvPr>
        </p:nvSpPr>
        <p:spPr/>
        <p:txBody>
          <a:bodyPr/>
          <a:lstStyle>
            <a:lvl1pPr>
              <a:defRPr/>
            </a:lvl1pPr>
          </a:lstStyle>
          <a:p>
            <a:fld id="{2A07C5D0-3611-7C43-907B-03556CC5BB56}" type="slidenum">
              <a:rPr lang="en-US" smtClean="0"/>
              <a:pPr/>
              <a:t>‹#›</a:t>
            </a:fld>
            <a:endParaRPr lang="en-US"/>
          </a:p>
        </p:txBody>
      </p:sp>
    </p:spTree>
    <p:extLst>
      <p:ext uri="{BB962C8B-B14F-4D97-AF65-F5344CB8AC3E}">
        <p14:creationId xmlns:p14="http://schemas.microsoft.com/office/powerpoint/2010/main" xmlns="" val="179431460"/>
      </p:ext>
    </p:extLst>
  </p:cSld>
  <p:clrMapOvr>
    <a:masterClrMapping/>
  </p:clrMapOvr>
  <p:transition spd="med">
    <p:plus/>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a-DK"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7" name="Date Placeholder 3"/>
          <p:cNvSpPr>
            <a:spLocks noGrp="1"/>
          </p:cNvSpPr>
          <p:nvPr>
            <p:ph type="dt" sz="half" idx="10"/>
          </p:nvPr>
        </p:nvSpPr>
        <p:spPr/>
        <p:txBody>
          <a:bodyPr/>
          <a:lstStyle>
            <a:lvl1pPr>
              <a:defRPr/>
            </a:lvl1pPr>
          </a:lstStyle>
          <a:p>
            <a:fld id="{25519ADA-2CDC-4594-944D-04B5819BDE95}" type="datetime1">
              <a:rPr lang="en-US" smtClean="0"/>
              <a:pPr/>
              <a:t>6/1/2014</a:t>
            </a:fld>
            <a:endParaRPr lang="en-US"/>
          </a:p>
        </p:txBody>
      </p:sp>
      <p:sp>
        <p:nvSpPr>
          <p:cNvPr id="8" name="Footer Placeholder 4"/>
          <p:cNvSpPr>
            <a:spLocks noGrp="1"/>
          </p:cNvSpPr>
          <p:nvPr>
            <p:ph type="ftr" sz="quarter" idx="11"/>
          </p:nvPr>
        </p:nvSpPr>
        <p:spPr/>
        <p:txBody>
          <a:bodyPr/>
          <a:lstStyle>
            <a:lvl1pPr>
              <a:defRPr/>
            </a:lvl1pPr>
          </a:lstStyle>
          <a:p>
            <a:pPr>
              <a:defRPr/>
            </a:pPr>
            <a:r>
              <a:rPr lang="en-US" smtClean="0"/>
              <a:t>What deters the unveiling of Legislative Process?</a:t>
            </a:r>
            <a:endParaRPr lang="en-US"/>
          </a:p>
        </p:txBody>
      </p:sp>
      <p:sp>
        <p:nvSpPr>
          <p:cNvPr id="9" name="Slide Number Placeholder 5"/>
          <p:cNvSpPr>
            <a:spLocks noGrp="1"/>
          </p:cNvSpPr>
          <p:nvPr>
            <p:ph type="sldNum" sz="quarter" idx="12"/>
          </p:nvPr>
        </p:nvSpPr>
        <p:spPr/>
        <p:txBody>
          <a:bodyPr/>
          <a:lstStyle>
            <a:lvl1pPr>
              <a:defRPr/>
            </a:lvl1pPr>
          </a:lstStyle>
          <a:p>
            <a:fld id="{0DC145C6-ABCE-4742-9F4B-0F0D9D55AB0E}" type="slidenum">
              <a:rPr lang="en-US" smtClean="0"/>
              <a:pPr/>
              <a:t>‹#›</a:t>
            </a:fld>
            <a:endParaRPr lang="en-US"/>
          </a:p>
        </p:txBody>
      </p:sp>
    </p:spTree>
    <p:extLst>
      <p:ext uri="{BB962C8B-B14F-4D97-AF65-F5344CB8AC3E}">
        <p14:creationId xmlns:p14="http://schemas.microsoft.com/office/powerpoint/2010/main" xmlns="" val="3364354533"/>
      </p:ext>
    </p:extLst>
  </p:cSld>
  <p:clrMapOvr>
    <a:masterClrMapping/>
  </p:clrMapOvr>
  <p:transition spd="med">
    <p:plus/>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fld id="{88CD32F8-DB34-4C2E-BB47-6CE41B967700}" type="datetime1">
              <a:rPr lang="en-US" smtClean="0"/>
              <a:pPr/>
              <a:t>6/1/2014</a:t>
            </a:fld>
            <a:endParaRPr lang="en-US"/>
          </a:p>
        </p:txBody>
      </p:sp>
      <p:sp>
        <p:nvSpPr>
          <p:cNvPr id="4" name="Footer Placeholder 4"/>
          <p:cNvSpPr>
            <a:spLocks noGrp="1"/>
          </p:cNvSpPr>
          <p:nvPr>
            <p:ph type="ftr" sz="quarter" idx="11"/>
          </p:nvPr>
        </p:nvSpPr>
        <p:spPr/>
        <p:txBody>
          <a:bodyPr/>
          <a:lstStyle>
            <a:lvl1pPr>
              <a:defRPr/>
            </a:lvl1pPr>
          </a:lstStyle>
          <a:p>
            <a:pPr>
              <a:defRPr/>
            </a:pPr>
            <a:r>
              <a:rPr lang="en-US" smtClean="0"/>
              <a:t>What deters the unveiling of Legislative Process?</a:t>
            </a:r>
            <a:endParaRPr lang="en-US"/>
          </a:p>
        </p:txBody>
      </p:sp>
      <p:sp>
        <p:nvSpPr>
          <p:cNvPr id="5" name="Slide Number Placeholder 5"/>
          <p:cNvSpPr>
            <a:spLocks noGrp="1"/>
          </p:cNvSpPr>
          <p:nvPr>
            <p:ph type="sldNum" sz="quarter" idx="12"/>
          </p:nvPr>
        </p:nvSpPr>
        <p:spPr/>
        <p:txBody>
          <a:bodyPr/>
          <a:lstStyle>
            <a:lvl1pPr>
              <a:defRPr/>
            </a:lvl1pPr>
          </a:lstStyle>
          <a:p>
            <a:fld id="{052F629A-40B7-6F4C-8A5A-70B6BBE04C95}" type="slidenum">
              <a:rPr lang="en-US" smtClean="0"/>
              <a:pPr/>
              <a:t>‹#›</a:t>
            </a:fld>
            <a:endParaRPr lang="en-US"/>
          </a:p>
        </p:txBody>
      </p:sp>
    </p:spTree>
    <p:extLst>
      <p:ext uri="{BB962C8B-B14F-4D97-AF65-F5344CB8AC3E}">
        <p14:creationId xmlns:p14="http://schemas.microsoft.com/office/powerpoint/2010/main" xmlns="" val="2617647869"/>
      </p:ext>
    </p:extLst>
  </p:cSld>
  <p:clrMapOvr>
    <a:masterClrMapping/>
  </p:clrMapOvr>
  <p:transition spd="med">
    <p:plus/>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A34FFC55-6D4B-4473-AD6A-5C17C12723EC}" type="datetime1">
              <a:rPr lang="en-US" smtClean="0"/>
              <a:pPr/>
              <a:t>6/1/2014</a:t>
            </a:fld>
            <a:endParaRPr lang="en-US"/>
          </a:p>
        </p:txBody>
      </p:sp>
      <p:sp>
        <p:nvSpPr>
          <p:cNvPr id="3" name="Footer Placeholder 4"/>
          <p:cNvSpPr>
            <a:spLocks noGrp="1"/>
          </p:cNvSpPr>
          <p:nvPr>
            <p:ph type="ftr" sz="quarter" idx="11"/>
          </p:nvPr>
        </p:nvSpPr>
        <p:spPr/>
        <p:txBody>
          <a:bodyPr/>
          <a:lstStyle>
            <a:lvl1pPr>
              <a:defRPr/>
            </a:lvl1pPr>
          </a:lstStyle>
          <a:p>
            <a:pPr>
              <a:defRPr/>
            </a:pPr>
            <a:r>
              <a:rPr lang="en-US" smtClean="0"/>
              <a:t>What deters the unveiling of Legislative Process?</a:t>
            </a:r>
            <a:endParaRPr lang="en-US"/>
          </a:p>
        </p:txBody>
      </p:sp>
      <p:sp>
        <p:nvSpPr>
          <p:cNvPr id="4" name="Slide Number Placeholder 5"/>
          <p:cNvSpPr>
            <a:spLocks noGrp="1"/>
          </p:cNvSpPr>
          <p:nvPr>
            <p:ph type="sldNum" sz="quarter" idx="12"/>
          </p:nvPr>
        </p:nvSpPr>
        <p:spPr/>
        <p:txBody>
          <a:bodyPr/>
          <a:lstStyle>
            <a:lvl1pPr>
              <a:defRPr/>
            </a:lvl1pPr>
          </a:lstStyle>
          <a:p>
            <a:fld id="{C9E85700-C72D-D94A-845E-89203939FB2D}" type="slidenum">
              <a:rPr lang="en-US" smtClean="0"/>
              <a:pPr/>
              <a:t>‹#›</a:t>
            </a:fld>
            <a:endParaRPr lang="en-US"/>
          </a:p>
        </p:txBody>
      </p:sp>
    </p:spTree>
    <p:extLst>
      <p:ext uri="{BB962C8B-B14F-4D97-AF65-F5344CB8AC3E}">
        <p14:creationId xmlns:p14="http://schemas.microsoft.com/office/powerpoint/2010/main" xmlns="" val="2555136280"/>
      </p:ext>
    </p:extLst>
  </p:cSld>
  <p:clrMapOvr>
    <a:masterClrMapping/>
  </p:clrMapOvr>
  <p:transition spd="med">
    <p:plus/>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da-DK"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Click to edit Master text styles</a:t>
            </a:r>
          </a:p>
        </p:txBody>
      </p:sp>
      <p:sp>
        <p:nvSpPr>
          <p:cNvPr id="5" name="Date Placeholder 3"/>
          <p:cNvSpPr>
            <a:spLocks noGrp="1"/>
          </p:cNvSpPr>
          <p:nvPr>
            <p:ph type="dt" sz="half" idx="10"/>
          </p:nvPr>
        </p:nvSpPr>
        <p:spPr/>
        <p:txBody>
          <a:bodyPr/>
          <a:lstStyle>
            <a:lvl1pPr>
              <a:defRPr/>
            </a:lvl1pPr>
          </a:lstStyle>
          <a:p>
            <a:fld id="{2DD6F128-FECD-4BF8-9A98-C2A2C2525545}" type="datetime1">
              <a:rPr lang="en-US" smtClean="0"/>
              <a:pPr/>
              <a:t>6/1/2014</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smtClean="0"/>
              <a:t>What deters the unveiling of Legislative Process?</a:t>
            </a:r>
            <a:endParaRPr lang="en-US"/>
          </a:p>
        </p:txBody>
      </p:sp>
      <p:sp>
        <p:nvSpPr>
          <p:cNvPr id="7" name="Slide Number Placeholder 5"/>
          <p:cNvSpPr>
            <a:spLocks noGrp="1"/>
          </p:cNvSpPr>
          <p:nvPr>
            <p:ph type="sldNum" sz="quarter" idx="12"/>
          </p:nvPr>
        </p:nvSpPr>
        <p:spPr/>
        <p:txBody>
          <a:bodyPr/>
          <a:lstStyle>
            <a:lvl1pPr>
              <a:defRPr/>
            </a:lvl1pPr>
          </a:lstStyle>
          <a:p>
            <a:fld id="{FA84A37A-AFC2-4A01-80A1-FC20F2C0D5BB}" type="slidenum">
              <a:rPr lang="en-US" smtClean="0"/>
              <a:pPr/>
              <a:t>‹#›</a:t>
            </a:fld>
            <a:endParaRPr lang="en-US"/>
          </a:p>
        </p:txBody>
      </p:sp>
    </p:spTree>
    <p:extLst>
      <p:ext uri="{BB962C8B-B14F-4D97-AF65-F5344CB8AC3E}">
        <p14:creationId xmlns:p14="http://schemas.microsoft.com/office/powerpoint/2010/main" xmlns="" val="1212915393"/>
      </p:ext>
    </p:extLst>
  </p:cSld>
  <p:clrMapOvr>
    <a:masterClrMapping/>
  </p:clrMapOvr>
  <p:transition spd="med">
    <p:plus/>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da-DK"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a-DK" noProof="0" smtClean="0"/>
              <a:t>Drag picture to placeholder or click icon to add</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Click to edit Master text styles</a:t>
            </a:r>
          </a:p>
        </p:txBody>
      </p:sp>
      <p:sp>
        <p:nvSpPr>
          <p:cNvPr id="5" name="Date Placeholder 3"/>
          <p:cNvSpPr>
            <a:spLocks noGrp="1"/>
          </p:cNvSpPr>
          <p:nvPr>
            <p:ph type="dt" sz="half" idx="10"/>
          </p:nvPr>
        </p:nvSpPr>
        <p:spPr/>
        <p:txBody>
          <a:bodyPr/>
          <a:lstStyle>
            <a:lvl1pPr>
              <a:defRPr/>
            </a:lvl1pPr>
          </a:lstStyle>
          <a:p>
            <a:fld id="{34F16733-8414-4E35-8889-651A2B5DAB68}" type="datetime1">
              <a:rPr lang="en-US" smtClean="0"/>
              <a:pPr/>
              <a:t>6/1/2014</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smtClean="0"/>
              <a:t>What deters the unveiling of Legislative Process?</a:t>
            </a:r>
            <a:endParaRPr lang="en-US"/>
          </a:p>
        </p:txBody>
      </p:sp>
      <p:sp>
        <p:nvSpPr>
          <p:cNvPr id="7" name="Slide Number Placeholder 5"/>
          <p:cNvSpPr>
            <a:spLocks noGrp="1"/>
          </p:cNvSpPr>
          <p:nvPr>
            <p:ph type="sldNum" sz="quarter" idx="12"/>
          </p:nvPr>
        </p:nvSpPr>
        <p:spPr/>
        <p:txBody>
          <a:bodyPr/>
          <a:lstStyle>
            <a:lvl1pPr>
              <a:defRPr/>
            </a:lvl1pPr>
          </a:lstStyle>
          <a:p>
            <a:fld id="{D57201E6-5786-224F-BEEB-628BC35823BC}" type="slidenum">
              <a:rPr lang="en-US" smtClean="0"/>
              <a:pPr/>
              <a:t>‹#›</a:t>
            </a:fld>
            <a:endParaRPr lang="en-US"/>
          </a:p>
        </p:txBody>
      </p:sp>
    </p:spTree>
    <p:extLst>
      <p:ext uri="{BB962C8B-B14F-4D97-AF65-F5344CB8AC3E}">
        <p14:creationId xmlns:p14="http://schemas.microsoft.com/office/powerpoint/2010/main" xmlns="" val="571174470"/>
      </p:ext>
    </p:extLst>
  </p:cSld>
  <p:clrMapOvr>
    <a:masterClrMapping/>
  </p:clrMapOvr>
  <p:transition spd="med">
    <p:plus/>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8194"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da-DK" smtClean="0"/>
              <a:t>Click to edit Master title style</a:t>
            </a:r>
            <a:endParaRPr lang="en-US"/>
          </a:p>
        </p:txBody>
      </p:sp>
      <p:sp>
        <p:nvSpPr>
          <p:cNvPr id="8195"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ea typeface="+mn-ea"/>
                <a:cs typeface="+mn-cs"/>
              </a:defRPr>
            </a:lvl1pPr>
          </a:lstStyle>
          <a:p>
            <a:fld id="{09EF6729-DECA-48AC-B8FF-3CF476FA34C1}" type="datetime1">
              <a:rPr lang="en-US" smtClean="0"/>
              <a:pPr/>
              <a:t>6/1/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r>
              <a:rPr lang="en-US" smtClean="0"/>
              <a:t>What deters the unveiling of Legislative Process?</a:t>
            </a: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ea typeface="+mn-ea"/>
                <a:cs typeface="+mn-cs"/>
              </a:defRPr>
            </a:lvl1pPr>
          </a:lstStyle>
          <a:p>
            <a:fld id="{7BB48F94-1885-8840-AD9E-01C46626843D}" type="slidenum">
              <a:rPr lang="en-US" smtClean="0"/>
              <a:pPr/>
              <a:t>‹#›</a:t>
            </a:fld>
            <a:endParaRPr lang="en-US"/>
          </a:p>
        </p:txBody>
      </p:sp>
      <p:sp>
        <p:nvSpPr>
          <p:cNvPr id="8" name="Slide Number Placeholder 5"/>
          <p:cNvSpPr txBox="1">
            <a:spLocks/>
          </p:cNvSpPr>
          <p:nvPr userDrawn="1"/>
        </p:nvSpPr>
        <p:spPr>
          <a:xfrm>
            <a:off x="330200" y="6356350"/>
            <a:ext cx="2133600" cy="365125"/>
          </a:xfrm>
          <a:prstGeom prst="rect">
            <a:avLst/>
          </a:prstGeom>
        </p:spPr>
        <p:txBody>
          <a:bodyPr vert="horz" lIns="91440" tIns="45720" rIns="91440" bIns="45720" rtlCol="0" anchor="ctr"/>
          <a:lstStyle>
            <a:defPPr>
              <a:defRPr lang="en-US"/>
            </a:defPPr>
            <a:lvl1pPr algn="l" defTabSz="457200" rtl="0" fontAlgn="base">
              <a:spcBef>
                <a:spcPct val="0"/>
              </a:spcBef>
              <a:spcAft>
                <a:spcPct val="0"/>
              </a:spcAft>
              <a:defRPr sz="1200" kern="1200">
                <a:solidFill>
                  <a:schemeClr val="tx1">
                    <a:tint val="75000"/>
                  </a:schemeClr>
                </a:solidFill>
                <a:latin typeface="Calibri"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fld id="{125C11E9-EA40-D54F-953A-82A4C72DAAAD}" type="slidenum">
              <a:rPr lang="en-US" smtClean="0"/>
              <a:pPr/>
              <a:t>‹#›</a:t>
            </a:fld>
            <a:r>
              <a:rPr lang="en-US" smtClean="0"/>
              <a:t> I</a:t>
            </a:r>
            <a:endParaRPr lang="en-US" dirty="0"/>
          </a:p>
        </p:txBody>
      </p:sp>
      <p:sp>
        <p:nvSpPr>
          <p:cNvPr id="9" name="Rectangle 8"/>
          <p:cNvSpPr/>
          <p:nvPr userDrawn="1"/>
        </p:nvSpPr>
        <p:spPr>
          <a:xfrm>
            <a:off x="0" y="0"/>
            <a:ext cx="9144000" cy="6858000"/>
          </a:xfrm>
          <a:prstGeom prst="rect">
            <a:avLst/>
          </a:prstGeom>
          <a:gradFill flip="none" rotWithShape="1">
            <a:gsLst>
              <a:gs pos="0">
                <a:schemeClr val="bg1">
                  <a:lumMod val="85000"/>
                </a:schemeClr>
              </a:gs>
              <a:gs pos="100000">
                <a:schemeClr val="bg1">
                  <a:lumMod val="95000"/>
                </a:schemeClr>
              </a:gs>
            </a:gsLst>
            <a:lin ang="1782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userDrawn="1"/>
        </p:nvSpPr>
        <p:spPr>
          <a:xfrm>
            <a:off x="1" y="3848099"/>
            <a:ext cx="9144000" cy="3008314"/>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p>
        </p:txBody>
      </p:sp>
      <p:cxnSp>
        <p:nvCxnSpPr>
          <p:cNvPr id="12" name="Straight Connector 11"/>
          <p:cNvCxnSpPr/>
          <p:nvPr userDrawn="1"/>
        </p:nvCxnSpPr>
        <p:spPr>
          <a:xfrm>
            <a:off x="-127556" y="3848099"/>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sp>
        <p:nvSpPr>
          <p:cNvPr id="14" name="Slide Number Placeholder 3"/>
          <p:cNvSpPr txBox="1">
            <a:spLocks/>
          </p:cNvSpPr>
          <p:nvPr userDrawn="1"/>
        </p:nvSpPr>
        <p:spPr>
          <a:xfrm>
            <a:off x="6751865" y="634488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smtClean="0">
                <a:solidFill>
                  <a:srgbClr val="A6A6A6"/>
                </a:solidFill>
              </a:rPr>
              <a:t>NAME OF PRESENTER</a:t>
            </a:r>
          </a:p>
        </p:txBody>
      </p:sp>
    </p:spTree>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Lst>
  <p:transition spd="med">
    <p:plus/>
  </p:transition>
  <p:hf hdr="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vmlDrawing" Target="../drawings/vmlDrawing3.vml"/><Relationship Id="rId5" Type="http://schemas.openxmlformats.org/officeDocument/2006/relationships/image" Target="../media/image2.jpeg"/><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6.xml"/><Relationship Id="rId1" Type="http://schemas.openxmlformats.org/officeDocument/2006/relationships/vmlDrawing" Target="../drawings/vmlDrawing9.v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vmlDrawing" Target="../drawings/vmlDrawing10.vml"/><Relationship Id="rId5" Type="http://schemas.openxmlformats.org/officeDocument/2006/relationships/chart" Target="../charts/chart6.xml"/><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slideLayout" Target="../slideLayouts/slideLayout1.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2" Type="http://schemas.openxmlformats.org/officeDocument/2006/relationships/tags" Target="../tags/tag38.xml"/><Relationship Id="rId16" Type="http://schemas.openxmlformats.org/officeDocument/2006/relationships/image" Target="../media/image11.jpeg"/><Relationship Id="rId1" Type="http://schemas.openxmlformats.org/officeDocument/2006/relationships/vmlDrawing" Target="../drawings/vmlDrawing11.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oleObject" Target="../embeddings/oleObject11.bin"/><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oleObject" Target="../embeddings/oleObject12.bin"/><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12.jpeg"/><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tags" Target="../tags/tag53.xml"/><Relationship Id="rId11" Type="http://schemas.openxmlformats.org/officeDocument/2006/relationships/slideLayout" Target="../slideLayouts/slideLayout1.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xml"/><Relationship Id="rId1" Type="http://schemas.openxmlformats.org/officeDocument/2006/relationships/vmlDrawing" Target="../drawings/vmlDrawing13.vml"/><Relationship Id="rId5" Type="http://schemas.openxmlformats.org/officeDocument/2006/relationships/image" Target="../media/image13.jpeg"/><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9.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0.xml"/><Relationship Id="rId1" Type="http://schemas.openxmlformats.org/officeDocument/2006/relationships/vmlDrawing" Target="../drawings/vmlDrawing15.vml"/><Relationship Id="rId5" Type="http://schemas.openxmlformats.org/officeDocument/2006/relationships/image" Target="../media/image15.jpeg"/><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7.jpe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1.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2.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s/_rels/slide2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19.png"/><Relationship Id="rId2" Type="http://schemas.openxmlformats.org/officeDocument/2006/relationships/tags" Target="../tags/tag64.xml"/><Relationship Id="rId1" Type="http://schemas.openxmlformats.org/officeDocument/2006/relationships/vmlDrawing" Target="../drawings/vmlDrawing19.vml"/><Relationship Id="rId6" Type="http://schemas.openxmlformats.org/officeDocument/2006/relationships/image" Target="../media/image18.png"/><Relationship Id="rId5" Type="http://schemas.openxmlformats.org/officeDocument/2006/relationships/oleObject" Target="../embeddings/oleObject19.bin"/><Relationship Id="rId4" Type="http://schemas.openxmlformats.org/officeDocument/2006/relationships/notesSlide" Target="../notesSlides/notesSlide6.xml"/></Relationships>
</file>

<file path=ppt/slides/_rels/slide25.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slideLayout" Target="../slideLayouts/slideLayout2.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 Type="http://schemas.openxmlformats.org/officeDocument/2006/relationships/tags" Target="../tags/tag65.xml"/><Relationship Id="rId16" Type="http://schemas.openxmlformats.org/officeDocument/2006/relationships/tags" Target="../tags/tag79.xml"/><Relationship Id="rId1" Type="http://schemas.openxmlformats.org/officeDocument/2006/relationships/vmlDrawing" Target="../drawings/vmlDrawing20.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tags" Target="../tags/tag78.xml"/><Relationship Id="rId10" Type="http://schemas.openxmlformats.org/officeDocument/2006/relationships/tags" Target="../tags/tag73.xml"/><Relationship Id="rId19" Type="http://schemas.openxmlformats.org/officeDocument/2006/relationships/oleObject" Target="../embeddings/oleObject20.bin"/><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image" Target="../media/image3.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4.jpeg"/><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slideLayout" Target="../slideLayouts/slideLayout1.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2" Type="http://schemas.openxmlformats.org/officeDocument/2006/relationships/tags" Target="../tags/tag19.xml"/><Relationship Id="rId16" Type="http://schemas.openxmlformats.org/officeDocument/2006/relationships/image" Target="../media/image5.wmf"/><Relationship Id="rId1" Type="http://schemas.openxmlformats.org/officeDocument/2006/relationships/vmlDrawing" Target="../drawings/vmlDrawing6.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oleObject" Target="../embeddings/oleObject6.bin"/><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8.jpeg"/><Relationship Id="rId4" Type="http://schemas.openxmlformats.org/officeDocument/2006/relationships/image" Target="../media/image7.jpeg"/></Relationships>
</file>

<file path=ppt/slides/_rels/slide7.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chart" Target="../charts/chart1.xml"/><Relationship Id="rId5" Type="http://schemas.openxmlformats.org/officeDocument/2006/relationships/slideLayout" Target="../slideLayouts/slideLayout2.xml"/><Relationship Id="rId4" Type="http://schemas.openxmlformats.org/officeDocument/2006/relationships/tags" Target="../tags/tag3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4.xml"/><Relationship Id="rId1" Type="http://schemas.openxmlformats.org/officeDocument/2006/relationships/vmlDrawing" Target="../drawings/vmlDrawing7.vml"/><Relationship Id="rId5" Type="http://schemas.openxmlformats.org/officeDocument/2006/relationships/chart" Target="../charts/chart2.xml"/><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5.xml"/><Relationship Id="rId1" Type="http://schemas.openxmlformats.org/officeDocument/2006/relationships/vmlDrawing" Target="../drawings/vmlDrawing8.vml"/><Relationship Id="rId5" Type="http://schemas.openxmlformats.org/officeDocument/2006/relationships/chart" Target="../charts/chart3.xml"/><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xmlns="" val="4031002125"/>
              </p:ext>
            </p:extLst>
          </p:nvPr>
        </p:nvGraphicFramePr>
        <p:xfrm>
          <a:off x="1588" y="1588"/>
          <a:ext cx="1587" cy="1587"/>
        </p:xfrm>
        <a:graphic>
          <a:graphicData uri="http://schemas.openxmlformats.org/presentationml/2006/ole">
            <p:oleObj spid="_x0000_s14348" name="think-cell Slide" r:id="rId4" imgW="360" imgH="360" progId="">
              <p:embed/>
            </p:oleObj>
          </a:graphicData>
        </a:graphic>
      </p:graphicFrame>
      <p:sp>
        <p:nvSpPr>
          <p:cNvPr id="8" name="TextBox 7"/>
          <p:cNvSpPr txBox="1"/>
          <p:nvPr/>
        </p:nvSpPr>
        <p:spPr>
          <a:xfrm>
            <a:off x="300038" y="1244184"/>
            <a:ext cx="8543925" cy="984885"/>
          </a:xfrm>
          <a:prstGeom prst="rect">
            <a:avLst/>
          </a:prstGeom>
          <a:noFill/>
        </p:spPr>
        <p:txBody>
          <a:bodyPr wrap="square" lIns="0" tIns="0" rIns="0" bIns="0" rtlCol="0">
            <a:spAutoFit/>
          </a:bodyPr>
          <a:lstStyle/>
          <a:p>
            <a:pPr algn="ctr"/>
            <a:r>
              <a:rPr lang="en-US" sz="3200" b="1" i="1" dirty="0" smtClean="0">
                <a:solidFill>
                  <a:srgbClr val="0070C0"/>
                </a:solidFill>
                <a:effectLst>
                  <a:outerShdw blurRad="38100" dist="38100" dir="2700000" algn="tl">
                    <a:srgbClr val="000000">
                      <a:alpha val="43137"/>
                    </a:srgbClr>
                  </a:outerShdw>
                </a:effectLst>
              </a:rPr>
              <a:t>What deters the unveiling of legislative process? </a:t>
            </a:r>
            <a:r>
              <a:rPr lang="en-US" sz="3200" dirty="0" smtClean="0">
                <a:solidFill>
                  <a:srgbClr val="0070C0"/>
                </a:solidFill>
                <a:effectLst>
                  <a:outerShdw blurRad="38100" dist="38100" dir="2700000" algn="tl">
                    <a:srgbClr val="000000">
                      <a:alpha val="43137"/>
                    </a:srgbClr>
                  </a:outerShdw>
                </a:effectLst>
              </a:rPr>
              <a:t/>
            </a:r>
            <a:br>
              <a:rPr lang="en-US" sz="3200" dirty="0" smtClean="0">
                <a:solidFill>
                  <a:srgbClr val="0070C0"/>
                </a:solidFill>
                <a:effectLst>
                  <a:outerShdw blurRad="38100" dist="38100" dir="2700000" algn="tl">
                    <a:srgbClr val="000000">
                      <a:alpha val="43137"/>
                    </a:srgbClr>
                  </a:outerShdw>
                </a:effectLst>
              </a:rPr>
            </a:br>
            <a:endParaRPr lang="en-US" sz="3200" b="1" dirty="0">
              <a:solidFill>
                <a:srgbClr val="0070C0"/>
              </a:solidFill>
              <a:effectLst>
                <a:outerShdw blurRad="38100" dist="38100" dir="2700000" algn="tl">
                  <a:srgbClr val="000000">
                    <a:alpha val="43137"/>
                  </a:srgbClr>
                </a:outerShdw>
              </a:effectLst>
              <a:latin typeface="Neo Sans Std" pitchFamily="34" charset="0"/>
            </a:endParaRPr>
          </a:p>
        </p:txBody>
      </p:sp>
      <p:sp>
        <p:nvSpPr>
          <p:cNvPr id="10" name="TextBox 9"/>
          <p:cNvSpPr txBox="1"/>
          <p:nvPr/>
        </p:nvSpPr>
        <p:spPr>
          <a:xfrm>
            <a:off x="2039382" y="2582708"/>
            <a:ext cx="5084064" cy="861774"/>
          </a:xfrm>
          <a:prstGeom prst="rect">
            <a:avLst/>
          </a:prstGeom>
          <a:noFill/>
        </p:spPr>
        <p:txBody>
          <a:bodyPr wrap="square" rtlCol="0" anchor="t">
            <a:spAutoFit/>
          </a:bodyPr>
          <a:lstStyle/>
          <a:p>
            <a:pPr algn="ctr">
              <a:spcAft>
                <a:spcPts val="1200"/>
              </a:spcAft>
            </a:pPr>
            <a:r>
              <a:rPr lang="en-US" sz="2000" dirty="0" smtClean="0">
                <a:latin typeface="Neo Sans Std" pitchFamily="34" charset="0"/>
                <a:cs typeface="Calibri" pitchFamily="34" charset="0"/>
              </a:rPr>
              <a:t>A Study from Indian Perspective</a:t>
            </a:r>
          </a:p>
          <a:p>
            <a:pPr>
              <a:spcAft>
                <a:spcPts val="1200"/>
              </a:spcAft>
            </a:pPr>
            <a:endParaRPr lang="en-US" sz="2000" dirty="0">
              <a:latin typeface="Neo Sans Std" pitchFamily="34" charset="0"/>
              <a:cs typeface="Calibri" pitchFamily="34" charset="0"/>
            </a:endParaRPr>
          </a:p>
        </p:txBody>
      </p:sp>
      <p:cxnSp>
        <p:nvCxnSpPr>
          <p:cNvPr id="11" name="Straight Connector 10"/>
          <p:cNvCxnSpPr/>
          <p:nvPr/>
        </p:nvCxnSpPr>
        <p:spPr>
          <a:xfrm rot="10800000">
            <a:off x="1408893" y="2500472"/>
            <a:ext cx="6345045" cy="1588"/>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pic>
        <p:nvPicPr>
          <p:cNvPr id="7" name="Picture 6" descr="parliamentofindia.jpg"/>
          <p:cNvPicPr>
            <a:picLocks noChangeAspect="1"/>
          </p:cNvPicPr>
          <p:nvPr/>
        </p:nvPicPr>
        <p:blipFill>
          <a:blip r:embed="rId5"/>
          <a:stretch>
            <a:fillRect/>
          </a:stretch>
        </p:blipFill>
        <p:spPr>
          <a:xfrm>
            <a:off x="1109272" y="2500472"/>
            <a:ext cx="6644666" cy="2805659"/>
          </a:xfrm>
          <a:prstGeom prst="rect">
            <a:avLst/>
          </a:prstGeom>
          <a:ln w="53975" cmpd="sng">
            <a:solidFill>
              <a:srgbClr val="0070C0">
                <a:alpha val="99000"/>
              </a:srgbClr>
            </a:solidFill>
          </a:ln>
        </p:spPr>
      </p:pic>
      <p:sp>
        <p:nvSpPr>
          <p:cNvPr id="9" name="TextBox 8"/>
          <p:cNvSpPr txBox="1"/>
          <p:nvPr/>
        </p:nvSpPr>
        <p:spPr>
          <a:xfrm>
            <a:off x="6160957" y="6295869"/>
            <a:ext cx="2683006" cy="369332"/>
          </a:xfrm>
          <a:prstGeom prst="rect">
            <a:avLst/>
          </a:prstGeom>
          <a:noFill/>
        </p:spPr>
        <p:txBody>
          <a:bodyPr wrap="square" rtlCol="0">
            <a:spAutoFit/>
          </a:bodyPr>
          <a:lstStyle/>
          <a:p>
            <a:r>
              <a:rPr lang="en-US" b="1" i="1" dirty="0" smtClean="0"/>
              <a:t>Dr. </a:t>
            </a:r>
            <a:r>
              <a:rPr lang="en-US" b="1" i="1" dirty="0" err="1" smtClean="0"/>
              <a:t>Manisha</a:t>
            </a:r>
            <a:r>
              <a:rPr lang="en-US" b="1" i="1" dirty="0" smtClean="0"/>
              <a:t> </a:t>
            </a:r>
            <a:r>
              <a:rPr lang="en-US" b="1" i="1" dirty="0" err="1" smtClean="0"/>
              <a:t>Madhava</a:t>
            </a:r>
            <a:r>
              <a:rPr lang="en-US" b="1" i="1" dirty="0" smtClean="0"/>
              <a:t>,</a:t>
            </a:r>
            <a:endParaRPr lang="en-US" b="1" i="1" dirty="0"/>
          </a:p>
        </p:txBody>
      </p:sp>
      <p:sp>
        <p:nvSpPr>
          <p:cNvPr id="12" name="TextBox 11"/>
          <p:cNvSpPr txBox="1"/>
          <p:nvPr/>
        </p:nvSpPr>
        <p:spPr>
          <a:xfrm>
            <a:off x="569626" y="6080426"/>
            <a:ext cx="4002374" cy="584775"/>
          </a:xfrm>
          <a:prstGeom prst="rect">
            <a:avLst/>
          </a:prstGeom>
          <a:noFill/>
        </p:spPr>
        <p:txBody>
          <a:bodyPr wrap="square" rtlCol="0">
            <a:spAutoFit/>
          </a:bodyPr>
          <a:lstStyle/>
          <a:p>
            <a:r>
              <a:rPr lang="en-US" dirty="0" smtClean="0"/>
              <a:t> </a:t>
            </a:r>
            <a:r>
              <a:rPr lang="en-US" sz="1400" b="1" i="1" dirty="0" smtClean="0"/>
              <a:t>Open Legislative Data in Paris II :Time Has Come for Law Tracking, Paris, 28th of May, 2014</a:t>
            </a:r>
            <a:endParaRPr lang="en-US" sz="1400" b="1" i="1" dirty="0"/>
          </a:p>
        </p:txBody>
      </p:sp>
    </p:spTree>
    <p:extLst>
      <p:ext uri="{BB962C8B-B14F-4D97-AF65-F5344CB8AC3E}">
        <p14:creationId xmlns:p14="http://schemas.microsoft.com/office/powerpoint/2010/main" xmlns="" val="3751184574"/>
      </p:ext>
    </p:extLst>
  </p:cSld>
  <p:clrMapOvr>
    <a:masterClrMapping/>
  </p:clrMapOvr>
  <p:transition spd="med">
    <p:plus/>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xmlns="" val="1220212714"/>
              </p:ext>
            </p:extLst>
          </p:nvPr>
        </p:nvGraphicFramePr>
        <p:xfrm>
          <a:off x="1588" y="1588"/>
          <a:ext cx="1587" cy="1587"/>
        </p:xfrm>
        <a:graphic>
          <a:graphicData uri="http://schemas.openxmlformats.org/presentationml/2006/ole">
            <p:oleObj spid="_x0000_s33794" name="think-cell Slide" r:id="rId4" imgW="360" imgH="360" progId="">
              <p:embed/>
            </p:oleObj>
          </a:graphicData>
        </a:graphic>
      </p:graphicFrame>
      <p:cxnSp>
        <p:nvCxnSpPr>
          <p:cNvPr id="11" name="Straight Connector 10"/>
          <p:cNvCxnSpPr/>
          <p:nvPr/>
        </p:nvCxnSpPr>
        <p:spPr>
          <a:xfrm rot="5400000">
            <a:off x="4594178" y="-1902157"/>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39" name="Freeform 13"/>
          <p:cNvSpPr>
            <a:spLocks noEditPoints="1"/>
          </p:cNvSpPr>
          <p:nvPr/>
        </p:nvSpPr>
        <p:spPr bwMode="auto">
          <a:xfrm rot="10585247" flipV="1">
            <a:off x="4417312" y="3187267"/>
            <a:ext cx="437938" cy="527565"/>
          </a:xfrm>
          <a:custGeom>
            <a:avLst/>
            <a:gdLst>
              <a:gd name="T0" fmla="*/ 2022 w 2403"/>
              <a:gd name="T1" fmla="*/ 144 h 2897"/>
              <a:gd name="T2" fmla="*/ 1852 w 2403"/>
              <a:gd name="T3" fmla="*/ 57 h 2897"/>
              <a:gd name="T4" fmla="*/ 1632 w 2403"/>
              <a:gd name="T5" fmla="*/ 1 h 2897"/>
              <a:gd name="T6" fmla="*/ 1548 w 2403"/>
              <a:gd name="T7" fmla="*/ 2 h 2897"/>
              <a:gd name="T8" fmla="*/ 1491 w 2403"/>
              <a:gd name="T9" fmla="*/ 23 h 2897"/>
              <a:gd name="T10" fmla="*/ 785 w 2403"/>
              <a:gd name="T11" fmla="*/ 948 h 2897"/>
              <a:gd name="T12" fmla="*/ 48 w 2403"/>
              <a:gd name="T13" fmla="*/ 1933 h 2897"/>
              <a:gd name="T14" fmla="*/ 30 w 2403"/>
              <a:gd name="T15" fmla="*/ 1995 h 2897"/>
              <a:gd name="T16" fmla="*/ 3 w 2403"/>
              <a:gd name="T17" fmla="*/ 2340 h 2897"/>
              <a:gd name="T18" fmla="*/ 7 w 2403"/>
              <a:gd name="T19" fmla="*/ 2732 h 2897"/>
              <a:gd name="T20" fmla="*/ 27 w 2403"/>
              <a:gd name="T21" fmla="*/ 2871 h 2897"/>
              <a:gd name="T22" fmla="*/ 42 w 2403"/>
              <a:gd name="T23" fmla="*/ 2891 h 2897"/>
              <a:gd name="T24" fmla="*/ 118 w 2403"/>
              <a:gd name="T25" fmla="*/ 2896 h 2897"/>
              <a:gd name="T26" fmla="*/ 340 w 2403"/>
              <a:gd name="T27" fmla="*/ 2850 h 2897"/>
              <a:gd name="T28" fmla="*/ 724 w 2403"/>
              <a:gd name="T29" fmla="*/ 2722 h 2897"/>
              <a:gd name="T30" fmla="*/ 926 w 2403"/>
              <a:gd name="T31" fmla="*/ 2628 h 2897"/>
              <a:gd name="T32" fmla="*/ 987 w 2403"/>
              <a:gd name="T33" fmla="*/ 2578 h 2897"/>
              <a:gd name="T34" fmla="*/ 1454 w 2403"/>
              <a:gd name="T35" fmla="*/ 1961 h 2897"/>
              <a:gd name="T36" fmla="*/ 2390 w 2403"/>
              <a:gd name="T37" fmla="*/ 675 h 2897"/>
              <a:gd name="T38" fmla="*/ 2403 w 2403"/>
              <a:gd name="T39" fmla="*/ 631 h 2897"/>
              <a:gd name="T40" fmla="*/ 2392 w 2403"/>
              <a:gd name="T41" fmla="*/ 562 h 2897"/>
              <a:gd name="T42" fmla="*/ 2334 w 2403"/>
              <a:gd name="T43" fmla="*/ 447 h 2897"/>
              <a:gd name="T44" fmla="*/ 2193 w 2403"/>
              <a:gd name="T45" fmla="*/ 279 h 2897"/>
              <a:gd name="T46" fmla="*/ 1398 w 2403"/>
              <a:gd name="T47" fmla="*/ 308 h 2897"/>
              <a:gd name="T48" fmla="*/ 1421 w 2403"/>
              <a:gd name="T49" fmla="*/ 290 h 2897"/>
              <a:gd name="T50" fmla="*/ 1468 w 2403"/>
              <a:gd name="T51" fmla="*/ 287 h 2897"/>
              <a:gd name="T52" fmla="*/ 1528 w 2403"/>
              <a:gd name="T53" fmla="*/ 313 h 2897"/>
              <a:gd name="T54" fmla="*/ 1580 w 2403"/>
              <a:gd name="T55" fmla="*/ 368 h 2897"/>
              <a:gd name="T56" fmla="*/ 1587 w 2403"/>
              <a:gd name="T57" fmla="*/ 409 h 2897"/>
              <a:gd name="T58" fmla="*/ 337 w 2403"/>
              <a:gd name="T59" fmla="*/ 1902 h 2897"/>
              <a:gd name="T60" fmla="*/ 473 w 2403"/>
              <a:gd name="T61" fmla="*/ 2660 h 2897"/>
              <a:gd name="T62" fmla="*/ 364 w 2403"/>
              <a:gd name="T63" fmla="*/ 2709 h 2897"/>
              <a:gd name="T64" fmla="*/ 169 w 2403"/>
              <a:gd name="T65" fmla="*/ 2764 h 2897"/>
              <a:gd name="T66" fmla="*/ 134 w 2403"/>
              <a:gd name="T67" fmla="*/ 2763 h 2897"/>
              <a:gd name="T68" fmla="*/ 125 w 2403"/>
              <a:gd name="T69" fmla="*/ 2643 h 2897"/>
              <a:gd name="T70" fmla="*/ 137 w 2403"/>
              <a:gd name="T71" fmla="*/ 2423 h 2897"/>
              <a:gd name="T72" fmla="*/ 151 w 2403"/>
              <a:gd name="T73" fmla="*/ 2404 h 2897"/>
              <a:gd name="T74" fmla="*/ 206 w 2403"/>
              <a:gd name="T75" fmla="*/ 2409 h 2897"/>
              <a:gd name="T76" fmla="*/ 355 w 2403"/>
              <a:gd name="T77" fmla="*/ 2486 h 2897"/>
              <a:gd name="T78" fmla="*/ 454 w 2403"/>
              <a:gd name="T79" fmla="*/ 2577 h 2897"/>
              <a:gd name="T80" fmla="*/ 480 w 2403"/>
              <a:gd name="T81" fmla="*/ 2630 h 2897"/>
              <a:gd name="T82" fmla="*/ 490 w 2403"/>
              <a:gd name="T83" fmla="*/ 2117 h 2897"/>
              <a:gd name="T84" fmla="*/ 1708 w 2403"/>
              <a:gd name="T85" fmla="*/ 446 h 2897"/>
              <a:gd name="T86" fmla="*/ 1748 w 2403"/>
              <a:gd name="T87" fmla="*/ 445 h 2897"/>
              <a:gd name="T88" fmla="*/ 1821 w 2403"/>
              <a:gd name="T89" fmla="*/ 478 h 2897"/>
              <a:gd name="T90" fmla="*/ 1867 w 2403"/>
              <a:gd name="T91" fmla="*/ 520 h 2897"/>
              <a:gd name="T92" fmla="*/ 1888 w 2403"/>
              <a:gd name="T93" fmla="*/ 565 h 2897"/>
              <a:gd name="T94" fmla="*/ 624 w 2403"/>
              <a:gd name="T95" fmla="*/ 2291 h 2897"/>
              <a:gd name="T96" fmla="*/ 902 w 2403"/>
              <a:gd name="T97" fmla="*/ 2386 h 2897"/>
              <a:gd name="T98" fmla="*/ 1979 w 2403"/>
              <a:gd name="T99" fmla="*/ 672 h 2897"/>
              <a:gd name="T100" fmla="*/ 2014 w 2403"/>
              <a:gd name="T101" fmla="*/ 670 h 2897"/>
              <a:gd name="T102" fmla="*/ 2067 w 2403"/>
              <a:gd name="T103" fmla="*/ 704 h 2897"/>
              <a:gd name="T104" fmla="*/ 2108 w 2403"/>
              <a:gd name="T105" fmla="*/ 754 h 2897"/>
              <a:gd name="T106" fmla="*/ 2123 w 2403"/>
              <a:gd name="T107" fmla="*/ 801 h 2897"/>
              <a:gd name="T108" fmla="*/ 2117 w 2403"/>
              <a:gd name="T109" fmla="*/ 835 h 2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03" h="2897">
                <a:moveTo>
                  <a:pt x="2095" y="193"/>
                </a:moveTo>
                <a:lnTo>
                  <a:pt x="2095" y="193"/>
                </a:lnTo>
                <a:lnTo>
                  <a:pt x="2071" y="176"/>
                </a:lnTo>
                <a:lnTo>
                  <a:pt x="2046" y="159"/>
                </a:lnTo>
                <a:lnTo>
                  <a:pt x="2022" y="144"/>
                </a:lnTo>
                <a:lnTo>
                  <a:pt x="1998" y="129"/>
                </a:lnTo>
                <a:lnTo>
                  <a:pt x="1974" y="115"/>
                </a:lnTo>
                <a:lnTo>
                  <a:pt x="1948" y="101"/>
                </a:lnTo>
                <a:lnTo>
                  <a:pt x="1900" y="78"/>
                </a:lnTo>
                <a:lnTo>
                  <a:pt x="1852" y="57"/>
                </a:lnTo>
                <a:lnTo>
                  <a:pt x="1803" y="40"/>
                </a:lnTo>
                <a:lnTo>
                  <a:pt x="1757" y="25"/>
                </a:lnTo>
                <a:lnTo>
                  <a:pt x="1714" y="14"/>
                </a:lnTo>
                <a:lnTo>
                  <a:pt x="1671" y="6"/>
                </a:lnTo>
                <a:lnTo>
                  <a:pt x="1632" y="1"/>
                </a:lnTo>
                <a:lnTo>
                  <a:pt x="1613" y="0"/>
                </a:lnTo>
                <a:lnTo>
                  <a:pt x="1595" y="0"/>
                </a:lnTo>
                <a:lnTo>
                  <a:pt x="1580" y="0"/>
                </a:lnTo>
                <a:lnTo>
                  <a:pt x="1564" y="1"/>
                </a:lnTo>
                <a:lnTo>
                  <a:pt x="1548" y="2"/>
                </a:lnTo>
                <a:lnTo>
                  <a:pt x="1535" y="5"/>
                </a:lnTo>
                <a:lnTo>
                  <a:pt x="1521" y="8"/>
                </a:lnTo>
                <a:lnTo>
                  <a:pt x="1511" y="12"/>
                </a:lnTo>
                <a:lnTo>
                  <a:pt x="1500" y="17"/>
                </a:lnTo>
                <a:lnTo>
                  <a:pt x="1491" y="23"/>
                </a:lnTo>
                <a:lnTo>
                  <a:pt x="1484" y="29"/>
                </a:lnTo>
                <a:lnTo>
                  <a:pt x="1477" y="36"/>
                </a:lnTo>
                <a:lnTo>
                  <a:pt x="1477" y="36"/>
                </a:lnTo>
                <a:lnTo>
                  <a:pt x="1253" y="331"/>
                </a:lnTo>
                <a:lnTo>
                  <a:pt x="785" y="948"/>
                </a:lnTo>
                <a:lnTo>
                  <a:pt x="532" y="1283"/>
                </a:lnTo>
                <a:lnTo>
                  <a:pt x="304" y="1584"/>
                </a:lnTo>
                <a:lnTo>
                  <a:pt x="134" y="1813"/>
                </a:lnTo>
                <a:lnTo>
                  <a:pt x="78" y="1890"/>
                </a:lnTo>
                <a:lnTo>
                  <a:pt x="48" y="1933"/>
                </a:lnTo>
                <a:lnTo>
                  <a:pt x="48" y="1933"/>
                </a:lnTo>
                <a:lnTo>
                  <a:pt x="43" y="1943"/>
                </a:lnTo>
                <a:lnTo>
                  <a:pt x="38" y="1956"/>
                </a:lnTo>
                <a:lnTo>
                  <a:pt x="33" y="1974"/>
                </a:lnTo>
                <a:lnTo>
                  <a:pt x="30" y="1995"/>
                </a:lnTo>
                <a:lnTo>
                  <a:pt x="23" y="2047"/>
                </a:lnTo>
                <a:lnTo>
                  <a:pt x="15" y="2110"/>
                </a:lnTo>
                <a:lnTo>
                  <a:pt x="10" y="2181"/>
                </a:lnTo>
                <a:lnTo>
                  <a:pt x="6" y="2259"/>
                </a:lnTo>
                <a:lnTo>
                  <a:pt x="3" y="2340"/>
                </a:lnTo>
                <a:lnTo>
                  <a:pt x="1" y="2423"/>
                </a:lnTo>
                <a:lnTo>
                  <a:pt x="0" y="2507"/>
                </a:lnTo>
                <a:lnTo>
                  <a:pt x="1" y="2588"/>
                </a:lnTo>
                <a:lnTo>
                  <a:pt x="3" y="2663"/>
                </a:lnTo>
                <a:lnTo>
                  <a:pt x="7" y="2732"/>
                </a:lnTo>
                <a:lnTo>
                  <a:pt x="12" y="2790"/>
                </a:lnTo>
                <a:lnTo>
                  <a:pt x="15" y="2815"/>
                </a:lnTo>
                <a:lnTo>
                  <a:pt x="19" y="2837"/>
                </a:lnTo>
                <a:lnTo>
                  <a:pt x="23" y="2856"/>
                </a:lnTo>
                <a:lnTo>
                  <a:pt x="27" y="2871"/>
                </a:lnTo>
                <a:lnTo>
                  <a:pt x="32" y="2882"/>
                </a:lnTo>
                <a:lnTo>
                  <a:pt x="35" y="2885"/>
                </a:lnTo>
                <a:lnTo>
                  <a:pt x="37" y="2888"/>
                </a:lnTo>
                <a:lnTo>
                  <a:pt x="37" y="2888"/>
                </a:lnTo>
                <a:lnTo>
                  <a:pt x="42" y="2891"/>
                </a:lnTo>
                <a:lnTo>
                  <a:pt x="47" y="2893"/>
                </a:lnTo>
                <a:lnTo>
                  <a:pt x="60" y="2896"/>
                </a:lnTo>
                <a:lnTo>
                  <a:pt x="76" y="2897"/>
                </a:lnTo>
                <a:lnTo>
                  <a:pt x="95" y="2897"/>
                </a:lnTo>
                <a:lnTo>
                  <a:pt x="118" y="2896"/>
                </a:lnTo>
                <a:lnTo>
                  <a:pt x="144" y="2893"/>
                </a:lnTo>
                <a:lnTo>
                  <a:pt x="171" y="2888"/>
                </a:lnTo>
                <a:lnTo>
                  <a:pt x="202" y="2883"/>
                </a:lnTo>
                <a:lnTo>
                  <a:pt x="267" y="2868"/>
                </a:lnTo>
                <a:lnTo>
                  <a:pt x="340" y="2850"/>
                </a:lnTo>
                <a:lnTo>
                  <a:pt x="416" y="2829"/>
                </a:lnTo>
                <a:lnTo>
                  <a:pt x="494" y="2804"/>
                </a:lnTo>
                <a:lnTo>
                  <a:pt x="573" y="2778"/>
                </a:lnTo>
                <a:lnTo>
                  <a:pt x="650" y="2751"/>
                </a:lnTo>
                <a:lnTo>
                  <a:pt x="724" y="2722"/>
                </a:lnTo>
                <a:lnTo>
                  <a:pt x="793" y="2694"/>
                </a:lnTo>
                <a:lnTo>
                  <a:pt x="854" y="2666"/>
                </a:lnTo>
                <a:lnTo>
                  <a:pt x="880" y="2653"/>
                </a:lnTo>
                <a:lnTo>
                  <a:pt x="904" y="2641"/>
                </a:lnTo>
                <a:lnTo>
                  <a:pt x="926" y="2628"/>
                </a:lnTo>
                <a:lnTo>
                  <a:pt x="946" y="2617"/>
                </a:lnTo>
                <a:lnTo>
                  <a:pt x="960" y="2605"/>
                </a:lnTo>
                <a:lnTo>
                  <a:pt x="972" y="2595"/>
                </a:lnTo>
                <a:lnTo>
                  <a:pt x="972" y="2595"/>
                </a:lnTo>
                <a:lnTo>
                  <a:pt x="987" y="2578"/>
                </a:lnTo>
                <a:lnTo>
                  <a:pt x="1007" y="2554"/>
                </a:lnTo>
                <a:lnTo>
                  <a:pt x="1064" y="2480"/>
                </a:lnTo>
                <a:lnTo>
                  <a:pt x="1142" y="2380"/>
                </a:lnTo>
                <a:lnTo>
                  <a:pt x="1234" y="2257"/>
                </a:lnTo>
                <a:lnTo>
                  <a:pt x="1454" y="1961"/>
                </a:lnTo>
                <a:lnTo>
                  <a:pt x="1697" y="1630"/>
                </a:lnTo>
                <a:lnTo>
                  <a:pt x="1939" y="1298"/>
                </a:lnTo>
                <a:lnTo>
                  <a:pt x="2153" y="1004"/>
                </a:lnTo>
                <a:lnTo>
                  <a:pt x="2311" y="784"/>
                </a:lnTo>
                <a:lnTo>
                  <a:pt x="2390" y="675"/>
                </a:lnTo>
                <a:lnTo>
                  <a:pt x="2390" y="675"/>
                </a:lnTo>
                <a:lnTo>
                  <a:pt x="2395" y="665"/>
                </a:lnTo>
                <a:lnTo>
                  <a:pt x="2400" y="654"/>
                </a:lnTo>
                <a:lnTo>
                  <a:pt x="2402" y="643"/>
                </a:lnTo>
                <a:lnTo>
                  <a:pt x="2403" y="631"/>
                </a:lnTo>
                <a:lnTo>
                  <a:pt x="2403" y="618"/>
                </a:lnTo>
                <a:lnTo>
                  <a:pt x="2403" y="605"/>
                </a:lnTo>
                <a:lnTo>
                  <a:pt x="2401" y="591"/>
                </a:lnTo>
                <a:lnTo>
                  <a:pt x="2397" y="577"/>
                </a:lnTo>
                <a:lnTo>
                  <a:pt x="2392" y="562"/>
                </a:lnTo>
                <a:lnTo>
                  <a:pt x="2386" y="547"/>
                </a:lnTo>
                <a:lnTo>
                  <a:pt x="2380" y="531"/>
                </a:lnTo>
                <a:lnTo>
                  <a:pt x="2373" y="514"/>
                </a:lnTo>
                <a:lnTo>
                  <a:pt x="2355" y="481"/>
                </a:lnTo>
                <a:lnTo>
                  <a:pt x="2334" y="447"/>
                </a:lnTo>
                <a:lnTo>
                  <a:pt x="2310" y="412"/>
                </a:lnTo>
                <a:lnTo>
                  <a:pt x="2284" y="378"/>
                </a:lnTo>
                <a:lnTo>
                  <a:pt x="2255" y="345"/>
                </a:lnTo>
                <a:lnTo>
                  <a:pt x="2226" y="311"/>
                </a:lnTo>
                <a:lnTo>
                  <a:pt x="2193" y="279"/>
                </a:lnTo>
                <a:lnTo>
                  <a:pt x="2161" y="248"/>
                </a:lnTo>
                <a:lnTo>
                  <a:pt x="2128" y="220"/>
                </a:lnTo>
                <a:lnTo>
                  <a:pt x="2095" y="193"/>
                </a:lnTo>
                <a:lnTo>
                  <a:pt x="2095" y="193"/>
                </a:lnTo>
                <a:close/>
                <a:moveTo>
                  <a:pt x="1398" y="308"/>
                </a:moveTo>
                <a:lnTo>
                  <a:pt x="1398" y="308"/>
                </a:lnTo>
                <a:lnTo>
                  <a:pt x="1400" y="306"/>
                </a:lnTo>
                <a:lnTo>
                  <a:pt x="1405" y="300"/>
                </a:lnTo>
                <a:lnTo>
                  <a:pt x="1415" y="294"/>
                </a:lnTo>
                <a:lnTo>
                  <a:pt x="1421" y="290"/>
                </a:lnTo>
                <a:lnTo>
                  <a:pt x="1428" y="288"/>
                </a:lnTo>
                <a:lnTo>
                  <a:pt x="1437" y="285"/>
                </a:lnTo>
                <a:lnTo>
                  <a:pt x="1445" y="284"/>
                </a:lnTo>
                <a:lnTo>
                  <a:pt x="1456" y="284"/>
                </a:lnTo>
                <a:lnTo>
                  <a:pt x="1468" y="287"/>
                </a:lnTo>
                <a:lnTo>
                  <a:pt x="1482" y="290"/>
                </a:lnTo>
                <a:lnTo>
                  <a:pt x="1495" y="295"/>
                </a:lnTo>
                <a:lnTo>
                  <a:pt x="1511" y="303"/>
                </a:lnTo>
                <a:lnTo>
                  <a:pt x="1528" y="313"/>
                </a:lnTo>
                <a:lnTo>
                  <a:pt x="1528" y="313"/>
                </a:lnTo>
                <a:lnTo>
                  <a:pt x="1542" y="325"/>
                </a:lnTo>
                <a:lnTo>
                  <a:pt x="1555" y="336"/>
                </a:lnTo>
                <a:lnTo>
                  <a:pt x="1565" y="347"/>
                </a:lnTo>
                <a:lnTo>
                  <a:pt x="1573" y="357"/>
                </a:lnTo>
                <a:lnTo>
                  <a:pt x="1580" y="368"/>
                </a:lnTo>
                <a:lnTo>
                  <a:pt x="1583" y="376"/>
                </a:lnTo>
                <a:lnTo>
                  <a:pt x="1586" y="386"/>
                </a:lnTo>
                <a:lnTo>
                  <a:pt x="1587" y="394"/>
                </a:lnTo>
                <a:lnTo>
                  <a:pt x="1588" y="401"/>
                </a:lnTo>
                <a:lnTo>
                  <a:pt x="1587" y="409"/>
                </a:lnTo>
                <a:lnTo>
                  <a:pt x="1584" y="420"/>
                </a:lnTo>
                <a:lnTo>
                  <a:pt x="1582" y="427"/>
                </a:lnTo>
                <a:lnTo>
                  <a:pt x="1581" y="429"/>
                </a:lnTo>
                <a:lnTo>
                  <a:pt x="337" y="2076"/>
                </a:lnTo>
                <a:lnTo>
                  <a:pt x="337" y="1902"/>
                </a:lnTo>
                <a:lnTo>
                  <a:pt x="239" y="1865"/>
                </a:lnTo>
                <a:lnTo>
                  <a:pt x="1398" y="308"/>
                </a:lnTo>
                <a:close/>
                <a:moveTo>
                  <a:pt x="475" y="2657"/>
                </a:moveTo>
                <a:lnTo>
                  <a:pt x="475" y="2657"/>
                </a:lnTo>
                <a:lnTo>
                  <a:pt x="473" y="2660"/>
                </a:lnTo>
                <a:lnTo>
                  <a:pt x="469" y="2664"/>
                </a:lnTo>
                <a:lnTo>
                  <a:pt x="456" y="2671"/>
                </a:lnTo>
                <a:lnTo>
                  <a:pt x="439" y="2680"/>
                </a:lnTo>
                <a:lnTo>
                  <a:pt x="417" y="2689"/>
                </a:lnTo>
                <a:lnTo>
                  <a:pt x="364" y="2709"/>
                </a:lnTo>
                <a:lnTo>
                  <a:pt x="304" y="2729"/>
                </a:lnTo>
                <a:lnTo>
                  <a:pt x="244" y="2746"/>
                </a:lnTo>
                <a:lnTo>
                  <a:pt x="216" y="2754"/>
                </a:lnTo>
                <a:lnTo>
                  <a:pt x="191" y="2760"/>
                </a:lnTo>
                <a:lnTo>
                  <a:pt x="169" y="2764"/>
                </a:lnTo>
                <a:lnTo>
                  <a:pt x="152" y="2767"/>
                </a:lnTo>
                <a:lnTo>
                  <a:pt x="140" y="2767"/>
                </a:lnTo>
                <a:lnTo>
                  <a:pt x="135" y="2766"/>
                </a:lnTo>
                <a:lnTo>
                  <a:pt x="134" y="2763"/>
                </a:lnTo>
                <a:lnTo>
                  <a:pt x="134" y="2763"/>
                </a:lnTo>
                <a:lnTo>
                  <a:pt x="130" y="2756"/>
                </a:lnTo>
                <a:lnTo>
                  <a:pt x="129" y="2743"/>
                </a:lnTo>
                <a:lnTo>
                  <a:pt x="127" y="2723"/>
                </a:lnTo>
                <a:lnTo>
                  <a:pt x="127" y="2700"/>
                </a:lnTo>
                <a:lnTo>
                  <a:pt x="125" y="2643"/>
                </a:lnTo>
                <a:lnTo>
                  <a:pt x="127" y="2581"/>
                </a:lnTo>
                <a:lnTo>
                  <a:pt x="129" y="2518"/>
                </a:lnTo>
                <a:lnTo>
                  <a:pt x="133" y="2462"/>
                </a:lnTo>
                <a:lnTo>
                  <a:pt x="135" y="2440"/>
                </a:lnTo>
                <a:lnTo>
                  <a:pt x="137" y="2423"/>
                </a:lnTo>
                <a:lnTo>
                  <a:pt x="140" y="2411"/>
                </a:lnTo>
                <a:lnTo>
                  <a:pt x="141" y="2407"/>
                </a:lnTo>
                <a:lnTo>
                  <a:pt x="142" y="2406"/>
                </a:lnTo>
                <a:lnTo>
                  <a:pt x="142" y="2406"/>
                </a:lnTo>
                <a:lnTo>
                  <a:pt x="151" y="2404"/>
                </a:lnTo>
                <a:lnTo>
                  <a:pt x="159" y="2403"/>
                </a:lnTo>
                <a:lnTo>
                  <a:pt x="170" y="2403"/>
                </a:lnTo>
                <a:lnTo>
                  <a:pt x="181" y="2404"/>
                </a:lnTo>
                <a:lnTo>
                  <a:pt x="193" y="2406"/>
                </a:lnTo>
                <a:lnTo>
                  <a:pt x="206" y="2409"/>
                </a:lnTo>
                <a:lnTo>
                  <a:pt x="234" y="2418"/>
                </a:lnTo>
                <a:lnTo>
                  <a:pt x="263" y="2432"/>
                </a:lnTo>
                <a:lnTo>
                  <a:pt x="295" y="2447"/>
                </a:lnTo>
                <a:lnTo>
                  <a:pt x="325" y="2466"/>
                </a:lnTo>
                <a:lnTo>
                  <a:pt x="355" y="2486"/>
                </a:lnTo>
                <a:lnTo>
                  <a:pt x="384" y="2508"/>
                </a:lnTo>
                <a:lnTo>
                  <a:pt x="411" y="2531"/>
                </a:lnTo>
                <a:lnTo>
                  <a:pt x="435" y="2554"/>
                </a:lnTo>
                <a:lnTo>
                  <a:pt x="445" y="2565"/>
                </a:lnTo>
                <a:lnTo>
                  <a:pt x="454" y="2577"/>
                </a:lnTo>
                <a:lnTo>
                  <a:pt x="462" y="2588"/>
                </a:lnTo>
                <a:lnTo>
                  <a:pt x="469" y="2599"/>
                </a:lnTo>
                <a:lnTo>
                  <a:pt x="474" y="2610"/>
                </a:lnTo>
                <a:lnTo>
                  <a:pt x="477" y="2620"/>
                </a:lnTo>
                <a:lnTo>
                  <a:pt x="480" y="2630"/>
                </a:lnTo>
                <a:lnTo>
                  <a:pt x="480" y="2640"/>
                </a:lnTo>
                <a:lnTo>
                  <a:pt x="479" y="2649"/>
                </a:lnTo>
                <a:lnTo>
                  <a:pt x="475" y="2657"/>
                </a:lnTo>
                <a:lnTo>
                  <a:pt x="475" y="2657"/>
                </a:lnTo>
                <a:close/>
                <a:moveTo>
                  <a:pt x="490" y="2117"/>
                </a:moveTo>
                <a:lnTo>
                  <a:pt x="1692" y="455"/>
                </a:lnTo>
                <a:lnTo>
                  <a:pt x="1692" y="455"/>
                </a:lnTo>
                <a:lnTo>
                  <a:pt x="1694" y="453"/>
                </a:lnTo>
                <a:lnTo>
                  <a:pt x="1699" y="450"/>
                </a:lnTo>
                <a:lnTo>
                  <a:pt x="1708" y="446"/>
                </a:lnTo>
                <a:lnTo>
                  <a:pt x="1713" y="444"/>
                </a:lnTo>
                <a:lnTo>
                  <a:pt x="1720" y="443"/>
                </a:lnTo>
                <a:lnTo>
                  <a:pt x="1728" y="443"/>
                </a:lnTo>
                <a:lnTo>
                  <a:pt x="1737" y="444"/>
                </a:lnTo>
                <a:lnTo>
                  <a:pt x="1748" y="445"/>
                </a:lnTo>
                <a:lnTo>
                  <a:pt x="1760" y="449"/>
                </a:lnTo>
                <a:lnTo>
                  <a:pt x="1773" y="452"/>
                </a:lnTo>
                <a:lnTo>
                  <a:pt x="1788" y="460"/>
                </a:lnTo>
                <a:lnTo>
                  <a:pt x="1803" y="468"/>
                </a:lnTo>
                <a:lnTo>
                  <a:pt x="1821" y="478"/>
                </a:lnTo>
                <a:lnTo>
                  <a:pt x="1821" y="478"/>
                </a:lnTo>
                <a:lnTo>
                  <a:pt x="1836" y="489"/>
                </a:lnTo>
                <a:lnTo>
                  <a:pt x="1849" y="499"/>
                </a:lnTo>
                <a:lnTo>
                  <a:pt x="1859" y="509"/>
                </a:lnTo>
                <a:lnTo>
                  <a:pt x="1867" y="520"/>
                </a:lnTo>
                <a:lnTo>
                  <a:pt x="1875" y="530"/>
                </a:lnTo>
                <a:lnTo>
                  <a:pt x="1880" y="539"/>
                </a:lnTo>
                <a:lnTo>
                  <a:pt x="1883" y="549"/>
                </a:lnTo>
                <a:lnTo>
                  <a:pt x="1887" y="558"/>
                </a:lnTo>
                <a:lnTo>
                  <a:pt x="1888" y="565"/>
                </a:lnTo>
                <a:lnTo>
                  <a:pt x="1888" y="572"/>
                </a:lnTo>
                <a:lnTo>
                  <a:pt x="1888" y="584"/>
                </a:lnTo>
                <a:lnTo>
                  <a:pt x="1887" y="591"/>
                </a:lnTo>
                <a:lnTo>
                  <a:pt x="1886" y="594"/>
                </a:lnTo>
                <a:lnTo>
                  <a:pt x="624" y="2291"/>
                </a:lnTo>
                <a:lnTo>
                  <a:pt x="624" y="2094"/>
                </a:lnTo>
                <a:lnTo>
                  <a:pt x="490" y="2117"/>
                </a:lnTo>
                <a:close/>
                <a:moveTo>
                  <a:pt x="2117" y="835"/>
                </a:moveTo>
                <a:lnTo>
                  <a:pt x="937" y="2462"/>
                </a:lnTo>
                <a:lnTo>
                  <a:pt x="902" y="2386"/>
                </a:lnTo>
                <a:lnTo>
                  <a:pt x="750" y="2359"/>
                </a:lnTo>
                <a:lnTo>
                  <a:pt x="1973" y="677"/>
                </a:lnTo>
                <a:lnTo>
                  <a:pt x="1973" y="677"/>
                </a:lnTo>
                <a:lnTo>
                  <a:pt x="1975" y="676"/>
                </a:lnTo>
                <a:lnTo>
                  <a:pt x="1979" y="672"/>
                </a:lnTo>
                <a:lnTo>
                  <a:pt x="1987" y="669"/>
                </a:lnTo>
                <a:lnTo>
                  <a:pt x="1992" y="669"/>
                </a:lnTo>
                <a:lnTo>
                  <a:pt x="1998" y="668"/>
                </a:lnTo>
                <a:lnTo>
                  <a:pt x="2005" y="669"/>
                </a:lnTo>
                <a:lnTo>
                  <a:pt x="2014" y="670"/>
                </a:lnTo>
                <a:lnTo>
                  <a:pt x="2022" y="674"/>
                </a:lnTo>
                <a:lnTo>
                  <a:pt x="2032" y="679"/>
                </a:lnTo>
                <a:lnTo>
                  <a:pt x="2043" y="685"/>
                </a:lnTo>
                <a:lnTo>
                  <a:pt x="2055" y="693"/>
                </a:lnTo>
                <a:lnTo>
                  <a:pt x="2067" y="704"/>
                </a:lnTo>
                <a:lnTo>
                  <a:pt x="2080" y="718"/>
                </a:lnTo>
                <a:lnTo>
                  <a:pt x="2080" y="718"/>
                </a:lnTo>
                <a:lnTo>
                  <a:pt x="2091" y="731"/>
                </a:lnTo>
                <a:lnTo>
                  <a:pt x="2101" y="741"/>
                </a:lnTo>
                <a:lnTo>
                  <a:pt x="2108" y="754"/>
                </a:lnTo>
                <a:lnTo>
                  <a:pt x="2113" y="764"/>
                </a:lnTo>
                <a:lnTo>
                  <a:pt x="2118" y="774"/>
                </a:lnTo>
                <a:lnTo>
                  <a:pt x="2120" y="784"/>
                </a:lnTo>
                <a:lnTo>
                  <a:pt x="2121" y="793"/>
                </a:lnTo>
                <a:lnTo>
                  <a:pt x="2123" y="801"/>
                </a:lnTo>
                <a:lnTo>
                  <a:pt x="2121" y="815"/>
                </a:lnTo>
                <a:lnTo>
                  <a:pt x="2120" y="826"/>
                </a:lnTo>
                <a:lnTo>
                  <a:pt x="2118" y="832"/>
                </a:lnTo>
                <a:lnTo>
                  <a:pt x="2117" y="835"/>
                </a:lnTo>
                <a:lnTo>
                  <a:pt x="2117" y="835"/>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p>
        </p:txBody>
      </p:sp>
      <p:sp>
        <p:nvSpPr>
          <p:cNvPr id="3" name="Up-Down Arrow 2"/>
          <p:cNvSpPr/>
          <p:nvPr/>
        </p:nvSpPr>
        <p:spPr>
          <a:xfrm rot="16200000">
            <a:off x="2551245" y="3029819"/>
            <a:ext cx="137430" cy="842465"/>
          </a:xfrm>
          <a:prstGeom prst="upDownArrow">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9" name="Oval 8"/>
          <p:cNvSpPr/>
          <p:nvPr/>
        </p:nvSpPr>
        <p:spPr>
          <a:xfrm>
            <a:off x="2525982" y="3347676"/>
            <a:ext cx="187954" cy="206749"/>
          </a:xfrm>
          <a:prstGeom prst="ellipse">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graphicFrame>
        <p:nvGraphicFramePr>
          <p:cNvPr id="14" name="Content Placeholder 9"/>
          <p:cNvGraphicFramePr>
            <a:graphicFrameLocks/>
          </p:cNvGraphicFramePr>
          <p:nvPr/>
        </p:nvGraphicFramePr>
        <p:xfrm>
          <a:off x="228600" y="1600200"/>
          <a:ext cx="4419600" cy="44196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ontent Placeholder 5"/>
          <p:cNvGraphicFramePr>
            <a:graphicFrameLocks/>
          </p:cNvGraphicFramePr>
          <p:nvPr/>
        </p:nvGraphicFramePr>
        <p:xfrm>
          <a:off x="4648200" y="1600200"/>
          <a:ext cx="4343400" cy="4724400"/>
        </p:xfrm>
        <a:graphic>
          <a:graphicData uri="http://schemas.openxmlformats.org/drawingml/2006/chart">
            <c:chart xmlns:c="http://schemas.openxmlformats.org/drawingml/2006/chart" xmlns:r="http://schemas.openxmlformats.org/officeDocument/2006/relationships" r:id="rId6"/>
          </a:graphicData>
        </a:graphic>
      </p:graphicFrame>
      <p:sp>
        <p:nvSpPr>
          <p:cNvPr id="17" name="Rectangle 16"/>
          <p:cNvSpPr/>
          <p:nvPr/>
        </p:nvSpPr>
        <p:spPr>
          <a:xfrm>
            <a:off x="1050878" y="777922"/>
            <a:ext cx="6715822" cy="584775"/>
          </a:xfrm>
          <a:prstGeom prst="rect">
            <a:avLst/>
          </a:prstGeom>
        </p:spPr>
        <p:txBody>
          <a:bodyPr wrap="square">
            <a:spAutoFit/>
          </a:bodyPr>
          <a:lstStyle/>
          <a:p>
            <a:pPr algn="ctr"/>
            <a:r>
              <a:rPr lang="en-US" sz="3200" b="1" i="1" dirty="0" smtClean="0">
                <a:solidFill>
                  <a:srgbClr val="0D65AC"/>
                </a:solidFill>
              </a:rPr>
              <a:t>Democratizing Social Profile</a:t>
            </a:r>
            <a:endParaRPr lang="en-US" sz="3200" b="1" i="1" dirty="0">
              <a:solidFill>
                <a:srgbClr val="0D65AC"/>
              </a:solidFill>
            </a:endParaRPr>
          </a:p>
        </p:txBody>
      </p:sp>
      <p:sp>
        <p:nvSpPr>
          <p:cNvPr id="18" name="Rectangle 17"/>
          <p:cNvSpPr/>
          <p:nvPr/>
        </p:nvSpPr>
        <p:spPr>
          <a:xfrm>
            <a:off x="427936" y="6451558"/>
            <a:ext cx="4572000" cy="253916"/>
          </a:xfrm>
          <a:prstGeom prst="rect">
            <a:avLst/>
          </a:prstGeom>
        </p:spPr>
        <p:txBody>
          <a:bodyPr wrap="square">
            <a:spAutoFit/>
          </a:bodyPr>
          <a:lstStyle/>
          <a:p>
            <a:r>
              <a:rPr lang="en-US" sz="1050" b="1" i="1" dirty="0" smtClean="0"/>
              <a:t>What deters the unveiling of Legislative Process?</a:t>
            </a:r>
            <a:endParaRPr lang="en-US" sz="1050" dirty="0"/>
          </a:p>
        </p:txBody>
      </p:sp>
      <p:sp>
        <p:nvSpPr>
          <p:cNvPr id="12" name="TextBox 1"/>
          <p:cNvSpPr txBox="1"/>
          <p:nvPr/>
        </p:nvSpPr>
        <p:spPr>
          <a:xfrm>
            <a:off x="5262380" y="6334387"/>
            <a:ext cx="3599434" cy="23434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1200" b="1" i="1" dirty="0" smtClean="0"/>
              <a:t>Source: Lok Sabha Secretariat</a:t>
            </a:r>
            <a:endParaRPr lang="en-US" sz="1200" b="1" i="1" dirty="0"/>
          </a:p>
        </p:txBody>
      </p:sp>
    </p:spTree>
    <p:extLst>
      <p:ext uri="{BB962C8B-B14F-4D97-AF65-F5344CB8AC3E}">
        <p14:creationId xmlns:p14="http://schemas.microsoft.com/office/powerpoint/2010/main" xmlns="" val="3796730251"/>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withEffect">
                                  <p:stCondLst>
                                    <p:cond delay="0"/>
                                  </p:stCondLst>
                                  <p:childTnLst>
                                    <p:animRot by="10800000">
                                      <p:cBhvr>
                                        <p:cTn id="6" dur="750" fill="hold"/>
                                        <p:tgtEl>
                                          <p:spTgt spid="3"/>
                                        </p:tgtEl>
                                        <p:attrNameLst>
                                          <p:attrName>r</p:attrName>
                                        </p:attrNameLst>
                                      </p:cBhvr>
                                    </p:animRot>
                                  </p:childTnLst>
                                </p:cTn>
                              </p:par>
                            </p:childTnLst>
                          </p:cTn>
                        </p:par>
                        <p:par>
                          <p:cTn id="7" fill="hold">
                            <p:stCondLst>
                              <p:cond delay="750"/>
                            </p:stCondLst>
                            <p:childTnLst>
                              <p:par>
                                <p:cTn id="8" presetID="32" presetClass="emph" presetSubtype="0" fill="hold" grpId="0" nodeType="afterEffect">
                                  <p:stCondLst>
                                    <p:cond delay="0"/>
                                  </p:stCondLst>
                                  <p:childTnLst>
                                    <p:animRot by="120000">
                                      <p:cBhvr>
                                        <p:cTn id="9" dur="75" fill="hold">
                                          <p:stCondLst>
                                            <p:cond delay="0"/>
                                          </p:stCondLst>
                                        </p:cTn>
                                        <p:tgtEl>
                                          <p:spTgt spid="39"/>
                                        </p:tgtEl>
                                        <p:attrNameLst>
                                          <p:attrName>r</p:attrName>
                                        </p:attrNameLst>
                                      </p:cBhvr>
                                    </p:animRot>
                                    <p:animRot by="-240000">
                                      <p:cBhvr>
                                        <p:cTn id="10" dur="150" fill="hold">
                                          <p:stCondLst>
                                            <p:cond delay="150"/>
                                          </p:stCondLst>
                                        </p:cTn>
                                        <p:tgtEl>
                                          <p:spTgt spid="39"/>
                                        </p:tgtEl>
                                        <p:attrNameLst>
                                          <p:attrName>r</p:attrName>
                                        </p:attrNameLst>
                                      </p:cBhvr>
                                    </p:animRot>
                                    <p:animRot by="240000">
                                      <p:cBhvr>
                                        <p:cTn id="11" dur="150" fill="hold">
                                          <p:stCondLst>
                                            <p:cond delay="300"/>
                                          </p:stCondLst>
                                        </p:cTn>
                                        <p:tgtEl>
                                          <p:spTgt spid="39"/>
                                        </p:tgtEl>
                                        <p:attrNameLst>
                                          <p:attrName>r</p:attrName>
                                        </p:attrNameLst>
                                      </p:cBhvr>
                                    </p:animRot>
                                    <p:animRot by="-240000">
                                      <p:cBhvr>
                                        <p:cTn id="12" dur="150" fill="hold">
                                          <p:stCondLst>
                                            <p:cond delay="450"/>
                                          </p:stCondLst>
                                        </p:cTn>
                                        <p:tgtEl>
                                          <p:spTgt spid="39"/>
                                        </p:tgtEl>
                                        <p:attrNameLst>
                                          <p:attrName>r</p:attrName>
                                        </p:attrNameLst>
                                      </p:cBhvr>
                                    </p:animRot>
                                    <p:animRot by="120000">
                                      <p:cBhvr>
                                        <p:cTn id="13" dur="150" fill="hold">
                                          <p:stCondLst>
                                            <p:cond delay="600"/>
                                          </p:stCondLst>
                                        </p:cTn>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xmlns="" val="2185454263"/>
              </p:ext>
            </p:extLst>
          </p:nvPr>
        </p:nvGraphicFramePr>
        <p:xfrm>
          <a:off x="1588" y="1588"/>
          <a:ext cx="1587" cy="1587"/>
        </p:xfrm>
        <a:graphic>
          <a:graphicData uri="http://schemas.openxmlformats.org/presentationml/2006/ole">
            <p:oleObj spid="_x0000_s8212" name="think-cell Slide" r:id="rId4" imgW="360" imgH="360" progId="">
              <p:embed/>
            </p:oleObj>
          </a:graphicData>
        </a:graphic>
      </p:graphicFrame>
      <p:sp>
        <p:nvSpPr>
          <p:cNvPr id="22" name="Oval 21"/>
          <p:cNvSpPr/>
          <p:nvPr/>
        </p:nvSpPr>
        <p:spPr>
          <a:xfrm>
            <a:off x="2710630" y="3589356"/>
            <a:ext cx="4712645" cy="941409"/>
          </a:xfrm>
          <a:prstGeom prst="ellipse">
            <a:avLst/>
          </a:prstGeom>
          <a:gradFill flip="none" rotWithShape="1">
            <a:gsLst>
              <a:gs pos="100000">
                <a:srgbClr val="94B9F4">
                  <a:alpha val="0"/>
                </a:srgbClr>
              </a:gs>
              <a:gs pos="0">
                <a:schemeClr val="tx1"/>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fld id="{EA72F2ED-C0F1-A14B-BA46-C5847C658EB2}" type="slidenum">
              <a:rPr lang="en-US" smtClean="0"/>
              <a:pPr/>
              <a:t>11</a:t>
            </a:fld>
            <a:endParaRPr lang="en-US" dirty="0"/>
          </a:p>
        </p:txBody>
      </p:sp>
      <p:sp>
        <p:nvSpPr>
          <p:cNvPr id="5" name="Footer Placeholder 4"/>
          <p:cNvSpPr>
            <a:spLocks noGrp="1"/>
          </p:cNvSpPr>
          <p:nvPr>
            <p:ph type="ftr" sz="quarter" idx="11"/>
          </p:nvPr>
        </p:nvSpPr>
        <p:spPr>
          <a:xfrm>
            <a:off x="518614" y="6373735"/>
            <a:ext cx="3766783" cy="273051"/>
          </a:xfrm>
        </p:spPr>
        <p:txBody>
          <a:bodyPr/>
          <a:lstStyle/>
          <a:p>
            <a:pPr algn="l">
              <a:defRPr/>
            </a:pPr>
            <a:r>
              <a:rPr lang="en-US" b="1" i="1" dirty="0" smtClean="0"/>
              <a:t>What deters the unveiling of Legislative Process?</a:t>
            </a:r>
            <a:endParaRPr lang="en-US" b="1" i="1" dirty="0"/>
          </a:p>
        </p:txBody>
      </p:sp>
      <p:sp>
        <p:nvSpPr>
          <p:cNvPr id="7" name="TextBox 6"/>
          <p:cNvSpPr txBox="1"/>
          <p:nvPr/>
        </p:nvSpPr>
        <p:spPr>
          <a:xfrm>
            <a:off x="1527082" y="345783"/>
            <a:ext cx="6910465" cy="437043"/>
          </a:xfrm>
          <a:prstGeom prst="rect">
            <a:avLst/>
          </a:prstGeom>
          <a:noFill/>
        </p:spPr>
        <p:txBody>
          <a:bodyPr wrap="square" rtlCol="0">
            <a:spAutoFit/>
          </a:bodyPr>
          <a:lstStyle/>
          <a:p>
            <a:pPr algn="ctr">
              <a:lnSpc>
                <a:spcPct val="80000"/>
              </a:lnSpc>
            </a:pPr>
            <a:r>
              <a:rPr lang="en-US" sz="2800" b="1" dirty="0" smtClean="0">
                <a:solidFill>
                  <a:srgbClr val="0070C0"/>
                </a:solidFill>
              </a:rPr>
              <a:t>Caste Composition of the 15</a:t>
            </a:r>
            <a:r>
              <a:rPr lang="en-US" sz="2800" b="1" baseline="30000" dirty="0" smtClean="0">
                <a:solidFill>
                  <a:srgbClr val="0070C0"/>
                </a:solidFill>
              </a:rPr>
              <a:t>th</a:t>
            </a:r>
            <a:r>
              <a:rPr lang="en-US" sz="2800" b="1" dirty="0" smtClean="0">
                <a:solidFill>
                  <a:srgbClr val="0070C0"/>
                </a:solidFill>
              </a:rPr>
              <a:t> Lok Sabha </a:t>
            </a:r>
          </a:p>
        </p:txBody>
      </p:sp>
      <p:graphicFrame>
        <p:nvGraphicFramePr>
          <p:cNvPr id="8" name="Chart 7"/>
          <p:cNvGraphicFramePr/>
          <p:nvPr>
            <p:extLst>
              <p:ext uri="{D42A27DB-BD31-4B8C-83A1-F6EECF244321}">
                <p14:modId xmlns:p14="http://schemas.microsoft.com/office/powerpoint/2010/main" xmlns="" val="1405858042"/>
              </p:ext>
            </p:extLst>
          </p:nvPr>
        </p:nvGraphicFramePr>
        <p:xfrm>
          <a:off x="1643921" y="1129527"/>
          <a:ext cx="6096000" cy="3779563"/>
        </p:xfrm>
        <a:graphic>
          <a:graphicData uri="http://schemas.openxmlformats.org/drawingml/2006/chart">
            <c:chart xmlns:c="http://schemas.openxmlformats.org/drawingml/2006/chart" xmlns:r="http://schemas.openxmlformats.org/officeDocument/2006/relationships" r:id="rId5"/>
          </a:graphicData>
        </a:graphic>
      </p:graphicFrame>
      <p:sp>
        <p:nvSpPr>
          <p:cNvPr id="13" name="Moon 12"/>
          <p:cNvSpPr/>
          <p:nvPr/>
        </p:nvSpPr>
        <p:spPr>
          <a:xfrm rot="15875716">
            <a:off x="4677682" y="1717001"/>
            <a:ext cx="705236" cy="3650567"/>
          </a:xfrm>
          <a:prstGeom prst="moon">
            <a:avLst>
              <a:gd name="adj" fmla="val 4953"/>
            </a:avLst>
          </a:prstGeom>
          <a:gradFill flip="none" rotWithShape="1">
            <a:gsLst>
              <a:gs pos="0">
                <a:schemeClr val="bg1">
                  <a:alpha val="40000"/>
                </a:schemeClr>
              </a:gs>
              <a:gs pos="90000">
                <a:schemeClr val="accent1">
                  <a:tint val="50000"/>
                  <a:shade val="100000"/>
                  <a:satMod val="350000"/>
                  <a:alpha val="0"/>
                </a:schemeClr>
              </a:gs>
            </a:gsLst>
            <a:path path="shape">
              <a:fillToRect l="50000" t="50000" r="50000" b="50000"/>
            </a:path>
            <a:tileRect/>
          </a:gradFill>
          <a:ln>
            <a:noFill/>
          </a:ln>
          <a:effectLst>
            <a:outerShdw blurRad="152400" sx="104000" sy="104000" algn="ctr"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0" name="Group 29"/>
          <p:cNvGrpSpPr/>
          <p:nvPr/>
        </p:nvGrpSpPr>
        <p:grpSpPr>
          <a:xfrm flipH="1">
            <a:off x="6474017" y="1913276"/>
            <a:ext cx="1963530" cy="294865"/>
            <a:chOff x="850900" y="2453561"/>
            <a:chExt cx="2324100" cy="238839"/>
          </a:xfrm>
          <a:effectLst/>
        </p:grpSpPr>
        <p:cxnSp>
          <p:nvCxnSpPr>
            <p:cNvPr id="25" name="Straight Connector 24"/>
            <p:cNvCxnSpPr/>
            <p:nvPr/>
          </p:nvCxnSpPr>
          <p:spPr>
            <a:xfrm>
              <a:off x="850900" y="2453561"/>
              <a:ext cx="2112440" cy="0"/>
            </a:xfrm>
            <a:prstGeom prst="line">
              <a:avLst/>
            </a:prstGeom>
            <a:ln w="63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2963340" y="2453561"/>
              <a:ext cx="211660" cy="238839"/>
            </a:xfrm>
            <a:prstGeom prst="line">
              <a:avLst/>
            </a:prstGeom>
            <a:ln w="63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31" name="TextBox 30"/>
          <p:cNvSpPr txBox="1"/>
          <p:nvPr/>
        </p:nvSpPr>
        <p:spPr>
          <a:xfrm>
            <a:off x="6764951" y="1646091"/>
            <a:ext cx="1672596" cy="553998"/>
          </a:xfrm>
          <a:prstGeom prst="rect">
            <a:avLst/>
          </a:prstGeom>
          <a:noFill/>
        </p:spPr>
        <p:txBody>
          <a:bodyPr wrap="square" lIns="0" tIns="0" rIns="0" bIns="0" rtlCol="0" anchor="b">
            <a:spAutoFit/>
          </a:bodyPr>
          <a:lstStyle/>
          <a:p>
            <a:pPr algn="r"/>
            <a:r>
              <a:rPr lang="en-US" b="1" dirty="0" smtClean="0"/>
              <a:t>Scheduled Castes &amp; Tribes</a:t>
            </a:r>
            <a:endParaRPr lang="en-US" b="1" dirty="0"/>
          </a:p>
        </p:txBody>
      </p:sp>
      <p:grpSp>
        <p:nvGrpSpPr>
          <p:cNvPr id="32" name="Group 31"/>
          <p:cNvGrpSpPr/>
          <p:nvPr/>
        </p:nvGrpSpPr>
        <p:grpSpPr>
          <a:xfrm flipV="1">
            <a:off x="747100" y="1913276"/>
            <a:ext cx="1963530" cy="294865"/>
            <a:chOff x="850900" y="2453561"/>
            <a:chExt cx="2324100" cy="238839"/>
          </a:xfrm>
          <a:effectLst/>
        </p:grpSpPr>
        <p:cxnSp>
          <p:nvCxnSpPr>
            <p:cNvPr id="33" name="Straight Connector 32"/>
            <p:cNvCxnSpPr/>
            <p:nvPr/>
          </p:nvCxnSpPr>
          <p:spPr>
            <a:xfrm>
              <a:off x="850900" y="2453561"/>
              <a:ext cx="2112440" cy="0"/>
            </a:xfrm>
            <a:prstGeom prst="line">
              <a:avLst/>
            </a:prstGeom>
            <a:ln w="63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2963340" y="2453561"/>
              <a:ext cx="211660" cy="238839"/>
            </a:xfrm>
            <a:prstGeom prst="line">
              <a:avLst/>
            </a:prstGeom>
            <a:ln w="63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35" name="TextBox 34"/>
          <p:cNvSpPr txBox="1"/>
          <p:nvPr/>
        </p:nvSpPr>
        <p:spPr>
          <a:xfrm>
            <a:off x="375411" y="1784590"/>
            <a:ext cx="2076102" cy="276999"/>
          </a:xfrm>
          <a:prstGeom prst="rect">
            <a:avLst/>
          </a:prstGeom>
          <a:noFill/>
        </p:spPr>
        <p:txBody>
          <a:bodyPr wrap="square" lIns="0" tIns="0" rIns="0" bIns="0" rtlCol="0" anchor="b">
            <a:spAutoFit/>
          </a:bodyPr>
          <a:lstStyle/>
          <a:p>
            <a:r>
              <a:rPr lang="en-US" b="1" i="1" dirty="0" smtClean="0"/>
              <a:t>Muslims</a:t>
            </a:r>
            <a:endParaRPr lang="en-US" b="1" i="1" dirty="0"/>
          </a:p>
        </p:txBody>
      </p:sp>
      <p:sp>
        <p:nvSpPr>
          <p:cNvPr id="36" name="Rectangle 35"/>
          <p:cNvSpPr/>
          <p:nvPr/>
        </p:nvSpPr>
        <p:spPr>
          <a:xfrm>
            <a:off x="343594" y="5115175"/>
            <a:ext cx="2488505" cy="12585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just">
              <a:spcAft>
                <a:spcPts val="600"/>
              </a:spcAft>
            </a:pPr>
            <a:r>
              <a:rPr lang="en-US" sz="1400" b="1" i="1" dirty="0" smtClean="0">
                <a:solidFill>
                  <a:schemeClr val="tx1"/>
                </a:solidFill>
                <a:latin typeface="Calibri" charset="0"/>
                <a:ea typeface="ＭＳ Ｐゴシック" charset="0"/>
                <a:cs typeface="ＭＳ Ｐゴシック" charset="0"/>
              </a:rPr>
              <a:t>SC &amp; ST: The constitution of India reserves 22% seats for SC &amp; Tribes, who are socio economically under privileged sections of the Society</a:t>
            </a:r>
            <a:endParaRPr lang="en-US" sz="1400" b="1" i="1" dirty="0">
              <a:solidFill>
                <a:schemeClr val="tx1"/>
              </a:solidFill>
              <a:latin typeface="Calibri" charset="0"/>
              <a:ea typeface="ＭＳ Ｐゴシック" charset="0"/>
              <a:cs typeface="ＭＳ Ｐゴシック" charset="0"/>
            </a:endParaRPr>
          </a:p>
        </p:txBody>
      </p:sp>
      <p:sp>
        <p:nvSpPr>
          <p:cNvPr id="38" name="Rectangle 37"/>
          <p:cNvSpPr/>
          <p:nvPr/>
        </p:nvSpPr>
        <p:spPr>
          <a:xfrm>
            <a:off x="3343945" y="4994185"/>
            <a:ext cx="2488505" cy="13795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just">
              <a:spcAft>
                <a:spcPts val="600"/>
              </a:spcAft>
            </a:pPr>
            <a:r>
              <a:rPr lang="en-US" sz="1400" b="1" i="1" dirty="0" smtClean="0">
                <a:solidFill>
                  <a:schemeClr val="tx1"/>
                </a:solidFill>
                <a:latin typeface="Calibri" charset="0"/>
                <a:ea typeface="ＭＳ Ｐゴシック" charset="0"/>
                <a:cs typeface="ＭＳ Ｐゴシック" charset="0"/>
              </a:rPr>
              <a:t>Other Backward Castes  are the socially backward castes.. In the 1990’s there has been significant consolidation of OBC’s and their representation has improved significantly</a:t>
            </a:r>
            <a:endParaRPr lang="en-US" sz="1400" dirty="0">
              <a:solidFill>
                <a:schemeClr val="tx1"/>
              </a:solidFill>
              <a:latin typeface="Calibri" charset="0"/>
              <a:ea typeface="ＭＳ Ｐゴシック" charset="0"/>
              <a:cs typeface="ＭＳ Ｐゴシック" charset="0"/>
            </a:endParaRPr>
          </a:p>
        </p:txBody>
      </p:sp>
      <p:sp>
        <p:nvSpPr>
          <p:cNvPr id="39" name="Rectangle 38"/>
          <p:cNvSpPr/>
          <p:nvPr/>
        </p:nvSpPr>
        <p:spPr>
          <a:xfrm>
            <a:off x="6344296" y="5115174"/>
            <a:ext cx="2488505" cy="9258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just">
              <a:spcAft>
                <a:spcPts val="600"/>
              </a:spcAft>
            </a:pPr>
            <a:r>
              <a:rPr lang="en-US" sz="1400" b="1" i="1" dirty="0" smtClean="0">
                <a:solidFill>
                  <a:schemeClr val="tx1"/>
                </a:solidFill>
                <a:latin typeface="Calibri" charset="0"/>
                <a:ea typeface="ＭＳ Ｐゴシック" charset="0"/>
                <a:cs typeface="ＭＳ Ｐゴシック" charset="0"/>
              </a:rPr>
              <a:t>Muslims and Women Continue to  be under represented in the Parliament </a:t>
            </a:r>
            <a:endParaRPr lang="en-US" sz="1400" b="1" i="1" dirty="0">
              <a:solidFill>
                <a:schemeClr val="tx1"/>
              </a:solidFill>
              <a:latin typeface="Calibri" charset="0"/>
              <a:ea typeface="ＭＳ Ｐゴシック" charset="0"/>
              <a:cs typeface="ＭＳ Ｐゴシック" charset="0"/>
            </a:endParaRPr>
          </a:p>
        </p:txBody>
      </p:sp>
      <p:cxnSp>
        <p:nvCxnSpPr>
          <p:cNvPr id="41" name="Straight Connector 40"/>
          <p:cNvCxnSpPr/>
          <p:nvPr/>
        </p:nvCxnSpPr>
        <p:spPr>
          <a:xfrm>
            <a:off x="3088022" y="4994185"/>
            <a:ext cx="0" cy="779463"/>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a:off x="6088373" y="4994185"/>
            <a:ext cx="0" cy="779463"/>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7423275" y="6373735"/>
            <a:ext cx="1409526" cy="369332"/>
          </a:xfrm>
          <a:prstGeom prst="rect">
            <a:avLst/>
          </a:prstGeom>
          <a:solidFill>
            <a:schemeClr val="bg1">
              <a:lumMod val="95000"/>
            </a:schemeClr>
          </a:solidFill>
        </p:spPr>
        <p:txBody>
          <a:bodyPr wrap="square" rtlCol="0">
            <a:spAutoFit/>
          </a:bodyPr>
          <a:lstStyle/>
          <a:p>
            <a:endParaRPr lang="en-US" dirty="0"/>
          </a:p>
        </p:txBody>
      </p:sp>
      <p:cxnSp>
        <p:nvCxnSpPr>
          <p:cNvPr id="26" name="Straight Connector 25"/>
          <p:cNvCxnSpPr/>
          <p:nvPr/>
        </p:nvCxnSpPr>
        <p:spPr>
          <a:xfrm rot="5400000">
            <a:off x="4816443" y="-2389697"/>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988107959"/>
      </p:ext>
    </p:extLst>
  </p:cSld>
  <p:clrMapOvr>
    <a:masterClrMapping/>
  </p:clrMapOvr>
  <p:transition spd="med">
    <p:plus/>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xmlns="" val="1389938963"/>
              </p:ext>
            </p:extLst>
          </p:nvPr>
        </p:nvGraphicFramePr>
        <p:xfrm>
          <a:off x="1588" y="1588"/>
          <a:ext cx="1587" cy="1587"/>
        </p:xfrm>
        <a:graphic>
          <a:graphicData uri="http://schemas.openxmlformats.org/presentationml/2006/ole">
            <p:oleObj spid="_x0000_s50178" name="think-cell Slide" r:id="rId15" imgW="360" imgH="360" progId="">
              <p:embed/>
            </p:oleObj>
          </a:graphicData>
        </a:graphic>
      </p:graphicFrame>
      <p:sp>
        <p:nvSpPr>
          <p:cNvPr id="17" name="Rectangle 16"/>
          <p:cNvSpPr/>
          <p:nvPr/>
        </p:nvSpPr>
        <p:spPr>
          <a:xfrm>
            <a:off x="309564" y="2339462"/>
            <a:ext cx="5955776" cy="590931"/>
          </a:xfrm>
          <a:prstGeom prst="rect">
            <a:avLst/>
          </a:prstGeom>
          <a:solidFill>
            <a:srgbClr val="F2F2F2"/>
          </a:solidFill>
          <a:ln>
            <a:solidFill>
              <a:schemeClr val="bg1"/>
            </a:solidFill>
          </a:ln>
          <a:effectLst>
            <a:innerShdw blurRad="63500">
              <a:prstClr val="black">
                <a:alpha val="33000"/>
              </a:prstClr>
            </a:innerShdw>
          </a:effectLst>
        </p:spPr>
        <p:style>
          <a:lnRef idx="1">
            <a:schemeClr val="accent1"/>
          </a:lnRef>
          <a:fillRef idx="3">
            <a:schemeClr val="accent1"/>
          </a:fillRef>
          <a:effectRef idx="2">
            <a:schemeClr val="accent1"/>
          </a:effectRef>
          <a:fontRef idx="minor">
            <a:schemeClr val="lt1"/>
          </a:fontRef>
        </p:style>
        <p:txBody>
          <a:bodyPr wrap="square" lIns="109728" tIns="109728" rIns="109728" bIns="109728" rtlCol="0" anchor="t">
            <a:spAutoFit/>
          </a:bodyPr>
          <a:lstStyle/>
          <a:p>
            <a:r>
              <a:rPr lang="en-US" sz="2400" i="1" dirty="0" smtClean="0">
                <a:solidFill>
                  <a:srgbClr val="0D65AC"/>
                </a:solidFill>
              </a:rPr>
              <a:t>       </a:t>
            </a:r>
            <a:r>
              <a:rPr lang="en-US" sz="2400" b="1" i="1" dirty="0" smtClean="0">
                <a:solidFill>
                  <a:srgbClr val="0D65AC"/>
                </a:solidFill>
              </a:rPr>
              <a:t>Role of States and State level Leader</a:t>
            </a:r>
            <a:endParaRPr lang="en-US" sz="2400" b="1" dirty="0" smtClean="0">
              <a:solidFill>
                <a:schemeClr val="tx1"/>
              </a:solidFill>
            </a:endParaRPr>
          </a:p>
        </p:txBody>
      </p:sp>
      <p:sp>
        <p:nvSpPr>
          <p:cNvPr id="12" name="TextBox 11"/>
          <p:cNvSpPr txBox="1"/>
          <p:nvPr/>
        </p:nvSpPr>
        <p:spPr>
          <a:xfrm>
            <a:off x="2169763" y="559832"/>
            <a:ext cx="5346915" cy="496161"/>
          </a:xfrm>
          <a:prstGeom prst="rect">
            <a:avLst/>
          </a:prstGeom>
          <a:noFill/>
        </p:spPr>
        <p:txBody>
          <a:bodyPr wrap="square" rtlCol="0">
            <a:spAutoFit/>
          </a:bodyPr>
          <a:lstStyle/>
          <a:p>
            <a:pPr algn="ctr">
              <a:lnSpc>
                <a:spcPct val="80000"/>
              </a:lnSpc>
            </a:pPr>
            <a:r>
              <a:rPr lang="en-US" sz="3200" b="1" dirty="0" smtClean="0">
                <a:solidFill>
                  <a:srgbClr val="0070C0"/>
                </a:solidFill>
                <a:latin typeface="+mn-lt"/>
              </a:rPr>
              <a:t>Locating the Process</a:t>
            </a:r>
          </a:p>
        </p:txBody>
      </p:sp>
      <p:grpSp>
        <p:nvGrpSpPr>
          <p:cNvPr id="2" name="Group 7"/>
          <p:cNvGrpSpPr/>
          <p:nvPr/>
        </p:nvGrpSpPr>
        <p:grpSpPr>
          <a:xfrm>
            <a:off x="334119" y="3874752"/>
            <a:ext cx="518790" cy="518788"/>
            <a:chOff x="349648" y="2204865"/>
            <a:chExt cx="518790" cy="518788"/>
          </a:xfrm>
        </p:grpSpPr>
        <p:sp>
          <p:nvSpPr>
            <p:cNvPr id="56" name="Oval 55"/>
            <p:cNvSpPr/>
            <p:nvPr>
              <p:custDataLst>
                <p:tags r:id="rId11"/>
              </p:custDataLst>
            </p:nvPr>
          </p:nvSpPr>
          <p:spPr>
            <a:xfrm>
              <a:off x="349648" y="2204865"/>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p:cNvSpPr/>
            <p:nvPr>
              <p:custDataLst>
                <p:tags r:id="rId12"/>
              </p:custDataLst>
            </p:nvPr>
          </p:nvSpPr>
          <p:spPr>
            <a:xfrm>
              <a:off x="391262" y="2246478"/>
              <a:ext cx="435563" cy="435563"/>
            </a:xfrm>
            <a:prstGeom prst="ellipse">
              <a:avLst/>
            </a:prstGeom>
            <a:solidFill>
              <a:srgbClr val="0D65AC"/>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1</a:t>
              </a:r>
            </a:p>
          </p:txBody>
        </p:sp>
      </p:grpSp>
      <p:sp>
        <p:nvSpPr>
          <p:cNvPr id="78" name="Rectangle 77"/>
          <p:cNvSpPr/>
          <p:nvPr/>
        </p:nvSpPr>
        <p:spPr>
          <a:xfrm>
            <a:off x="309563" y="3125846"/>
            <a:ext cx="8326793" cy="590931"/>
          </a:xfrm>
          <a:prstGeom prst="rect">
            <a:avLst/>
          </a:prstGeom>
          <a:solidFill>
            <a:srgbClr val="F2F2F2"/>
          </a:solidFill>
          <a:ln>
            <a:solidFill>
              <a:schemeClr val="bg1"/>
            </a:solidFill>
          </a:ln>
          <a:effectLst>
            <a:innerShdw blurRad="63500">
              <a:prstClr val="black">
                <a:alpha val="33000"/>
              </a:prstClr>
            </a:innerShdw>
          </a:effectLst>
        </p:spPr>
        <p:style>
          <a:lnRef idx="1">
            <a:schemeClr val="accent1"/>
          </a:lnRef>
          <a:fillRef idx="3">
            <a:schemeClr val="accent1"/>
          </a:fillRef>
          <a:effectRef idx="2">
            <a:schemeClr val="accent1"/>
          </a:effectRef>
          <a:fontRef idx="minor">
            <a:schemeClr val="lt1"/>
          </a:fontRef>
        </p:style>
        <p:txBody>
          <a:bodyPr wrap="square" lIns="109728" tIns="109728" rIns="109728" bIns="109728" rtlCol="0" anchor="t">
            <a:spAutoFit/>
          </a:bodyPr>
          <a:lstStyle/>
          <a:p>
            <a:pPr marL="508000" lvl="0"/>
            <a:r>
              <a:rPr lang="en-US" sz="2400" b="1" i="1" dirty="0" smtClean="0">
                <a:solidFill>
                  <a:srgbClr val="0D65AC"/>
                </a:solidFill>
              </a:rPr>
              <a:t>Influencing Law making from Outside</a:t>
            </a:r>
            <a:endParaRPr lang="en-US" b="1" dirty="0" smtClean="0">
              <a:solidFill>
                <a:prstClr val="black"/>
              </a:solidFill>
            </a:endParaRPr>
          </a:p>
        </p:txBody>
      </p:sp>
      <p:sp>
        <p:nvSpPr>
          <p:cNvPr id="79" name="Rectangle 78"/>
          <p:cNvSpPr/>
          <p:nvPr/>
        </p:nvSpPr>
        <p:spPr>
          <a:xfrm>
            <a:off x="349649" y="3818772"/>
            <a:ext cx="8326793" cy="590931"/>
          </a:xfrm>
          <a:prstGeom prst="rect">
            <a:avLst/>
          </a:prstGeom>
          <a:solidFill>
            <a:srgbClr val="F2F2F2"/>
          </a:solidFill>
          <a:ln>
            <a:solidFill>
              <a:schemeClr val="bg1"/>
            </a:solidFill>
          </a:ln>
          <a:effectLst>
            <a:innerShdw blurRad="63500">
              <a:prstClr val="black">
                <a:alpha val="33000"/>
              </a:prstClr>
            </a:innerShdw>
          </a:effectLst>
        </p:spPr>
        <p:style>
          <a:lnRef idx="1">
            <a:schemeClr val="accent1"/>
          </a:lnRef>
          <a:fillRef idx="3">
            <a:schemeClr val="accent1"/>
          </a:fillRef>
          <a:effectRef idx="2">
            <a:schemeClr val="accent1"/>
          </a:effectRef>
          <a:fontRef idx="minor">
            <a:schemeClr val="lt1"/>
          </a:fontRef>
        </p:style>
        <p:txBody>
          <a:bodyPr wrap="square" lIns="109728" tIns="109728" rIns="109728" bIns="109728" rtlCol="0" anchor="t">
            <a:spAutoFit/>
          </a:bodyPr>
          <a:lstStyle/>
          <a:p>
            <a:pPr marL="508000"/>
            <a:r>
              <a:rPr lang="en-US" sz="2400" b="1" i="1" dirty="0" smtClean="0">
                <a:solidFill>
                  <a:srgbClr val="0D65AC"/>
                </a:solidFill>
              </a:rPr>
              <a:t>Formalism of  Legislative Process</a:t>
            </a:r>
          </a:p>
        </p:txBody>
      </p:sp>
      <p:sp>
        <p:nvSpPr>
          <p:cNvPr id="80" name="Rectangle 79"/>
          <p:cNvSpPr/>
          <p:nvPr/>
        </p:nvSpPr>
        <p:spPr>
          <a:xfrm>
            <a:off x="308035" y="4472117"/>
            <a:ext cx="5957305" cy="590931"/>
          </a:xfrm>
          <a:prstGeom prst="rect">
            <a:avLst/>
          </a:prstGeom>
          <a:solidFill>
            <a:srgbClr val="F2F2F2"/>
          </a:solidFill>
          <a:ln>
            <a:solidFill>
              <a:schemeClr val="bg1"/>
            </a:solidFill>
          </a:ln>
          <a:effectLst>
            <a:innerShdw blurRad="63500">
              <a:prstClr val="black">
                <a:alpha val="33000"/>
              </a:prstClr>
            </a:innerShdw>
          </a:effectLst>
        </p:spPr>
        <p:style>
          <a:lnRef idx="1">
            <a:schemeClr val="accent1"/>
          </a:lnRef>
          <a:fillRef idx="3">
            <a:schemeClr val="accent1"/>
          </a:fillRef>
          <a:effectRef idx="2">
            <a:schemeClr val="accent1"/>
          </a:effectRef>
          <a:fontRef idx="minor">
            <a:schemeClr val="lt1"/>
          </a:fontRef>
        </p:style>
        <p:txBody>
          <a:bodyPr wrap="square" lIns="109728" tIns="109728" rIns="109728" bIns="109728" rtlCol="0" anchor="t">
            <a:spAutoFit/>
          </a:bodyPr>
          <a:lstStyle/>
          <a:p>
            <a:pPr marL="508000" lvl="0"/>
            <a:r>
              <a:rPr lang="en-US" sz="2400" b="1" i="1" dirty="0" smtClean="0">
                <a:solidFill>
                  <a:srgbClr val="0D65AC"/>
                </a:solidFill>
              </a:rPr>
              <a:t>Redefining Legislative Functions  </a:t>
            </a:r>
            <a:endParaRPr lang="en-US" sz="2400" b="1" dirty="0" smtClean="0">
              <a:solidFill>
                <a:schemeClr val="tx1"/>
              </a:solidFill>
            </a:endParaRPr>
          </a:p>
        </p:txBody>
      </p:sp>
      <p:pic>
        <p:nvPicPr>
          <p:cNvPr id="36" name="Picture 35" descr="regional-parties.jpg"/>
          <p:cNvPicPr>
            <a:picLocks noChangeAspect="1"/>
          </p:cNvPicPr>
          <p:nvPr/>
        </p:nvPicPr>
        <p:blipFill>
          <a:blip r:embed="rId16"/>
          <a:stretch>
            <a:fillRect/>
          </a:stretch>
        </p:blipFill>
        <p:spPr>
          <a:xfrm>
            <a:off x="6265340" y="2339463"/>
            <a:ext cx="2878660" cy="3754640"/>
          </a:xfrm>
          <a:prstGeom prst="rect">
            <a:avLst/>
          </a:prstGeom>
        </p:spPr>
      </p:pic>
      <p:sp>
        <p:nvSpPr>
          <p:cNvPr id="41" name="Rectangle 40"/>
          <p:cNvSpPr/>
          <p:nvPr/>
        </p:nvSpPr>
        <p:spPr>
          <a:xfrm>
            <a:off x="391263" y="6387152"/>
            <a:ext cx="4572000" cy="253916"/>
          </a:xfrm>
          <a:prstGeom prst="rect">
            <a:avLst/>
          </a:prstGeom>
        </p:spPr>
        <p:txBody>
          <a:bodyPr wrap="square">
            <a:spAutoFit/>
          </a:bodyPr>
          <a:lstStyle/>
          <a:p>
            <a:r>
              <a:rPr lang="en-US" sz="1050" b="1" i="1" dirty="0" smtClean="0"/>
              <a:t>What deters the unveiling of Legislative Process?</a:t>
            </a:r>
            <a:endParaRPr lang="en-US" sz="1050" dirty="0"/>
          </a:p>
        </p:txBody>
      </p:sp>
      <p:cxnSp>
        <p:nvCxnSpPr>
          <p:cNvPr id="33" name="Straight Connector 32"/>
          <p:cNvCxnSpPr/>
          <p:nvPr/>
        </p:nvCxnSpPr>
        <p:spPr>
          <a:xfrm rot="10800000" flipV="1">
            <a:off x="2169763" y="1304142"/>
            <a:ext cx="5346913" cy="2"/>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grpSp>
        <p:nvGrpSpPr>
          <p:cNvPr id="3" name="Group 52"/>
          <p:cNvGrpSpPr/>
          <p:nvPr/>
        </p:nvGrpSpPr>
        <p:grpSpPr>
          <a:xfrm>
            <a:off x="309564" y="2367763"/>
            <a:ext cx="518790" cy="518788"/>
            <a:chOff x="349648" y="2204865"/>
            <a:chExt cx="518790" cy="518788"/>
          </a:xfrm>
        </p:grpSpPr>
        <p:sp>
          <p:nvSpPr>
            <p:cNvPr id="54" name="Oval 53"/>
            <p:cNvSpPr/>
            <p:nvPr>
              <p:custDataLst>
                <p:tags r:id="rId9"/>
              </p:custDataLst>
            </p:nvPr>
          </p:nvSpPr>
          <p:spPr>
            <a:xfrm>
              <a:off x="349648" y="2204865"/>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p:cNvSpPr/>
            <p:nvPr>
              <p:custDataLst>
                <p:tags r:id="rId10"/>
              </p:custDataLst>
            </p:nvPr>
          </p:nvSpPr>
          <p:spPr>
            <a:xfrm>
              <a:off x="391262" y="2246478"/>
              <a:ext cx="435563" cy="435563"/>
            </a:xfrm>
            <a:prstGeom prst="ellipse">
              <a:avLst/>
            </a:prstGeom>
            <a:solidFill>
              <a:srgbClr val="0D65AC"/>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solidFill>
                    <a:schemeClr val="bg1"/>
                  </a:solidFill>
                </a:rPr>
                <a:t>1</a:t>
              </a:r>
              <a:endParaRPr lang="en-US" sz="1600" b="1" dirty="0">
                <a:solidFill>
                  <a:schemeClr val="bg1"/>
                </a:solidFill>
              </a:endParaRPr>
            </a:p>
          </p:txBody>
        </p:sp>
      </p:grpSp>
      <p:grpSp>
        <p:nvGrpSpPr>
          <p:cNvPr id="4" name="Group 57"/>
          <p:cNvGrpSpPr/>
          <p:nvPr/>
        </p:nvGrpSpPr>
        <p:grpSpPr>
          <a:xfrm>
            <a:off x="308035" y="3125846"/>
            <a:ext cx="518790" cy="518788"/>
            <a:chOff x="349648" y="2204865"/>
            <a:chExt cx="518790" cy="518788"/>
          </a:xfrm>
        </p:grpSpPr>
        <p:sp>
          <p:nvSpPr>
            <p:cNvPr id="59" name="Oval 58"/>
            <p:cNvSpPr/>
            <p:nvPr>
              <p:custDataLst>
                <p:tags r:id="rId7"/>
              </p:custDataLst>
            </p:nvPr>
          </p:nvSpPr>
          <p:spPr>
            <a:xfrm>
              <a:off x="349648" y="2204865"/>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p:cNvSpPr/>
            <p:nvPr>
              <p:custDataLst>
                <p:tags r:id="rId8"/>
              </p:custDataLst>
            </p:nvPr>
          </p:nvSpPr>
          <p:spPr>
            <a:xfrm>
              <a:off x="391262" y="2246478"/>
              <a:ext cx="435563" cy="435563"/>
            </a:xfrm>
            <a:prstGeom prst="ellipse">
              <a:avLst/>
            </a:prstGeom>
            <a:solidFill>
              <a:srgbClr val="0D65AC"/>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2</a:t>
              </a:r>
            </a:p>
          </p:txBody>
        </p:sp>
      </p:grpSp>
      <p:grpSp>
        <p:nvGrpSpPr>
          <p:cNvPr id="5" name="Group 60"/>
          <p:cNvGrpSpPr/>
          <p:nvPr/>
        </p:nvGrpSpPr>
        <p:grpSpPr>
          <a:xfrm>
            <a:off x="292506" y="3833140"/>
            <a:ext cx="518790" cy="518788"/>
            <a:chOff x="349648" y="2204865"/>
            <a:chExt cx="518790" cy="518788"/>
          </a:xfrm>
        </p:grpSpPr>
        <p:sp>
          <p:nvSpPr>
            <p:cNvPr id="62" name="Oval 61"/>
            <p:cNvSpPr/>
            <p:nvPr>
              <p:custDataLst>
                <p:tags r:id="rId5"/>
              </p:custDataLst>
            </p:nvPr>
          </p:nvSpPr>
          <p:spPr>
            <a:xfrm>
              <a:off x="349648" y="2204865"/>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p:cNvSpPr/>
            <p:nvPr>
              <p:custDataLst>
                <p:tags r:id="rId6"/>
              </p:custDataLst>
            </p:nvPr>
          </p:nvSpPr>
          <p:spPr>
            <a:xfrm>
              <a:off x="391262" y="2246478"/>
              <a:ext cx="435563" cy="435563"/>
            </a:xfrm>
            <a:prstGeom prst="ellipse">
              <a:avLst/>
            </a:prstGeom>
            <a:solidFill>
              <a:srgbClr val="0D65AC"/>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3</a:t>
              </a:r>
            </a:p>
          </p:txBody>
        </p:sp>
      </p:grpSp>
      <p:grpSp>
        <p:nvGrpSpPr>
          <p:cNvPr id="6" name="Group 63"/>
          <p:cNvGrpSpPr/>
          <p:nvPr/>
        </p:nvGrpSpPr>
        <p:grpSpPr>
          <a:xfrm>
            <a:off x="309564" y="4544260"/>
            <a:ext cx="518790" cy="518788"/>
            <a:chOff x="349648" y="2204865"/>
            <a:chExt cx="518790" cy="518788"/>
          </a:xfrm>
        </p:grpSpPr>
        <p:sp>
          <p:nvSpPr>
            <p:cNvPr id="65" name="Oval 64"/>
            <p:cNvSpPr/>
            <p:nvPr>
              <p:custDataLst>
                <p:tags r:id="rId3"/>
              </p:custDataLst>
            </p:nvPr>
          </p:nvSpPr>
          <p:spPr>
            <a:xfrm>
              <a:off x="349648" y="2204865"/>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p:cNvSpPr/>
            <p:nvPr>
              <p:custDataLst>
                <p:tags r:id="rId4"/>
              </p:custDataLst>
            </p:nvPr>
          </p:nvSpPr>
          <p:spPr>
            <a:xfrm>
              <a:off x="391262" y="2246478"/>
              <a:ext cx="435563" cy="435563"/>
            </a:xfrm>
            <a:prstGeom prst="ellipse">
              <a:avLst/>
            </a:prstGeom>
            <a:solidFill>
              <a:srgbClr val="0D65AC"/>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4</a:t>
              </a:r>
            </a:p>
          </p:txBody>
        </p:sp>
      </p:grpSp>
    </p:spTree>
    <p:extLst>
      <p:ext uri="{BB962C8B-B14F-4D97-AF65-F5344CB8AC3E}">
        <p14:creationId xmlns:p14="http://schemas.microsoft.com/office/powerpoint/2010/main" xmlns="" val="3176624080"/>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500" tmFilter="0, 0; .2, .5; .8, .5; 1, 0"/>
                                        <p:tgtEl>
                                          <p:spTgt spid="2"/>
                                        </p:tgtEl>
                                      </p:cBhvr>
                                    </p:animEffect>
                                    <p:animScale>
                                      <p:cBhvr>
                                        <p:cTn id="7" dur="250" autoRev="1" fill="hold"/>
                                        <p:tgtEl>
                                          <p:spTgt spid="2"/>
                                        </p:tgtEl>
                                      </p:cBhvr>
                                      <p:by x="105000" y="105000"/>
                                    </p:animScale>
                                  </p:childTnLst>
                                </p:cTn>
                              </p:par>
                            </p:childTnLst>
                          </p:cTn>
                        </p:par>
                        <p:par>
                          <p:cTn id="8" fill="hold">
                            <p:stCondLst>
                              <p:cond delay="500"/>
                            </p:stCondLst>
                            <p:childTnLst>
                              <p:par>
                                <p:cTn id="9" presetID="26" presetClass="emph" presetSubtype="0" fill="hold" nodeType="afterEffect">
                                  <p:stCondLst>
                                    <p:cond delay="0"/>
                                  </p:stCondLst>
                                  <p:childTnLst>
                                    <p:animEffect transition="out" filter="fade">
                                      <p:cBhvr>
                                        <p:cTn id="10" dur="500" tmFilter="0, 0; .2, .5; .8, .5; 1, 0"/>
                                        <p:tgtEl>
                                          <p:spTgt spid="3"/>
                                        </p:tgtEl>
                                      </p:cBhvr>
                                    </p:animEffect>
                                    <p:animScale>
                                      <p:cBhvr>
                                        <p:cTn id="11" dur="250" autoRev="1" fill="hold"/>
                                        <p:tgtEl>
                                          <p:spTgt spid="3"/>
                                        </p:tgtEl>
                                      </p:cBhvr>
                                      <p:by x="105000" y="105000"/>
                                    </p:animScale>
                                  </p:childTnLst>
                                </p:cTn>
                              </p:par>
                            </p:childTnLst>
                          </p:cTn>
                        </p:par>
                        <p:par>
                          <p:cTn id="12" fill="hold">
                            <p:stCondLst>
                              <p:cond delay="1000"/>
                            </p:stCondLst>
                            <p:childTnLst>
                              <p:par>
                                <p:cTn id="13" presetID="26" presetClass="emph" presetSubtype="0" fill="hold" nodeType="afterEffect">
                                  <p:stCondLst>
                                    <p:cond delay="0"/>
                                  </p:stCondLst>
                                  <p:childTnLst>
                                    <p:animEffect transition="out" filter="fade">
                                      <p:cBhvr>
                                        <p:cTn id="14" dur="500" tmFilter="0, 0; .2, .5; .8, .5; 1, 0"/>
                                        <p:tgtEl>
                                          <p:spTgt spid="4"/>
                                        </p:tgtEl>
                                      </p:cBhvr>
                                    </p:animEffect>
                                    <p:animScale>
                                      <p:cBhvr>
                                        <p:cTn id="15" dur="250" autoRev="1" fill="hold"/>
                                        <p:tgtEl>
                                          <p:spTgt spid="4"/>
                                        </p:tgtEl>
                                      </p:cBhvr>
                                      <p:by x="105000" y="105000"/>
                                    </p:animScale>
                                  </p:childTnLst>
                                </p:cTn>
                              </p:par>
                            </p:childTnLst>
                          </p:cTn>
                        </p:par>
                        <p:par>
                          <p:cTn id="16" fill="hold">
                            <p:stCondLst>
                              <p:cond delay="1500"/>
                            </p:stCondLst>
                            <p:childTnLst>
                              <p:par>
                                <p:cTn id="17" presetID="26" presetClass="emph" presetSubtype="0" fill="hold" nodeType="afterEffect">
                                  <p:stCondLst>
                                    <p:cond delay="0"/>
                                  </p:stCondLst>
                                  <p:childTnLst>
                                    <p:animEffect transition="out" filter="fade">
                                      <p:cBhvr>
                                        <p:cTn id="18" dur="500" tmFilter="0, 0; .2, .5; .8, .5; 1, 0"/>
                                        <p:tgtEl>
                                          <p:spTgt spid="5"/>
                                        </p:tgtEl>
                                      </p:cBhvr>
                                    </p:animEffect>
                                    <p:animScale>
                                      <p:cBhvr>
                                        <p:cTn id="19" dur="250" autoRev="1" fill="hold"/>
                                        <p:tgtEl>
                                          <p:spTgt spid="5"/>
                                        </p:tgtEl>
                                      </p:cBhvr>
                                      <p:by x="105000" y="105000"/>
                                    </p:animScale>
                                  </p:childTnLst>
                                </p:cTn>
                              </p:par>
                            </p:childTnLst>
                          </p:cTn>
                        </p:par>
                        <p:par>
                          <p:cTn id="20" fill="hold">
                            <p:stCondLst>
                              <p:cond delay="2000"/>
                            </p:stCondLst>
                            <p:childTnLst>
                              <p:par>
                                <p:cTn id="21" presetID="26" presetClass="emph" presetSubtype="0" fill="hold" nodeType="afterEffect">
                                  <p:stCondLst>
                                    <p:cond delay="0"/>
                                  </p:stCondLst>
                                  <p:childTnLst>
                                    <p:animEffect transition="out" filter="fade">
                                      <p:cBhvr>
                                        <p:cTn id="22" dur="500" tmFilter="0, 0; .2, .5; .8, .5; 1, 0"/>
                                        <p:tgtEl>
                                          <p:spTgt spid="6"/>
                                        </p:tgtEl>
                                      </p:cBhvr>
                                    </p:animEffect>
                                    <p:animScale>
                                      <p:cBhvr>
                                        <p:cTn id="23" dur="250" autoRev="1" fill="hold"/>
                                        <p:tgtEl>
                                          <p:spTgt spid="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Picture 92" descr="IndianParliament (3).jpg"/>
          <p:cNvPicPr>
            <a:picLocks noChangeAspect="1"/>
          </p:cNvPicPr>
          <p:nvPr/>
        </p:nvPicPr>
        <p:blipFill>
          <a:blip r:embed="rId12"/>
          <a:stretch>
            <a:fillRect/>
          </a:stretch>
        </p:blipFill>
        <p:spPr>
          <a:xfrm>
            <a:off x="3234519" y="2317122"/>
            <a:ext cx="2595284" cy="2159809"/>
          </a:xfrm>
          <a:prstGeom prst="rect">
            <a:avLst/>
          </a:prstGeom>
        </p:spPr>
      </p:pic>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xmlns="" val="2048766456"/>
              </p:ext>
            </p:extLst>
          </p:nvPr>
        </p:nvGraphicFramePr>
        <p:xfrm>
          <a:off x="1588" y="1588"/>
          <a:ext cx="1587" cy="1587"/>
        </p:xfrm>
        <a:graphic>
          <a:graphicData uri="http://schemas.openxmlformats.org/presentationml/2006/ole">
            <p:oleObj spid="_x0000_s9236" name="think-cell Slide" r:id="rId13" imgW="360" imgH="360" progId="">
              <p:embed/>
            </p:oleObj>
          </a:graphicData>
        </a:graphic>
      </p:graphicFrame>
      <p:grpSp>
        <p:nvGrpSpPr>
          <p:cNvPr id="11" name="Group 10"/>
          <p:cNvGrpSpPr/>
          <p:nvPr/>
        </p:nvGrpSpPr>
        <p:grpSpPr>
          <a:xfrm>
            <a:off x="2531217" y="1465942"/>
            <a:ext cx="3901708" cy="3877503"/>
            <a:chOff x="2531217" y="1465942"/>
            <a:chExt cx="3901708" cy="3877503"/>
          </a:xfrm>
        </p:grpSpPr>
        <p:sp>
          <p:nvSpPr>
            <p:cNvPr id="18" name="Circular Arrow 17"/>
            <p:cNvSpPr/>
            <p:nvPr>
              <p:custDataLst>
                <p:tags r:id="rId7"/>
              </p:custDataLst>
            </p:nvPr>
          </p:nvSpPr>
          <p:spPr>
            <a:xfrm rot="3819789">
              <a:off x="2558396" y="1468915"/>
              <a:ext cx="3874528" cy="3874530"/>
            </a:xfrm>
            <a:prstGeom prst="circularArrow">
              <a:avLst>
                <a:gd name="adj1" fmla="val 18242"/>
                <a:gd name="adj2" fmla="val 1142319"/>
                <a:gd name="adj3" fmla="val 20457687"/>
                <a:gd name="adj4" fmla="val 14422437"/>
                <a:gd name="adj5" fmla="val 12500"/>
              </a:avLst>
            </a:prstGeom>
            <a:gradFill flip="none" rotWithShape="1">
              <a:gsLst>
                <a:gs pos="0">
                  <a:srgbClr val="2A9B18"/>
                </a:gs>
                <a:gs pos="83000">
                  <a:schemeClr val="accent1">
                    <a:tint val="23500"/>
                    <a:satMod val="160000"/>
                    <a:alpha val="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Circular Arrow 19"/>
            <p:cNvSpPr/>
            <p:nvPr>
              <p:custDataLst>
                <p:tags r:id="rId8"/>
              </p:custDataLst>
            </p:nvPr>
          </p:nvSpPr>
          <p:spPr>
            <a:xfrm rot="14076805">
              <a:off x="2538751" y="1466763"/>
              <a:ext cx="3874528" cy="3874530"/>
            </a:xfrm>
            <a:prstGeom prst="circularArrow">
              <a:avLst>
                <a:gd name="adj1" fmla="val 18242"/>
                <a:gd name="adj2" fmla="val 1142319"/>
                <a:gd name="adj3" fmla="val 20457687"/>
                <a:gd name="adj4" fmla="val 14422437"/>
                <a:gd name="adj5" fmla="val 12500"/>
              </a:avLst>
            </a:prstGeom>
            <a:gradFill flip="none" rotWithShape="1">
              <a:gsLst>
                <a:gs pos="0">
                  <a:srgbClr val="2A9B18"/>
                </a:gs>
                <a:gs pos="83000">
                  <a:schemeClr val="accent1">
                    <a:tint val="23500"/>
                    <a:satMod val="160000"/>
                    <a:alpha val="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Circular Arrow 20"/>
            <p:cNvSpPr/>
            <p:nvPr>
              <p:custDataLst>
                <p:tags r:id="rId9"/>
              </p:custDataLst>
            </p:nvPr>
          </p:nvSpPr>
          <p:spPr>
            <a:xfrm rot="19551636">
              <a:off x="2558395" y="1468917"/>
              <a:ext cx="3874530" cy="3874528"/>
            </a:xfrm>
            <a:prstGeom prst="circularArrow">
              <a:avLst>
                <a:gd name="adj1" fmla="val 18242"/>
                <a:gd name="adj2" fmla="val 1142319"/>
                <a:gd name="adj3" fmla="val 20457687"/>
                <a:gd name="adj4" fmla="val 14422437"/>
                <a:gd name="adj5" fmla="val 12500"/>
              </a:avLst>
            </a:prstGeom>
            <a:gradFill flip="none" rotWithShape="1">
              <a:gsLst>
                <a:gs pos="0">
                  <a:srgbClr val="2A9B18"/>
                </a:gs>
                <a:gs pos="83000">
                  <a:schemeClr val="accent1">
                    <a:tint val="23500"/>
                    <a:satMod val="160000"/>
                    <a:alpha val="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Circular Arrow 18"/>
            <p:cNvSpPr/>
            <p:nvPr>
              <p:custDataLst>
                <p:tags r:id="rId10"/>
              </p:custDataLst>
            </p:nvPr>
          </p:nvSpPr>
          <p:spPr>
            <a:xfrm rot="9139184">
              <a:off x="2531217" y="1465942"/>
              <a:ext cx="3874530" cy="3874528"/>
            </a:xfrm>
            <a:prstGeom prst="circularArrow">
              <a:avLst>
                <a:gd name="adj1" fmla="val 18242"/>
                <a:gd name="adj2" fmla="val 1142319"/>
                <a:gd name="adj3" fmla="val 20457687"/>
                <a:gd name="adj4" fmla="val 14422437"/>
                <a:gd name="adj5" fmla="val 12500"/>
              </a:avLst>
            </a:prstGeom>
            <a:gradFill flip="none" rotWithShape="1">
              <a:gsLst>
                <a:gs pos="0">
                  <a:srgbClr val="2A9B18"/>
                </a:gs>
                <a:gs pos="83000">
                  <a:schemeClr val="accent1">
                    <a:tint val="23500"/>
                    <a:satMod val="160000"/>
                    <a:alpha val="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9" name="Ellipse 98"/>
          <p:cNvSpPr/>
          <p:nvPr/>
        </p:nvSpPr>
        <p:spPr bwMode="auto">
          <a:xfrm>
            <a:off x="4190583" y="4815764"/>
            <a:ext cx="4238224" cy="373302"/>
          </a:xfrm>
          <a:prstGeom prst="ellipse">
            <a:avLst/>
          </a:prstGeom>
          <a:gradFill flip="none" rotWithShape="1">
            <a:gsLst>
              <a:gs pos="100000">
                <a:srgbClr val="FFFFFF">
                  <a:alpha val="0"/>
                </a:srgbClr>
              </a:gs>
              <a:gs pos="0">
                <a:srgbClr val="E6E6E6">
                  <a:lumMod val="10000"/>
                  <a:alpha val="20000"/>
                </a:srgbClr>
              </a:gs>
            </a:gsLst>
            <a:path path="shape">
              <a:fillToRect l="50000" t="50000" r="50000" b="50000"/>
            </a:path>
            <a:tileRect/>
          </a:gradFill>
          <a:ln w="9525" cap="flat" cmpd="sng" algn="ctr">
            <a:noFill/>
            <a:prstDash val="solid"/>
          </a:ln>
          <a:effectLst/>
        </p:spPr>
        <p:txBody>
          <a:bodyPr anchor="ctr"/>
          <a:lstStyle>
            <a:lvl1pPr>
              <a:defRPr>
                <a:solidFill>
                  <a:schemeClr val="tx1"/>
                </a:solidFill>
                <a:latin typeface="Calibri" charset="0"/>
                <a:ea typeface="ＭＳ Ｐゴシック" charset="-128"/>
              </a:defRPr>
            </a:lvl1pPr>
            <a:lvl2pPr marL="37931725" indent="-37474525">
              <a:defRPr>
                <a:solidFill>
                  <a:schemeClr val="tx1"/>
                </a:solidFill>
                <a:latin typeface="Calibri" charset="0"/>
                <a:ea typeface="ＭＳ Ｐゴシック" charset="-128"/>
              </a:defRPr>
            </a:lvl2pPr>
            <a:lvl3pPr>
              <a:defRPr>
                <a:solidFill>
                  <a:schemeClr val="tx1"/>
                </a:solidFill>
                <a:latin typeface="Calibri" charset="0"/>
                <a:ea typeface="ＭＳ Ｐゴシック" charset="-128"/>
              </a:defRPr>
            </a:lvl3pPr>
            <a:lvl4pPr>
              <a:defRPr>
                <a:solidFill>
                  <a:schemeClr val="tx1"/>
                </a:solidFill>
                <a:latin typeface="Calibri" charset="0"/>
                <a:ea typeface="ＭＳ Ｐゴシック" charset="-128"/>
              </a:defRPr>
            </a:lvl4pPr>
            <a:lvl5pPr>
              <a:defRPr>
                <a:solidFill>
                  <a:schemeClr val="tx1"/>
                </a:solidFill>
                <a:latin typeface="Calibri" charset="0"/>
                <a:ea typeface="ＭＳ Ｐゴシック" charset="-128"/>
              </a:defRPr>
            </a:lvl5pPr>
            <a:lvl6pPr marL="457200" fontAlgn="base">
              <a:spcBef>
                <a:spcPct val="0"/>
              </a:spcBef>
              <a:spcAft>
                <a:spcPct val="0"/>
              </a:spcAft>
              <a:defRPr>
                <a:solidFill>
                  <a:schemeClr val="tx1"/>
                </a:solidFill>
                <a:latin typeface="Calibri" charset="0"/>
                <a:ea typeface="ＭＳ Ｐゴシック" charset="-128"/>
              </a:defRPr>
            </a:lvl6pPr>
            <a:lvl7pPr marL="914400" fontAlgn="base">
              <a:spcBef>
                <a:spcPct val="0"/>
              </a:spcBef>
              <a:spcAft>
                <a:spcPct val="0"/>
              </a:spcAft>
              <a:defRPr>
                <a:solidFill>
                  <a:schemeClr val="tx1"/>
                </a:solidFill>
                <a:latin typeface="Calibri" charset="0"/>
                <a:ea typeface="ＭＳ Ｐゴシック" charset="-128"/>
              </a:defRPr>
            </a:lvl7pPr>
            <a:lvl8pPr marL="1371600" fontAlgn="base">
              <a:spcBef>
                <a:spcPct val="0"/>
              </a:spcBef>
              <a:spcAft>
                <a:spcPct val="0"/>
              </a:spcAft>
              <a:defRPr>
                <a:solidFill>
                  <a:schemeClr val="tx1"/>
                </a:solidFill>
                <a:latin typeface="Calibri" charset="0"/>
                <a:ea typeface="ＭＳ Ｐゴシック" charset="-128"/>
              </a:defRPr>
            </a:lvl8pPr>
            <a:lvl9pPr marL="1828800" fontAlgn="base">
              <a:spcBef>
                <a:spcPct val="0"/>
              </a:spcBef>
              <a:spcAft>
                <a:spcPct val="0"/>
              </a:spcAft>
              <a:defRPr>
                <a:solidFill>
                  <a:schemeClr val="tx1"/>
                </a:solidFill>
                <a:latin typeface="Calibri" charset="0"/>
                <a:ea typeface="ＭＳ Ｐゴシック" charset="-128"/>
              </a:defRPr>
            </a:lvl9pPr>
          </a:lstStyle>
          <a:p>
            <a:pPr lvl="2" algn="just"/>
            <a:r>
              <a:rPr lang="en-US" b="1" i="1" dirty="0" smtClean="0"/>
              <a:t>Business groups, </a:t>
            </a:r>
          </a:p>
          <a:p>
            <a:pPr lvl="2" algn="just"/>
            <a:r>
              <a:rPr lang="en-US" b="1" i="1" dirty="0" smtClean="0"/>
              <a:t>religious and caste leaders</a:t>
            </a:r>
            <a:endParaRPr lang="en-US" dirty="0" smtClean="0">
              <a:solidFill>
                <a:srgbClr val="FFFFFF"/>
              </a:solidFill>
            </a:endParaRPr>
          </a:p>
        </p:txBody>
      </p:sp>
      <p:cxnSp>
        <p:nvCxnSpPr>
          <p:cNvPr id="29" name="Straight Connector 28"/>
          <p:cNvCxnSpPr/>
          <p:nvPr/>
        </p:nvCxnSpPr>
        <p:spPr>
          <a:xfrm>
            <a:off x="6138281" y="3404029"/>
            <a:ext cx="2290526" cy="0"/>
          </a:xfrm>
          <a:prstGeom prst="line">
            <a:avLst/>
          </a:prstGeom>
          <a:ln w="3175">
            <a:solidFill>
              <a:srgbClr val="F0B71F"/>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6829245" y="3140968"/>
            <a:ext cx="1599561" cy="615553"/>
          </a:xfrm>
          <a:prstGeom prst="rect">
            <a:avLst/>
          </a:prstGeom>
          <a:noFill/>
        </p:spPr>
        <p:txBody>
          <a:bodyPr wrap="square" lIns="0" tIns="0" rIns="0" bIns="0" rtlCol="0" anchor="b">
            <a:spAutoFit/>
          </a:bodyPr>
          <a:lstStyle/>
          <a:p>
            <a:r>
              <a:rPr lang="en-US" sz="2000" b="1" i="1" dirty="0" smtClean="0"/>
              <a:t>State level leaders</a:t>
            </a:r>
            <a:endParaRPr lang="en-US" sz="2000" dirty="0"/>
          </a:p>
        </p:txBody>
      </p:sp>
      <p:sp>
        <p:nvSpPr>
          <p:cNvPr id="41" name="TextBox 40"/>
          <p:cNvSpPr txBox="1"/>
          <p:nvPr/>
        </p:nvSpPr>
        <p:spPr>
          <a:xfrm>
            <a:off x="1122282" y="2877371"/>
            <a:ext cx="1461431" cy="307777"/>
          </a:xfrm>
          <a:prstGeom prst="rect">
            <a:avLst/>
          </a:prstGeom>
          <a:noFill/>
        </p:spPr>
        <p:txBody>
          <a:bodyPr wrap="square" lIns="0" tIns="0" rIns="0" bIns="0" rtlCol="0" anchor="b">
            <a:spAutoFit/>
          </a:bodyPr>
          <a:lstStyle/>
          <a:p>
            <a:r>
              <a:rPr lang="en-US" sz="2000" b="1" i="1" dirty="0" smtClean="0"/>
              <a:t>Ministers </a:t>
            </a:r>
            <a:endParaRPr lang="en-US" sz="2000" dirty="0"/>
          </a:p>
        </p:txBody>
      </p:sp>
      <p:grpSp>
        <p:nvGrpSpPr>
          <p:cNvPr id="60" name="Group 59"/>
          <p:cNvGrpSpPr/>
          <p:nvPr/>
        </p:nvGrpSpPr>
        <p:grpSpPr>
          <a:xfrm>
            <a:off x="633306" y="3011153"/>
            <a:ext cx="3507639" cy="222148"/>
            <a:chOff x="741832" y="3340071"/>
            <a:chExt cx="3507639" cy="222148"/>
          </a:xfrm>
        </p:grpSpPr>
        <p:grpSp>
          <p:nvGrpSpPr>
            <p:cNvPr id="56" name="Group 8"/>
            <p:cNvGrpSpPr/>
            <p:nvPr>
              <p:custDataLst>
                <p:tags r:id="rId5"/>
              </p:custDataLst>
            </p:nvPr>
          </p:nvGrpSpPr>
          <p:grpSpPr>
            <a:xfrm>
              <a:off x="4026648" y="3340071"/>
              <a:ext cx="222823" cy="222148"/>
              <a:chOff x="7535636" y="2666546"/>
              <a:chExt cx="523875" cy="522288"/>
            </a:xfrm>
            <a:effectLst>
              <a:outerShdw blurRad="25400" dist="12700" dir="5400000" algn="t" rotWithShape="0">
                <a:prstClr val="black">
                  <a:alpha val="25000"/>
                </a:prstClr>
              </a:outerShdw>
            </a:effectLst>
          </p:grpSpPr>
          <p:sp>
            <p:nvSpPr>
              <p:cNvPr id="57" name="Oval 56"/>
              <p:cNvSpPr/>
              <p:nvPr/>
            </p:nvSpPr>
            <p:spPr bwMode="auto">
              <a:xfrm>
                <a:off x="7535636" y="2666546"/>
                <a:ext cx="523875" cy="522288"/>
              </a:xfrm>
              <a:prstGeom prst="ellipse">
                <a:avLst/>
              </a:prstGeom>
              <a:gradFill>
                <a:gsLst>
                  <a:gs pos="0">
                    <a:schemeClr val="bg1"/>
                  </a:gs>
                  <a:gs pos="100000">
                    <a:schemeClr val="bg1">
                      <a:lumMod val="85000"/>
                    </a:schemeClr>
                  </a:gs>
                </a:gsLst>
                <a:lin ang="5400000" scaled="0"/>
              </a:gradFill>
              <a:ln w="317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ea typeface="ＭＳ Ｐゴシック" charset="-128"/>
                  <a:cs typeface="Arial" charset="0"/>
                </a:endParaRPr>
              </a:p>
            </p:txBody>
          </p:sp>
          <p:sp>
            <p:nvSpPr>
              <p:cNvPr id="58" name="Oval 57"/>
              <p:cNvSpPr/>
              <p:nvPr/>
            </p:nvSpPr>
            <p:spPr bwMode="auto">
              <a:xfrm>
                <a:off x="7681686" y="2807834"/>
                <a:ext cx="239713" cy="239712"/>
              </a:xfrm>
              <a:prstGeom prst="ellipse">
                <a:avLst/>
              </a:prstGeom>
              <a:solidFill>
                <a:srgbClr val="F0B71F"/>
              </a:solidFill>
              <a:ln w="9525">
                <a:noFill/>
                <a:round/>
                <a:headEnd/>
                <a:tailEnd/>
              </a:ln>
              <a:effectLst/>
            </p:spPr>
            <p:txBody>
              <a:bodyPr/>
              <a:lstStyle/>
              <a:p>
                <a:pPr>
                  <a:defRPr/>
                </a:pPr>
                <a:endParaRPr lang="nb-NO">
                  <a:latin typeface="Calibri" charset="0"/>
                  <a:ea typeface="ＭＳ Ｐゴシック" charset="-128"/>
                </a:endParaRPr>
              </a:p>
            </p:txBody>
          </p:sp>
        </p:grpSp>
        <p:cxnSp>
          <p:nvCxnSpPr>
            <p:cNvPr id="38" name="Straight Connector 37"/>
            <p:cNvCxnSpPr/>
            <p:nvPr>
              <p:custDataLst>
                <p:tags r:id="rId6"/>
              </p:custDataLst>
            </p:nvPr>
          </p:nvCxnSpPr>
          <p:spPr>
            <a:xfrm>
              <a:off x="741832" y="3448050"/>
              <a:ext cx="3392201" cy="0"/>
            </a:xfrm>
            <a:prstGeom prst="line">
              <a:avLst/>
            </a:prstGeom>
            <a:ln w="3175">
              <a:solidFill>
                <a:srgbClr val="F0B71F"/>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grpSp>
      <p:grpSp>
        <p:nvGrpSpPr>
          <p:cNvPr id="66" name="Group 65"/>
          <p:cNvGrpSpPr/>
          <p:nvPr/>
        </p:nvGrpSpPr>
        <p:grpSpPr>
          <a:xfrm>
            <a:off x="658246" y="2559220"/>
            <a:ext cx="385361" cy="497938"/>
            <a:chOff x="-2270125" y="4279901"/>
            <a:chExt cx="282575" cy="365125"/>
          </a:xfrm>
          <a:gradFill flip="none" rotWithShape="1">
            <a:gsLst>
              <a:gs pos="0">
                <a:srgbClr val="F0B71F">
                  <a:lumMod val="87000"/>
                </a:srgbClr>
              </a:gs>
              <a:gs pos="64000">
                <a:srgbClr val="F0B71F"/>
              </a:gs>
            </a:gsLst>
            <a:lin ang="16200000" scaled="1"/>
            <a:tileRect/>
          </a:gradFill>
          <a:effectLst/>
        </p:grpSpPr>
        <p:sp>
          <p:nvSpPr>
            <p:cNvPr id="67" name="Freeform 6"/>
            <p:cNvSpPr>
              <a:spLocks/>
            </p:cNvSpPr>
            <p:nvPr/>
          </p:nvSpPr>
          <p:spPr bwMode="auto">
            <a:xfrm>
              <a:off x="-2270125" y="4519613"/>
              <a:ext cx="123825" cy="19050"/>
            </a:xfrm>
            <a:custGeom>
              <a:avLst/>
              <a:gdLst>
                <a:gd name="T0" fmla="*/ 24 w 702"/>
                <a:gd name="T1" fmla="*/ 0 h 103"/>
                <a:gd name="T2" fmla="*/ 676 w 702"/>
                <a:gd name="T3" fmla="*/ 0 h 103"/>
                <a:gd name="T4" fmla="*/ 682 w 702"/>
                <a:gd name="T5" fmla="*/ 1 h 103"/>
                <a:gd name="T6" fmla="*/ 686 w 702"/>
                <a:gd name="T7" fmla="*/ 3 h 103"/>
                <a:gd name="T8" fmla="*/ 691 w 702"/>
                <a:gd name="T9" fmla="*/ 5 h 103"/>
                <a:gd name="T10" fmla="*/ 694 w 702"/>
                <a:gd name="T11" fmla="*/ 8 h 103"/>
                <a:gd name="T12" fmla="*/ 697 w 702"/>
                <a:gd name="T13" fmla="*/ 11 h 103"/>
                <a:gd name="T14" fmla="*/ 699 w 702"/>
                <a:gd name="T15" fmla="*/ 16 h 103"/>
                <a:gd name="T16" fmla="*/ 700 w 702"/>
                <a:gd name="T17" fmla="*/ 20 h 103"/>
                <a:gd name="T18" fmla="*/ 702 w 702"/>
                <a:gd name="T19" fmla="*/ 24 h 103"/>
                <a:gd name="T20" fmla="*/ 702 w 702"/>
                <a:gd name="T21" fmla="*/ 79 h 103"/>
                <a:gd name="T22" fmla="*/ 700 w 702"/>
                <a:gd name="T23" fmla="*/ 83 h 103"/>
                <a:gd name="T24" fmla="*/ 699 w 702"/>
                <a:gd name="T25" fmla="*/ 88 h 103"/>
                <a:gd name="T26" fmla="*/ 697 w 702"/>
                <a:gd name="T27" fmla="*/ 92 h 103"/>
                <a:gd name="T28" fmla="*/ 694 w 702"/>
                <a:gd name="T29" fmla="*/ 95 h 103"/>
                <a:gd name="T30" fmla="*/ 691 w 702"/>
                <a:gd name="T31" fmla="*/ 99 h 103"/>
                <a:gd name="T32" fmla="*/ 686 w 702"/>
                <a:gd name="T33" fmla="*/ 101 h 103"/>
                <a:gd name="T34" fmla="*/ 682 w 702"/>
                <a:gd name="T35" fmla="*/ 102 h 103"/>
                <a:gd name="T36" fmla="*/ 676 w 702"/>
                <a:gd name="T37" fmla="*/ 103 h 103"/>
                <a:gd name="T38" fmla="*/ 24 w 702"/>
                <a:gd name="T39" fmla="*/ 103 h 103"/>
                <a:gd name="T40" fmla="*/ 20 w 702"/>
                <a:gd name="T41" fmla="*/ 102 h 103"/>
                <a:gd name="T42" fmla="*/ 16 w 702"/>
                <a:gd name="T43" fmla="*/ 101 h 103"/>
                <a:gd name="T44" fmla="*/ 11 w 702"/>
                <a:gd name="T45" fmla="*/ 99 h 103"/>
                <a:gd name="T46" fmla="*/ 8 w 702"/>
                <a:gd name="T47" fmla="*/ 95 h 103"/>
                <a:gd name="T48" fmla="*/ 5 w 702"/>
                <a:gd name="T49" fmla="*/ 92 h 103"/>
                <a:gd name="T50" fmla="*/ 2 w 702"/>
                <a:gd name="T51" fmla="*/ 88 h 103"/>
                <a:gd name="T52" fmla="*/ 1 w 702"/>
                <a:gd name="T53" fmla="*/ 83 h 103"/>
                <a:gd name="T54" fmla="*/ 0 w 702"/>
                <a:gd name="T55" fmla="*/ 79 h 103"/>
                <a:gd name="T56" fmla="*/ 0 w 702"/>
                <a:gd name="T57" fmla="*/ 24 h 103"/>
                <a:gd name="T58" fmla="*/ 1 w 702"/>
                <a:gd name="T59" fmla="*/ 20 h 103"/>
                <a:gd name="T60" fmla="*/ 2 w 702"/>
                <a:gd name="T61" fmla="*/ 16 h 103"/>
                <a:gd name="T62" fmla="*/ 5 w 702"/>
                <a:gd name="T63" fmla="*/ 11 h 103"/>
                <a:gd name="T64" fmla="*/ 8 w 702"/>
                <a:gd name="T65" fmla="*/ 8 h 103"/>
                <a:gd name="T66" fmla="*/ 11 w 702"/>
                <a:gd name="T67" fmla="*/ 5 h 103"/>
                <a:gd name="T68" fmla="*/ 16 w 702"/>
                <a:gd name="T69" fmla="*/ 3 h 103"/>
                <a:gd name="T70" fmla="*/ 20 w 702"/>
                <a:gd name="T71" fmla="*/ 1 h 103"/>
                <a:gd name="T72" fmla="*/ 24 w 702"/>
                <a:gd name="T7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2" h="103">
                  <a:moveTo>
                    <a:pt x="24" y="0"/>
                  </a:moveTo>
                  <a:lnTo>
                    <a:pt x="676" y="0"/>
                  </a:lnTo>
                  <a:lnTo>
                    <a:pt x="682" y="1"/>
                  </a:lnTo>
                  <a:lnTo>
                    <a:pt x="686" y="3"/>
                  </a:lnTo>
                  <a:lnTo>
                    <a:pt x="691" y="5"/>
                  </a:lnTo>
                  <a:lnTo>
                    <a:pt x="694" y="8"/>
                  </a:lnTo>
                  <a:lnTo>
                    <a:pt x="697" y="11"/>
                  </a:lnTo>
                  <a:lnTo>
                    <a:pt x="699" y="16"/>
                  </a:lnTo>
                  <a:lnTo>
                    <a:pt x="700" y="20"/>
                  </a:lnTo>
                  <a:lnTo>
                    <a:pt x="702" y="24"/>
                  </a:lnTo>
                  <a:lnTo>
                    <a:pt x="702" y="79"/>
                  </a:lnTo>
                  <a:lnTo>
                    <a:pt x="700" y="83"/>
                  </a:lnTo>
                  <a:lnTo>
                    <a:pt x="699" y="88"/>
                  </a:lnTo>
                  <a:lnTo>
                    <a:pt x="697" y="92"/>
                  </a:lnTo>
                  <a:lnTo>
                    <a:pt x="694" y="95"/>
                  </a:lnTo>
                  <a:lnTo>
                    <a:pt x="691" y="99"/>
                  </a:lnTo>
                  <a:lnTo>
                    <a:pt x="686" y="101"/>
                  </a:lnTo>
                  <a:lnTo>
                    <a:pt x="682" y="102"/>
                  </a:lnTo>
                  <a:lnTo>
                    <a:pt x="676" y="103"/>
                  </a:lnTo>
                  <a:lnTo>
                    <a:pt x="24" y="103"/>
                  </a:lnTo>
                  <a:lnTo>
                    <a:pt x="20" y="102"/>
                  </a:lnTo>
                  <a:lnTo>
                    <a:pt x="16" y="101"/>
                  </a:lnTo>
                  <a:lnTo>
                    <a:pt x="11" y="99"/>
                  </a:lnTo>
                  <a:lnTo>
                    <a:pt x="8" y="95"/>
                  </a:lnTo>
                  <a:lnTo>
                    <a:pt x="5" y="92"/>
                  </a:lnTo>
                  <a:lnTo>
                    <a:pt x="2" y="88"/>
                  </a:lnTo>
                  <a:lnTo>
                    <a:pt x="1" y="83"/>
                  </a:lnTo>
                  <a:lnTo>
                    <a:pt x="0" y="79"/>
                  </a:lnTo>
                  <a:lnTo>
                    <a:pt x="0" y="24"/>
                  </a:lnTo>
                  <a:lnTo>
                    <a:pt x="1" y="20"/>
                  </a:lnTo>
                  <a:lnTo>
                    <a:pt x="2" y="16"/>
                  </a:lnTo>
                  <a:lnTo>
                    <a:pt x="5" y="11"/>
                  </a:lnTo>
                  <a:lnTo>
                    <a:pt x="8" y="8"/>
                  </a:lnTo>
                  <a:lnTo>
                    <a:pt x="11" y="5"/>
                  </a:lnTo>
                  <a:lnTo>
                    <a:pt x="16" y="3"/>
                  </a:lnTo>
                  <a:lnTo>
                    <a:pt x="20" y="1"/>
                  </a:lnTo>
                  <a:lnTo>
                    <a:pt x="24"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800"/>
            </a:p>
          </p:txBody>
        </p:sp>
        <p:sp>
          <p:nvSpPr>
            <p:cNvPr id="68" name="Freeform 7"/>
            <p:cNvSpPr>
              <a:spLocks noEditPoints="1"/>
            </p:cNvSpPr>
            <p:nvPr/>
          </p:nvSpPr>
          <p:spPr bwMode="auto">
            <a:xfrm>
              <a:off x="-2236787" y="4279901"/>
              <a:ext cx="231775" cy="338138"/>
            </a:xfrm>
            <a:custGeom>
              <a:avLst/>
              <a:gdLst>
                <a:gd name="T0" fmla="*/ 240 w 1314"/>
                <a:gd name="T1" fmla="*/ 1794 h 1922"/>
                <a:gd name="T2" fmla="*/ 1304 w 1314"/>
                <a:gd name="T3" fmla="*/ 1896 h 1922"/>
                <a:gd name="T4" fmla="*/ 1247 w 1314"/>
                <a:gd name="T5" fmla="*/ 1775 h 1922"/>
                <a:gd name="T6" fmla="*/ 1174 w 1314"/>
                <a:gd name="T7" fmla="*/ 1669 h 1922"/>
                <a:gd name="T8" fmla="*/ 1084 w 1314"/>
                <a:gd name="T9" fmla="*/ 1579 h 1922"/>
                <a:gd name="T10" fmla="*/ 1115 w 1314"/>
                <a:gd name="T11" fmla="*/ 1347 h 1922"/>
                <a:gd name="T12" fmla="*/ 1095 w 1314"/>
                <a:gd name="T13" fmla="*/ 1126 h 1922"/>
                <a:gd name="T14" fmla="*/ 1023 w 1314"/>
                <a:gd name="T15" fmla="*/ 918 h 1922"/>
                <a:gd name="T16" fmla="*/ 698 w 1314"/>
                <a:gd name="T17" fmla="*/ 599 h 1922"/>
                <a:gd name="T18" fmla="*/ 681 w 1314"/>
                <a:gd name="T19" fmla="*/ 579 h 1922"/>
                <a:gd name="T20" fmla="*/ 614 w 1314"/>
                <a:gd name="T21" fmla="*/ 547 h 1922"/>
                <a:gd name="T22" fmla="*/ 517 w 1314"/>
                <a:gd name="T23" fmla="*/ 551 h 1922"/>
                <a:gd name="T24" fmla="*/ 476 w 1314"/>
                <a:gd name="T25" fmla="*/ 571 h 1922"/>
                <a:gd name="T26" fmla="*/ 450 w 1314"/>
                <a:gd name="T27" fmla="*/ 600 h 1922"/>
                <a:gd name="T28" fmla="*/ 431 w 1314"/>
                <a:gd name="T29" fmla="*/ 623 h 1922"/>
                <a:gd name="T30" fmla="*/ 417 w 1314"/>
                <a:gd name="T31" fmla="*/ 606 h 1922"/>
                <a:gd name="T32" fmla="*/ 445 w 1314"/>
                <a:gd name="T33" fmla="*/ 562 h 1922"/>
                <a:gd name="T34" fmla="*/ 488 w 1314"/>
                <a:gd name="T35" fmla="*/ 534 h 1922"/>
                <a:gd name="T36" fmla="*/ 541 w 1314"/>
                <a:gd name="T37" fmla="*/ 518 h 1922"/>
                <a:gd name="T38" fmla="*/ 597 w 1314"/>
                <a:gd name="T39" fmla="*/ 516 h 1922"/>
                <a:gd name="T40" fmla="*/ 655 w 1314"/>
                <a:gd name="T41" fmla="*/ 530 h 1922"/>
                <a:gd name="T42" fmla="*/ 731 w 1314"/>
                <a:gd name="T43" fmla="*/ 496 h 1922"/>
                <a:gd name="T44" fmla="*/ 798 w 1314"/>
                <a:gd name="T45" fmla="*/ 483 h 1922"/>
                <a:gd name="T46" fmla="*/ 818 w 1314"/>
                <a:gd name="T47" fmla="*/ 458 h 1922"/>
                <a:gd name="T48" fmla="*/ 812 w 1314"/>
                <a:gd name="T49" fmla="*/ 426 h 1922"/>
                <a:gd name="T50" fmla="*/ 765 w 1314"/>
                <a:gd name="T51" fmla="*/ 408 h 1922"/>
                <a:gd name="T52" fmla="*/ 788 w 1314"/>
                <a:gd name="T53" fmla="*/ 296 h 1922"/>
                <a:gd name="T54" fmla="*/ 845 w 1314"/>
                <a:gd name="T55" fmla="*/ 184 h 1922"/>
                <a:gd name="T56" fmla="*/ 917 w 1314"/>
                <a:gd name="T57" fmla="*/ 182 h 1922"/>
                <a:gd name="T58" fmla="*/ 914 w 1314"/>
                <a:gd name="T59" fmla="*/ 154 h 1922"/>
                <a:gd name="T60" fmla="*/ 748 w 1314"/>
                <a:gd name="T61" fmla="*/ 58 h 1922"/>
                <a:gd name="T62" fmla="*/ 573 w 1314"/>
                <a:gd name="T63" fmla="*/ 0 h 1922"/>
                <a:gd name="T64" fmla="*/ 549 w 1314"/>
                <a:gd name="T65" fmla="*/ 15 h 1922"/>
                <a:gd name="T66" fmla="*/ 593 w 1314"/>
                <a:gd name="T67" fmla="*/ 73 h 1922"/>
                <a:gd name="T68" fmla="*/ 543 w 1314"/>
                <a:gd name="T69" fmla="*/ 185 h 1922"/>
                <a:gd name="T70" fmla="*/ 472 w 1314"/>
                <a:gd name="T71" fmla="*/ 274 h 1922"/>
                <a:gd name="T72" fmla="*/ 429 w 1314"/>
                <a:gd name="T73" fmla="*/ 249 h 1922"/>
                <a:gd name="T74" fmla="*/ 400 w 1314"/>
                <a:gd name="T75" fmla="*/ 264 h 1922"/>
                <a:gd name="T76" fmla="*/ 394 w 1314"/>
                <a:gd name="T77" fmla="*/ 296 h 1922"/>
                <a:gd name="T78" fmla="*/ 425 w 1314"/>
                <a:gd name="T79" fmla="*/ 356 h 1922"/>
                <a:gd name="T80" fmla="*/ 277 w 1314"/>
                <a:gd name="T81" fmla="*/ 684 h 1922"/>
                <a:gd name="T82" fmla="*/ 111 w 1314"/>
                <a:gd name="T83" fmla="*/ 996 h 1922"/>
                <a:gd name="T84" fmla="*/ 65 w 1314"/>
                <a:gd name="T85" fmla="*/ 994 h 1922"/>
                <a:gd name="T86" fmla="*/ 49 w 1314"/>
                <a:gd name="T87" fmla="*/ 1011 h 1922"/>
                <a:gd name="T88" fmla="*/ 44 w 1314"/>
                <a:gd name="T89" fmla="*/ 1040 h 1922"/>
                <a:gd name="T90" fmla="*/ 127 w 1314"/>
                <a:gd name="T91" fmla="*/ 1178 h 1922"/>
                <a:gd name="T92" fmla="*/ 216 w 1314"/>
                <a:gd name="T93" fmla="*/ 1266 h 1922"/>
                <a:gd name="T94" fmla="*/ 376 w 1314"/>
                <a:gd name="T95" fmla="*/ 1243 h 1922"/>
                <a:gd name="T96" fmla="*/ 455 w 1314"/>
                <a:gd name="T97" fmla="*/ 1221 h 1922"/>
                <a:gd name="T98" fmla="*/ 464 w 1314"/>
                <a:gd name="T99" fmla="*/ 1197 h 1922"/>
                <a:gd name="T100" fmla="*/ 452 w 1314"/>
                <a:gd name="T101" fmla="*/ 1168 h 1922"/>
                <a:gd name="T102" fmla="*/ 577 w 1314"/>
                <a:gd name="T103" fmla="*/ 674 h 1922"/>
                <a:gd name="T104" fmla="*/ 621 w 1314"/>
                <a:gd name="T105" fmla="*/ 697 h 1922"/>
                <a:gd name="T106" fmla="*/ 626 w 1314"/>
                <a:gd name="T107" fmla="*/ 749 h 1922"/>
                <a:gd name="T108" fmla="*/ 587 w 1314"/>
                <a:gd name="T109" fmla="*/ 780 h 1922"/>
                <a:gd name="T110" fmla="*/ 538 w 1314"/>
                <a:gd name="T111" fmla="*/ 766 h 1922"/>
                <a:gd name="T112" fmla="*/ 524 w 1314"/>
                <a:gd name="T113" fmla="*/ 717 h 1922"/>
                <a:gd name="T114" fmla="*/ 556 w 1314"/>
                <a:gd name="T115" fmla="*/ 679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4" h="1922">
                  <a:moveTo>
                    <a:pt x="514" y="944"/>
                  </a:moveTo>
                  <a:lnTo>
                    <a:pt x="669" y="944"/>
                  </a:lnTo>
                  <a:lnTo>
                    <a:pt x="690" y="1522"/>
                  </a:lnTo>
                  <a:lnTo>
                    <a:pt x="0" y="1502"/>
                  </a:lnTo>
                  <a:lnTo>
                    <a:pt x="240" y="1794"/>
                  </a:lnTo>
                  <a:lnTo>
                    <a:pt x="173" y="1871"/>
                  </a:lnTo>
                  <a:lnTo>
                    <a:pt x="460" y="1876"/>
                  </a:lnTo>
                  <a:lnTo>
                    <a:pt x="454" y="1917"/>
                  </a:lnTo>
                  <a:lnTo>
                    <a:pt x="1314" y="1922"/>
                  </a:lnTo>
                  <a:lnTo>
                    <a:pt x="1304" y="1896"/>
                  </a:lnTo>
                  <a:lnTo>
                    <a:pt x="1294" y="1871"/>
                  </a:lnTo>
                  <a:lnTo>
                    <a:pt x="1283" y="1846"/>
                  </a:lnTo>
                  <a:lnTo>
                    <a:pt x="1271" y="1822"/>
                  </a:lnTo>
                  <a:lnTo>
                    <a:pt x="1259" y="1798"/>
                  </a:lnTo>
                  <a:lnTo>
                    <a:pt x="1247" y="1775"/>
                  </a:lnTo>
                  <a:lnTo>
                    <a:pt x="1233" y="1752"/>
                  </a:lnTo>
                  <a:lnTo>
                    <a:pt x="1220" y="1730"/>
                  </a:lnTo>
                  <a:lnTo>
                    <a:pt x="1205" y="1709"/>
                  </a:lnTo>
                  <a:lnTo>
                    <a:pt x="1190" y="1688"/>
                  </a:lnTo>
                  <a:lnTo>
                    <a:pt x="1174" y="1669"/>
                  </a:lnTo>
                  <a:lnTo>
                    <a:pt x="1157" y="1649"/>
                  </a:lnTo>
                  <a:lnTo>
                    <a:pt x="1140" y="1631"/>
                  </a:lnTo>
                  <a:lnTo>
                    <a:pt x="1122" y="1613"/>
                  </a:lnTo>
                  <a:lnTo>
                    <a:pt x="1103" y="1596"/>
                  </a:lnTo>
                  <a:lnTo>
                    <a:pt x="1084" y="1579"/>
                  </a:lnTo>
                  <a:lnTo>
                    <a:pt x="1095" y="1531"/>
                  </a:lnTo>
                  <a:lnTo>
                    <a:pt x="1103" y="1484"/>
                  </a:lnTo>
                  <a:lnTo>
                    <a:pt x="1110" y="1438"/>
                  </a:lnTo>
                  <a:lnTo>
                    <a:pt x="1113" y="1392"/>
                  </a:lnTo>
                  <a:lnTo>
                    <a:pt x="1115" y="1347"/>
                  </a:lnTo>
                  <a:lnTo>
                    <a:pt x="1115" y="1302"/>
                  </a:lnTo>
                  <a:lnTo>
                    <a:pt x="1114" y="1257"/>
                  </a:lnTo>
                  <a:lnTo>
                    <a:pt x="1110" y="1213"/>
                  </a:lnTo>
                  <a:lnTo>
                    <a:pt x="1103" y="1169"/>
                  </a:lnTo>
                  <a:lnTo>
                    <a:pt x="1095" y="1126"/>
                  </a:lnTo>
                  <a:lnTo>
                    <a:pt x="1085" y="1084"/>
                  </a:lnTo>
                  <a:lnTo>
                    <a:pt x="1073" y="1041"/>
                  </a:lnTo>
                  <a:lnTo>
                    <a:pt x="1058" y="1000"/>
                  </a:lnTo>
                  <a:lnTo>
                    <a:pt x="1041" y="958"/>
                  </a:lnTo>
                  <a:lnTo>
                    <a:pt x="1023" y="918"/>
                  </a:lnTo>
                  <a:lnTo>
                    <a:pt x="1002" y="877"/>
                  </a:lnTo>
                  <a:lnTo>
                    <a:pt x="705" y="603"/>
                  </a:lnTo>
                  <a:lnTo>
                    <a:pt x="702" y="602"/>
                  </a:lnTo>
                  <a:lnTo>
                    <a:pt x="700" y="601"/>
                  </a:lnTo>
                  <a:lnTo>
                    <a:pt x="698" y="599"/>
                  </a:lnTo>
                  <a:lnTo>
                    <a:pt x="695" y="597"/>
                  </a:lnTo>
                  <a:lnTo>
                    <a:pt x="692" y="593"/>
                  </a:lnTo>
                  <a:lnTo>
                    <a:pt x="689" y="587"/>
                  </a:lnTo>
                  <a:lnTo>
                    <a:pt x="680" y="581"/>
                  </a:lnTo>
                  <a:lnTo>
                    <a:pt x="681" y="579"/>
                  </a:lnTo>
                  <a:lnTo>
                    <a:pt x="670" y="571"/>
                  </a:lnTo>
                  <a:lnTo>
                    <a:pt x="658" y="563"/>
                  </a:lnTo>
                  <a:lnTo>
                    <a:pt x="645" y="557"/>
                  </a:lnTo>
                  <a:lnTo>
                    <a:pt x="632" y="551"/>
                  </a:lnTo>
                  <a:lnTo>
                    <a:pt x="614" y="547"/>
                  </a:lnTo>
                  <a:lnTo>
                    <a:pt x="594" y="543"/>
                  </a:lnTo>
                  <a:lnTo>
                    <a:pt x="574" y="542"/>
                  </a:lnTo>
                  <a:lnTo>
                    <a:pt x="555" y="543"/>
                  </a:lnTo>
                  <a:lnTo>
                    <a:pt x="535" y="547"/>
                  </a:lnTo>
                  <a:lnTo>
                    <a:pt x="517" y="551"/>
                  </a:lnTo>
                  <a:lnTo>
                    <a:pt x="508" y="554"/>
                  </a:lnTo>
                  <a:lnTo>
                    <a:pt x="499" y="558"/>
                  </a:lnTo>
                  <a:lnTo>
                    <a:pt x="491" y="562"/>
                  </a:lnTo>
                  <a:lnTo>
                    <a:pt x="484" y="566"/>
                  </a:lnTo>
                  <a:lnTo>
                    <a:pt x="476" y="571"/>
                  </a:lnTo>
                  <a:lnTo>
                    <a:pt x="470" y="576"/>
                  </a:lnTo>
                  <a:lnTo>
                    <a:pt x="464" y="582"/>
                  </a:lnTo>
                  <a:lnTo>
                    <a:pt x="459" y="587"/>
                  </a:lnTo>
                  <a:lnTo>
                    <a:pt x="454" y="594"/>
                  </a:lnTo>
                  <a:lnTo>
                    <a:pt x="450" y="600"/>
                  </a:lnTo>
                  <a:lnTo>
                    <a:pt x="447" y="607"/>
                  </a:lnTo>
                  <a:lnTo>
                    <a:pt x="443" y="614"/>
                  </a:lnTo>
                  <a:lnTo>
                    <a:pt x="441" y="619"/>
                  </a:lnTo>
                  <a:lnTo>
                    <a:pt x="437" y="622"/>
                  </a:lnTo>
                  <a:lnTo>
                    <a:pt x="431" y="623"/>
                  </a:lnTo>
                  <a:lnTo>
                    <a:pt x="426" y="623"/>
                  </a:lnTo>
                  <a:lnTo>
                    <a:pt x="422" y="621"/>
                  </a:lnTo>
                  <a:lnTo>
                    <a:pt x="418" y="617"/>
                  </a:lnTo>
                  <a:lnTo>
                    <a:pt x="417" y="611"/>
                  </a:lnTo>
                  <a:lnTo>
                    <a:pt x="417" y="606"/>
                  </a:lnTo>
                  <a:lnTo>
                    <a:pt x="422" y="596"/>
                  </a:lnTo>
                  <a:lnTo>
                    <a:pt x="426" y="587"/>
                  </a:lnTo>
                  <a:lnTo>
                    <a:pt x="431" y="578"/>
                  </a:lnTo>
                  <a:lnTo>
                    <a:pt x="438" y="570"/>
                  </a:lnTo>
                  <a:lnTo>
                    <a:pt x="445" y="562"/>
                  </a:lnTo>
                  <a:lnTo>
                    <a:pt x="452" y="555"/>
                  </a:lnTo>
                  <a:lnTo>
                    <a:pt x="460" y="549"/>
                  </a:lnTo>
                  <a:lnTo>
                    <a:pt x="470" y="543"/>
                  </a:lnTo>
                  <a:lnTo>
                    <a:pt x="478" y="538"/>
                  </a:lnTo>
                  <a:lnTo>
                    <a:pt x="488" y="534"/>
                  </a:lnTo>
                  <a:lnTo>
                    <a:pt x="498" y="529"/>
                  </a:lnTo>
                  <a:lnTo>
                    <a:pt x="508" y="525"/>
                  </a:lnTo>
                  <a:lnTo>
                    <a:pt x="519" y="523"/>
                  </a:lnTo>
                  <a:lnTo>
                    <a:pt x="530" y="519"/>
                  </a:lnTo>
                  <a:lnTo>
                    <a:pt x="541" y="518"/>
                  </a:lnTo>
                  <a:lnTo>
                    <a:pt x="551" y="516"/>
                  </a:lnTo>
                  <a:lnTo>
                    <a:pt x="563" y="515"/>
                  </a:lnTo>
                  <a:lnTo>
                    <a:pt x="574" y="515"/>
                  </a:lnTo>
                  <a:lnTo>
                    <a:pt x="585" y="515"/>
                  </a:lnTo>
                  <a:lnTo>
                    <a:pt x="597" y="516"/>
                  </a:lnTo>
                  <a:lnTo>
                    <a:pt x="608" y="517"/>
                  </a:lnTo>
                  <a:lnTo>
                    <a:pt x="619" y="519"/>
                  </a:lnTo>
                  <a:lnTo>
                    <a:pt x="630" y="523"/>
                  </a:lnTo>
                  <a:lnTo>
                    <a:pt x="640" y="525"/>
                  </a:lnTo>
                  <a:lnTo>
                    <a:pt x="655" y="530"/>
                  </a:lnTo>
                  <a:lnTo>
                    <a:pt x="668" y="537"/>
                  </a:lnTo>
                  <a:lnTo>
                    <a:pt x="681" y="545"/>
                  </a:lnTo>
                  <a:lnTo>
                    <a:pt x="693" y="553"/>
                  </a:lnTo>
                  <a:lnTo>
                    <a:pt x="719" y="496"/>
                  </a:lnTo>
                  <a:lnTo>
                    <a:pt x="731" y="496"/>
                  </a:lnTo>
                  <a:lnTo>
                    <a:pt x="742" y="498"/>
                  </a:lnTo>
                  <a:lnTo>
                    <a:pt x="754" y="498"/>
                  </a:lnTo>
                  <a:lnTo>
                    <a:pt x="766" y="498"/>
                  </a:lnTo>
                  <a:lnTo>
                    <a:pt x="784" y="491"/>
                  </a:lnTo>
                  <a:lnTo>
                    <a:pt x="798" y="483"/>
                  </a:lnTo>
                  <a:lnTo>
                    <a:pt x="803" y="479"/>
                  </a:lnTo>
                  <a:lnTo>
                    <a:pt x="809" y="474"/>
                  </a:lnTo>
                  <a:lnTo>
                    <a:pt x="813" y="469"/>
                  </a:lnTo>
                  <a:lnTo>
                    <a:pt x="815" y="464"/>
                  </a:lnTo>
                  <a:lnTo>
                    <a:pt x="818" y="458"/>
                  </a:lnTo>
                  <a:lnTo>
                    <a:pt x="819" y="453"/>
                  </a:lnTo>
                  <a:lnTo>
                    <a:pt x="819" y="446"/>
                  </a:lnTo>
                  <a:lnTo>
                    <a:pt x="818" y="440"/>
                  </a:lnTo>
                  <a:lnTo>
                    <a:pt x="815" y="432"/>
                  </a:lnTo>
                  <a:lnTo>
                    <a:pt x="812" y="426"/>
                  </a:lnTo>
                  <a:lnTo>
                    <a:pt x="807" y="418"/>
                  </a:lnTo>
                  <a:lnTo>
                    <a:pt x="801" y="409"/>
                  </a:lnTo>
                  <a:lnTo>
                    <a:pt x="789" y="409"/>
                  </a:lnTo>
                  <a:lnTo>
                    <a:pt x="777" y="409"/>
                  </a:lnTo>
                  <a:lnTo>
                    <a:pt x="765" y="408"/>
                  </a:lnTo>
                  <a:lnTo>
                    <a:pt x="753" y="408"/>
                  </a:lnTo>
                  <a:lnTo>
                    <a:pt x="762" y="380"/>
                  </a:lnTo>
                  <a:lnTo>
                    <a:pt x="771" y="352"/>
                  </a:lnTo>
                  <a:lnTo>
                    <a:pt x="779" y="324"/>
                  </a:lnTo>
                  <a:lnTo>
                    <a:pt x="788" y="296"/>
                  </a:lnTo>
                  <a:lnTo>
                    <a:pt x="797" y="267"/>
                  </a:lnTo>
                  <a:lnTo>
                    <a:pt x="806" y="240"/>
                  </a:lnTo>
                  <a:lnTo>
                    <a:pt x="814" y="212"/>
                  </a:lnTo>
                  <a:lnTo>
                    <a:pt x="823" y="183"/>
                  </a:lnTo>
                  <a:lnTo>
                    <a:pt x="845" y="184"/>
                  </a:lnTo>
                  <a:lnTo>
                    <a:pt x="866" y="185"/>
                  </a:lnTo>
                  <a:lnTo>
                    <a:pt x="886" y="186"/>
                  </a:lnTo>
                  <a:lnTo>
                    <a:pt x="907" y="188"/>
                  </a:lnTo>
                  <a:lnTo>
                    <a:pt x="912" y="185"/>
                  </a:lnTo>
                  <a:lnTo>
                    <a:pt x="917" y="182"/>
                  </a:lnTo>
                  <a:lnTo>
                    <a:pt x="919" y="177"/>
                  </a:lnTo>
                  <a:lnTo>
                    <a:pt x="920" y="171"/>
                  </a:lnTo>
                  <a:lnTo>
                    <a:pt x="919" y="166"/>
                  </a:lnTo>
                  <a:lnTo>
                    <a:pt x="917" y="159"/>
                  </a:lnTo>
                  <a:lnTo>
                    <a:pt x="914" y="154"/>
                  </a:lnTo>
                  <a:lnTo>
                    <a:pt x="908" y="147"/>
                  </a:lnTo>
                  <a:lnTo>
                    <a:pt x="851" y="113"/>
                  </a:lnTo>
                  <a:lnTo>
                    <a:pt x="810" y="88"/>
                  </a:lnTo>
                  <a:lnTo>
                    <a:pt x="776" y="71"/>
                  </a:lnTo>
                  <a:lnTo>
                    <a:pt x="748" y="58"/>
                  </a:lnTo>
                  <a:lnTo>
                    <a:pt x="719" y="47"/>
                  </a:lnTo>
                  <a:lnTo>
                    <a:pt x="686" y="35"/>
                  </a:lnTo>
                  <a:lnTo>
                    <a:pt x="641" y="21"/>
                  </a:lnTo>
                  <a:lnTo>
                    <a:pt x="581" y="1"/>
                  </a:lnTo>
                  <a:lnTo>
                    <a:pt x="573" y="0"/>
                  </a:lnTo>
                  <a:lnTo>
                    <a:pt x="567" y="1"/>
                  </a:lnTo>
                  <a:lnTo>
                    <a:pt x="560" y="3"/>
                  </a:lnTo>
                  <a:lnTo>
                    <a:pt x="556" y="6"/>
                  </a:lnTo>
                  <a:lnTo>
                    <a:pt x="551" y="11"/>
                  </a:lnTo>
                  <a:lnTo>
                    <a:pt x="549" y="15"/>
                  </a:lnTo>
                  <a:lnTo>
                    <a:pt x="549" y="21"/>
                  </a:lnTo>
                  <a:lnTo>
                    <a:pt x="550" y="26"/>
                  </a:lnTo>
                  <a:lnTo>
                    <a:pt x="565" y="41"/>
                  </a:lnTo>
                  <a:lnTo>
                    <a:pt x="579" y="57"/>
                  </a:lnTo>
                  <a:lnTo>
                    <a:pt x="593" y="73"/>
                  </a:lnTo>
                  <a:lnTo>
                    <a:pt x="607" y="88"/>
                  </a:lnTo>
                  <a:lnTo>
                    <a:pt x="591" y="112"/>
                  </a:lnTo>
                  <a:lnTo>
                    <a:pt x="575" y="136"/>
                  </a:lnTo>
                  <a:lnTo>
                    <a:pt x="559" y="160"/>
                  </a:lnTo>
                  <a:lnTo>
                    <a:pt x="543" y="185"/>
                  </a:lnTo>
                  <a:lnTo>
                    <a:pt x="527" y="209"/>
                  </a:lnTo>
                  <a:lnTo>
                    <a:pt x="511" y="233"/>
                  </a:lnTo>
                  <a:lnTo>
                    <a:pt x="495" y="259"/>
                  </a:lnTo>
                  <a:lnTo>
                    <a:pt x="479" y="283"/>
                  </a:lnTo>
                  <a:lnTo>
                    <a:pt x="472" y="274"/>
                  </a:lnTo>
                  <a:lnTo>
                    <a:pt x="464" y="264"/>
                  </a:lnTo>
                  <a:lnTo>
                    <a:pt x="457" y="255"/>
                  </a:lnTo>
                  <a:lnTo>
                    <a:pt x="448" y="247"/>
                  </a:lnTo>
                  <a:lnTo>
                    <a:pt x="438" y="247"/>
                  </a:lnTo>
                  <a:lnTo>
                    <a:pt x="429" y="249"/>
                  </a:lnTo>
                  <a:lnTo>
                    <a:pt x="422" y="250"/>
                  </a:lnTo>
                  <a:lnTo>
                    <a:pt x="414" y="253"/>
                  </a:lnTo>
                  <a:lnTo>
                    <a:pt x="409" y="256"/>
                  </a:lnTo>
                  <a:lnTo>
                    <a:pt x="404" y="260"/>
                  </a:lnTo>
                  <a:lnTo>
                    <a:pt x="400" y="264"/>
                  </a:lnTo>
                  <a:lnTo>
                    <a:pt x="398" y="269"/>
                  </a:lnTo>
                  <a:lnTo>
                    <a:pt x="395" y="275"/>
                  </a:lnTo>
                  <a:lnTo>
                    <a:pt x="394" y="281"/>
                  </a:lnTo>
                  <a:lnTo>
                    <a:pt x="393" y="288"/>
                  </a:lnTo>
                  <a:lnTo>
                    <a:pt x="394" y="296"/>
                  </a:lnTo>
                  <a:lnTo>
                    <a:pt x="397" y="311"/>
                  </a:lnTo>
                  <a:lnTo>
                    <a:pt x="402" y="328"/>
                  </a:lnTo>
                  <a:lnTo>
                    <a:pt x="410" y="337"/>
                  </a:lnTo>
                  <a:lnTo>
                    <a:pt x="417" y="346"/>
                  </a:lnTo>
                  <a:lnTo>
                    <a:pt x="425" y="356"/>
                  </a:lnTo>
                  <a:lnTo>
                    <a:pt x="433" y="364"/>
                  </a:lnTo>
                  <a:lnTo>
                    <a:pt x="394" y="444"/>
                  </a:lnTo>
                  <a:lnTo>
                    <a:pt x="355" y="524"/>
                  </a:lnTo>
                  <a:lnTo>
                    <a:pt x="316" y="605"/>
                  </a:lnTo>
                  <a:lnTo>
                    <a:pt x="277" y="684"/>
                  </a:lnTo>
                  <a:lnTo>
                    <a:pt x="238" y="764"/>
                  </a:lnTo>
                  <a:lnTo>
                    <a:pt x="199" y="845"/>
                  </a:lnTo>
                  <a:lnTo>
                    <a:pt x="160" y="924"/>
                  </a:lnTo>
                  <a:lnTo>
                    <a:pt x="121" y="1004"/>
                  </a:lnTo>
                  <a:lnTo>
                    <a:pt x="111" y="996"/>
                  </a:lnTo>
                  <a:lnTo>
                    <a:pt x="101" y="989"/>
                  </a:lnTo>
                  <a:lnTo>
                    <a:pt x="87" y="989"/>
                  </a:lnTo>
                  <a:lnTo>
                    <a:pt x="76" y="991"/>
                  </a:lnTo>
                  <a:lnTo>
                    <a:pt x="70" y="992"/>
                  </a:lnTo>
                  <a:lnTo>
                    <a:pt x="65" y="994"/>
                  </a:lnTo>
                  <a:lnTo>
                    <a:pt x="61" y="996"/>
                  </a:lnTo>
                  <a:lnTo>
                    <a:pt x="57" y="1000"/>
                  </a:lnTo>
                  <a:lnTo>
                    <a:pt x="54" y="1002"/>
                  </a:lnTo>
                  <a:lnTo>
                    <a:pt x="51" y="1006"/>
                  </a:lnTo>
                  <a:lnTo>
                    <a:pt x="49" y="1011"/>
                  </a:lnTo>
                  <a:lnTo>
                    <a:pt x="46" y="1015"/>
                  </a:lnTo>
                  <a:lnTo>
                    <a:pt x="45" y="1020"/>
                  </a:lnTo>
                  <a:lnTo>
                    <a:pt x="44" y="1027"/>
                  </a:lnTo>
                  <a:lnTo>
                    <a:pt x="44" y="1033"/>
                  </a:lnTo>
                  <a:lnTo>
                    <a:pt x="44" y="1040"/>
                  </a:lnTo>
                  <a:lnTo>
                    <a:pt x="61" y="1067"/>
                  </a:lnTo>
                  <a:lnTo>
                    <a:pt x="77" y="1095"/>
                  </a:lnTo>
                  <a:lnTo>
                    <a:pt x="94" y="1123"/>
                  </a:lnTo>
                  <a:lnTo>
                    <a:pt x="111" y="1150"/>
                  </a:lnTo>
                  <a:lnTo>
                    <a:pt x="127" y="1178"/>
                  </a:lnTo>
                  <a:lnTo>
                    <a:pt x="144" y="1205"/>
                  </a:lnTo>
                  <a:lnTo>
                    <a:pt x="161" y="1233"/>
                  </a:lnTo>
                  <a:lnTo>
                    <a:pt x="177" y="1261"/>
                  </a:lnTo>
                  <a:lnTo>
                    <a:pt x="183" y="1271"/>
                  </a:lnTo>
                  <a:lnTo>
                    <a:pt x="216" y="1266"/>
                  </a:lnTo>
                  <a:lnTo>
                    <a:pt x="247" y="1262"/>
                  </a:lnTo>
                  <a:lnTo>
                    <a:pt x="280" y="1257"/>
                  </a:lnTo>
                  <a:lnTo>
                    <a:pt x="312" y="1253"/>
                  </a:lnTo>
                  <a:lnTo>
                    <a:pt x="344" y="1247"/>
                  </a:lnTo>
                  <a:lnTo>
                    <a:pt x="376" y="1243"/>
                  </a:lnTo>
                  <a:lnTo>
                    <a:pt x="409" y="1239"/>
                  </a:lnTo>
                  <a:lnTo>
                    <a:pt x="440" y="1234"/>
                  </a:lnTo>
                  <a:lnTo>
                    <a:pt x="446" y="1230"/>
                  </a:lnTo>
                  <a:lnTo>
                    <a:pt x="451" y="1226"/>
                  </a:lnTo>
                  <a:lnTo>
                    <a:pt x="455" y="1221"/>
                  </a:lnTo>
                  <a:lnTo>
                    <a:pt x="459" y="1217"/>
                  </a:lnTo>
                  <a:lnTo>
                    <a:pt x="461" y="1211"/>
                  </a:lnTo>
                  <a:lnTo>
                    <a:pt x="463" y="1207"/>
                  </a:lnTo>
                  <a:lnTo>
                    <a:pt x="464" y="1203"/>
                  </a:lnTo>
                  <a:lnTo>
                    <a:pt x="464" y="1197"/>
                  </a:lnTo>
                  <a:lnTo>
                    <a:pt x="464" y="1193"/>
                  </a:lnTo>
                  <a:lnTo>
                    <a:pt x="463" y="1188"/>
                  </a:lnTo>
                  <a:lnTo>
                    <a:pt x="461" y="1183"/>
                  </a:lnTo>
                  <a:lnTo>
                    <a:pt x="459" y="1178"/>
                  </a:lnTo>
                  <a:lnTo>
                    <a:pt x="452" y="1168"/>
                  </a:lnTo>
                  <a:lnTo>
                    <a:pt x="445" y="1157"/>
                  </a:lnTo>
                  <a:lnTo>
                    <a:pt x="431" y="1154"/>
                  </a:lnTo>
                  <a:lnTo>
                    <a:pt x="419" y="1151"/>
                  </a:lnTo>
                  <a:lnTo>
                    <a:pt x="514" y="944"/>
                  </a:lnTo>
                  <a:close/>
                  <a:moveTo>
                    <a:pt x="577" y="674"/>
                  </a:moveTo>
                  <a:lnTo>
                    <a:pt x="587" y="675"/>
                  </a:lnTo>
                  <a:lnTo>
                    <a:pt x="597" y="679"/>
                  </a:lnTo>
                  <a:lnTo>
                    <a:pt x="606" y="683"/>
                  </a:lnTo>
                  <a:lnTo>
                    <a:pt x="615" y="690"/>
                  </a:lnTo>
                  <a:lnTo>
                    <a:pt x="621" y="697"/>
                  </a:lnTo>
                  <a:lnTo>
                    <a:pt x="626" y="707"/>
                  </a:lnTo>
                  <a:lnTo>
                    <a:pt x="629" y="717"/>
                  </a:lnTo>
                  <a:lnTo>
                    <a:pt x="630" y="728"/>
                  </a:lnTo>
                  <a:lnTo>
                    <a:pt x="629" y="739"/>
                  </a:lnTo>
                  <a:lnTo>
                    <a:pt x="626" y="749"/>
                  </a:lnTo>
                  <a:lnTo>
                    <a:pt x="621" y="757"/>
                  </a:lnTo>
                  <a:lnTo>
                    <a:pt x="615" y="766"/>
                  </a:lnTo>
                  <a:lnTo>
                    <a:pt x="606" y="773"/>
                  </a:lnTo>
                  <a:lnTo>
                    <a:pt x="597" y="777"/>
                  </a:lnTo>
                  <a:lnTo>
                    <a:pt x="587" y="780"/>
                  </a:lnTo>
                  <a:lnTo>
                    <a:pt x="577" y="781"/>
                  </a:lnTo>
                  <a:lnTo>
                    <a:pt x="566" y="780"/>
                  </a:lnTo>
                  <a:lnTo>
                    <a:pt x="556" y="777"/>
                  </a:lnTo>
                  <a:lnTo>
                    <a:pt x="546" y="773"/>
                  </a:lnTo>
                  <a:lnTo>
                    <a:pt x="538" y="766"/>
                  </a:lnTo>
                  <a:lnTo>
                    <a:pt x="532" y="757"/>
                  </a:lnTo>
                  <a:lnTo>
                    <a:pt x="526" y="749"/>
                  </a:lnTo>
                  <a:lnTo>
                    <a:pt x="524" y="739"/>
                  </a:lnTo>
                  <a:lnTo>
                    <a:pt x="523" y="728"/>
                  </a:lnTo>
                  <a:lnTo>
                    <a:pt x="524" y="717"/>
                  </a:lnTo>
                  <a:lnTo>
                    <a:pt x="526" y="707"/>
                  </a:lnTo>
                  <a:lnTo>
                    <a:pt x="532" y="697"/>
                  </a:lnTo>
                  <a:lnTo>
                    <a:pt x="538" y="690"/>
                  </a:lnTo>
                  <a:lnTo>
                    <a:pt x="546" y="683"/>
                  </a:lnTo>
                  <a:lnTo>
                    <a:pt x="556" y="679"/>
                  </a:lnTo>
                  <a:lnTo>
                    <a:pt x="566" y="675"/>
                  </a:lnTo>
                  <a:lnTo>
                    <a:pt x="577" y="67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800"/>
            </a:p>
          </p:txBody>
        </p:sp>
        <p:sp>
          <p:nvSpPr>
            <p:cNvPr id="69" name="Freeform 8"/>
            <p:cNvSpPr>
              <a:spLocks/>
            </p:cNvSpPr>
            <p:nvPr/>
          </p:nvSpPr>
          <p:spPr bwMode="auto">
            <a:xfrm>
              <a:off x="-2230438" y="4618038"/>
              <a:ext cx="242888" cy="26988"/>
            </a:xfrm>
            <a:custGeom>
              <a:avLst/>
              <a:gdLst>
                <a:gd name="T0" fmla="*/ 1304 w 1380"/>
                <a:gd name="T1" fmla="*/ 0 h 153"/>
                <a:gd name="T2" fmla="*/ 1319 w 1380"/>
                <a:gd name="T3" fmla="*/ 2 h 153"/>
                <a:gd name="T4" fmla="*/ 1333 w 1380"/>
                <a:gd name="T5" fmla="*/ 6 h 153"/>
                <a:gd name="T6" fmla="*/ 1347 w 1380"/>
                <a:gd name="T7" fmla="*/ 13 h 153"/>
                <a:gd name="T8" fmla="*/ 1359 w 1380"/>
                <a:gd name="T9" fmla="*/ 22 h 153"/>
                <a:gd name="T10" fmla="*/ 1367 w 1380"/>
                <a:gd name="T11" fmla="*/ 33 h 153"/>
                <a:gd name="T12" fmla="*/ 1375 w 1380"/>
                <a:gd name="T13" fmla="*/ 46 h 153"/>
                <a:gd name="T14" fmla="*/ 1379 w 1380"/>
                <a:gd name="T15" fmla="*/ 62 h 153"/>
                <a:gd name="T16" fmla="*/ 1380 w 1380"/>
                <a:gd name="T17" fmla="*/ 77 h 153"/>
                <a:gd name="T18" fmla="*/ 1380 w 1380"/>
                <a:gd name="T19" fmla="*/ 85 h 153"/>
                <a:gd name="T20" fmla="*/ 1377 w 1380"/>
                <a:gd name="T21" fmla="*/ 100 h 153"/>
                <a:gd name="T22" fmla="*/ 1372 w 1380"/>
                <a:gd name="T23" fmla="*/ 113 h 153"/>
                <a:gd name="T24" fmla="*/ 1363 w 1380"/>
                <a:gd name="T25" fmla="*/ 125 h 153"/>
                <a:gd name="T26" fmla="*/ 1353 w 1380"/>
                <a:gd name="T27" fmla="*/ 136 h 153"/>
                <a:gd name="T28" fmla="*/ 1340 w 1380"/>
                <a:gd name="T29" fmla="*/ 144 h 153"/>
                <a:gd name="T30" fmla="*/ 1327 w 1380"/>
                <a:gd name="T31" fmla="*/ 150 h 153"/>
                <a:gd name="T32" fmla="*/ 1312 w 1380"/>
                <a:gd name="T33" fmla="*/ 153 h 153"/>
                <a:gd name="T34" fmla="*/ 76 w 1380"/>
                <a:gd name="T35" fmla="*/ 153 h 153"/>
                <a:gd name="T36" fmla="*/ 61 w 1380"/>
                <a:gd name="T37" fmla="*/ 152 h 153"/>
                <a:gd name="T38" fmla="*/ 46 w 1380"/>
                <a:gd name="T39" fmla="*/ 147 h 153"/>
                <a:gd name="T40" fmla="*/ 33 w 1380"/>
                <a:gd name="T41" fmla="*/ 140 h 153"/>
                <a:gd name="T42" fmla="*/ 21 w 1380"/>
                <a:gd name="T43" fmla="*/ 131 h 153"/>
                <a:gd name="T44" fmla="*/ 13 w 1380"/>
                <a:gd name="T45" fmla="*/ 120 h 153"/>
                <a:gd name="T46" fmla="*/ 5 w 1380"/>
                <a:gd name="T47" fmla="*/ 106 h 153"/>
                <a:gd name="T48" fmla="*/ 1 w 1380"/>
                <a:gd name="T49" fmla="*/ 92 h 153"/>
                <a:gd name="T50" fmla="*/ 0 w 1380"/>
                <a:gd name="T51" fmla="*/ 77 h 153"/>
                <a:gd name="T52" fmla="*/ 0 w 1380"/>
                <a:gd name="T53" fmla="*/ 68 h 153"/>
                <a:gd name="T54" fmla="*/ 3 w 1380"/>
                <a:gd name="T55" fmla="*/ 54 h 153"/>
                <a:gd name="T56" fmla="*/ 8 w 1380"/>
                <a:gd name="T57" fmla="*/ 40 h 153"/>
                <a:gd name="T58" fmla="*/ 17 w 1380"/>
                <a:gd name="T59" fmla="*/ 28 h 153"/>
                <a:gd name="T60" fmla="*/ 27 w 1380"/>
                <a:gd name="T61" fmla="*/ 17 h 153"/>
                <a:gd name="T62" fmla="*/ 40 w 1380"/>
                <a:gd name="T63" fmla="*/ 9 h 153"/>
                <a:gd name="T64" fmla="*/ 53 w 1380"/>
                <a:gd name="T65" fmla="*/ 3 h 153"/>
                <a:gd name="T66" fmla="*/ 68 w 1380"/>
                <a:gd name="T67" fmla="*/ 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0" h="153">
                  <a:moveTo>
                    <a:pt x="76" y="0"/>
                  </a:moveTo>
                  <a:lnTo>
                    <a:pt x="1304" y="0"/>
                  </a:lnTo>
                  <a:lnTo>
                    <a:pt x="1312" y="1"/>
                  </a:lnTo>
                  <a:lnTo>
                    <a:pt x="1319" y="2"/>
                  </a:lnTo>
                  <a:lnTo>
                    <a:pt x="1327" y="3"/>
                  </a:lnTo>
                  <a:lnTo>
                    <a:pt x="1333" y="6"/>
                  </a:lnTo>
                  <a:lnTo>
                    <a:pt x="1340" y="9"/>
                  </a:lnTo>
                  <a:lnTo>
                    <a:pt x="1347" y="13"/>
                  </a:lnTo>
                  <a:lnTo>
                    <a:pt x="1353" y="17"/>
                  </a:lnTo>
                  <a:lnTo>
                    <a:pt x="1359" y="22"/>
                  </a:lnTo>
                  <a:lnTo>
                    <a:pt x="1363" y="28"/>
                  </a:lnTo>
                  <a:lnTo>
                    <a:pt x="1367" y="33"/>
                  </a:lnTo>
                  <a:lnTo>
                    <a:pt x="1372" y="40"/>
                  </a:lnTo>
                  <a:lnTo>
                    <a:pt x="1375" y="46"/>
                  </a:lnTo>
                  <a:lnTo>
                    <a:pt x="1377" y="54"/>
                  </a:lnTo>
                  <a:lnTo>
                    <a:pt x="1379" y="62"/>
                  </a:lnTo>
                  <a:lnTo>
                    <a:pt x="1380" y="68"/>
                  </a:lnTo>
                  <a:lnTo>
                    <a:pt x="1380" y="77"/>
                  </a:lnTo>
                  <a:lnTo>
                    <a:pt x="1380" y="77"/>
                  </a:lnTo>
                  <a:lnTo>
                    <a:pt x="1380" y="85"/>
                  </a:lnTo>
                  <a:lnTo>
                    <a:pt x="1379" y="92"/>
                  </a:lnTo>
                  <a:lnTo>
                    <a:pt x="1377" y="100"/>
                  </a:lnTo>
                  <a:lnTo>
                    <a:pt x="1375" y="106"/>
                  </a:lnTo>
                  <a:lnTo>
                    <a:pt x="1372" y="113"/>
                  </a:lnTo>
                  <a:lnTo>
                    <a:pt x="1367" y="120"/>
                  </a:lnTo>
                  <a:lnTo>
                    <a:pt x="1363" y="125"/>
                  </a:lnTo>
                  <a:lnTo>
                    <a:pt x="1359" y="131"/>
                  </a:lnTo>
                  <a:lnTo>
                    <a:pt x="1353" y="136"/>
                  </a:lnTo>
                  <a:lnTo>
                    <a:pt x="1347" y="140"/>
                  </a:lnTo>
                  <a:lnTo>
                    <a:pt x="1340" y="144"/>
                  </a:lnTo>
                  <a:lnTo>
                    <a:pt x="1333" y="147"/>
                  </a:lnTo>
                  <a:lnTo>
                    <a:pt x="1327" y="150"/>
                  </a:lnTo>
                  <a:lnTo>
                    <a:pt x="1319" y="152"/>
                  </a:lnTo>
                  <a:lnTo>
                    <a:pt x="1312" y="153"/>
                  </a:lnTo>
                  <a:lnTo>
                    <a:pt x="1304" y="153"/>
                  </a:lnTo>
                  <a:lnTo>
                    <a:pt x="76" y="153"/>
                  </a:lnTo>
                  <a:lnTo>
                    <a:pt x="68" y="153"/>
                  </a:lnTo>
                  <a:lnTo>
                    <a:pt x="61" y="152"/>
                  </a:lnTo>
                  <a:lnTo>
                    <a:pt x="53" y="150"/>
                  </a:lnTo>
                  <a:lnTo>
                    <a:pt x="46" y="147"/>
                  </a:lnTo>
                  <a:lnTo>
                    <a:pt x="40" y="144"/>
                  </a:lnTo>
                  <a:lnTo>
                    <a:pt x="33" y="140"/>
                  </a:lnTo>
                  <a:lnTo>
                    <a:pt x="27" y="136"/>
                  </a:lnTo>
                  <a:lnTo>
                    <a:pt x="21" y="131"/>
                  </a:lnTo>
                  <a:lnTo>
                    <a:pt x="17" y="125"/>
                  </a:lnTo>
                  <a:lnTo>
                    <a:pt x="13" y="120"/>
                  </a:lnTo>
                  <a:lnTo>
                    <a:pt x="8" y="113"/>
                  </a:lnTo>
                  <a:lnTo>
                    <a:pt x="5" y="106"/>
                  </a:lnTo>
                  <a:lnTo>
                    <a:pt x="3" y="100"/>
                  </a:lnTo>
                  <a:lnTo>
                    <a:pt x="1" y="92"/>
                  </a:lnTo>
                  <a:lnTo>
                    <a:pt x="0" y="85"/>
                  </a:lnTo>
                  <a:lnTo>
                    <a:pt x="0" y="77"/>
                  </a:lnTo>
                  <a:lnTo>
                    <a:pt x="0" y="77"/>
                  </a:lnTo>
                  <a:lnTo>
                    <a:pt x="0" y="68"/>
                  </a:lnTo>
                  <a:lnTo>
                    <a:pt x="1" y="62"/>
                  </a:lnTo>
                  <a:lnTo>
                    <a:pt x="3" y="54"/>
                  </a:lnTo>
                  <a:lnTo>
                    <a:pt x="5" y="46"/>
                  </a:lnTo>
                  <a:lnTo>
                    <a:pt x="8" y="40"/>
                  </a:lnTo>
                  <a:lnTo>
                    <a:pt x="13" y="33"/>
                  </a:lnTo>
                  <a:lnTo>
                    <a:pt x="17" y="28"/>
                  </a:lnTo>
                  <a:lnTo>
                    <a:pt x="21" y="22"/>
                  </a:lnTo>
                  <a:lnTo>
                    <a:pt x="27" y="17"/>
                  </a:lnTo>
                  <a:lnTo>
                    <a:pt x="33" y="13"/>
                  </a:lnTo>
                  <a:lnTo>
                    <a:pt x="40" y="9"/>
                  </a:lnTo>
                  <a:lnTo>
                    <a:pt x="46" y="6"/>
                  </a:lnTo>
                  <a:lnTo>
                    <a:pt x="53" y="3"/>
                  </a:lnTo>
                  <a:lnTo>
                    <a:pt x="61" y="2"/>
                  </a:lnTo>
                  <a:lnTo>
                    <a:pt x="68" y="1"/>
                  </a:lnTo>
                  <a:lnTo>
                    <a:pt x="76"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800"/>
            </a:p>
          </p:txBody>
        </p:sp>
      </p:grpSp>
      <p:sp>
        <p:nvSpPr>
          <p:cNvPr id="70" name="Rectangle 69"/>
          <p:cNvSpPr/>
          <p:nvPr/>
        </p:nvSpPr>
        <p:spPr>
          <a:xfrm>
            <a:off x="658246" y="3173206"/>
            <a:ext cx="2084480" cy="5510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US" sz="1000" dirty="0">
              <a:solidFill>
                <a:schemeClr val="tx1"/>
              </a:solidFill>
              <a:latin typeface="Calibri" charset="0"/>
              <a:ea typeface="ＭＳ Ｐゴシック" charset="0"/>
              <a:cs typeface="ＭＳ Ｐゴシック" charset="0"/>
            </a:endParaRPr>
          </a:p>
        </p:txBody>
      </p:sp>
      <p:grpSp>
        <p:nvGrpSpPr>
          <p:cNvPr id="71" name="Group 70"/>
          <p:cNvGrpSpPr/>
          <p:nvPr/>
        </p:nvGrpSpPr>
        <p:grpSpPr>
          <a:xfrm>
            <a:off x="633306" y="4254783"/>
            <a:ext cx="3996615" cy="222148"/>
            <a:chOff x="252856" y="3340071"/>
            <a:chExt cx="3996615" cy="222148"/>
          </a:xfrm>
        </p:grpSpPr>
        <p:grpSp>
          <p:nvGrpSpPr>
            <p:cNvPr id="72" name="Group 8"/>
            <p:cNvGrpSpPr/>
            <p:nvPr>
              <p:custDataLst>
                <p:tags r:id="rId3"/>
              </p:custDataLst>
            </p:nvPr>
          </p:nvGrpSpPr>
          <p:grpSpPr>
            <a:xfrm>
              <a:off x="4026648" y="3340071"/>
              <a:ext cx="222823" cy="222148"/>
              <a:chOff x="7535636" y="2666546"/>
              <a:chExt cx="523875" cy="522288"/>
            </a:xfrm>
            <a:effectLst>
              <a:outerShdw blurRad="25400" dist="12700" dir="5400000" algn="t" rotWithShape="0">
                <a:prstClr val="black">
                  <a:alpha val="25000"/>
                </a:prstClr>
              </a:outerShdw>
            </a:effectLst>
          </p:grpSpPr>
          <p:sp>
            <p:nvSpPr>
              <p:cNvPr id="74" name="Oval 73"/>
              <p:cNvSpPr/>
              <p:nvPr/>
            </p:nvSpPr>
            <p:spPr bwMode="auto">
              <a:xfrm>
                <a:off x="7535636" y="2666546"/>
                <a:ext cx="523875" cy="522288"/>
              </a:xfrm>
              <a:prstGeom prst="ellipse">
                <a:avLst/>
              </a:prstGeom>
              <a:gradFill>
                <a:gsLst>
                  <a:gs pos="0">
                    <a:schemeClr val="bg1"/>
                  </a:gs>
                  <a:gs pos="100000">
                    <a:schemeClr val="bg1">
                      <a:lumMod val="85000"/>
                    </a:schemeClr>
                  </a:gs>
                </a:gsLst>
                <a:lin ang="5400000" scaled="0"/>
              </a:gradFill>
              <a:ln w="317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ea typeface="ＭＳ Ｐゴシック" charset="-128"/>
                  <a:cs typeface="Arial" charset="0"/>
                </a:endParaRPr>
              </a:p>
            </p:txBody>
          </p:sp>
          <p:sp>
            <p:nvSpPr>
              <p:cNvPr id="75" name="Oval 74"/>
              <p:cNvSpPr/>
              <p:nvPr/>
            </p:nvSpPr>
            <p:spPr bwMode="auto">
              <a:xfrm>
                <a:off x="7681686" y="2807834"/>
                <a:ext cx="239713" cy="239712"/>
              </a:xfrm>
              <a:prstGeom prst="ellipse">
                <a:avLst/>
              </a:prstGeom>
              <a:solidFill>
                <a:srgbClr val="2A9B18"/>
              </a:solidFill>
              <a:ln w="9525">
                <a:noFill/>
                <a:round/>
                <a:headEnd/>
                <a:tailEnd/>
              </a:ln>
              <a:effectLst/>
            </p:spPr>
            <p:txBody>
              <a:bodyPr/>
              <a:lstStyle/>
              <a:p>
                <a:pPr>
                  <a:defRPr/>
                </a:pPr>
                <a:endParaRPr lang="nb-NO">
                  <a:latin typeface="Calibri" charset="0"/>
                  <a:ea typeface="ＭＳ Ｐゴシック" charset="-128"/>
                </a:endParaRPr>
              </a:p>
            </p:txBody>
          </p:sp>
        </p:grpSp>
        <p:cxnSp>
          <p:nvCxnSpPr>
            <p:cNvPr id="73" name="Straight Connector 72"/>
            <p:cNvCxnSpPr/>
            <p:nvPr>
              <p:custDataLst>
                <p:tags r:id="rId4"/>
              </p:custDataLst>
            </p:nvPr>
          </p:nvCxnSpPr>
          <p:spPr>
            <a:xfrm>
              <a:off x="252856" y="3448050"/>
              <a:ext cx="3881177" cy="0"/>
            </a:xfrm>
            <a:prstGeom prst="line">
              <a:avLst/>
            </a:prstGeom>
            <a:ln w="3175">
              <a:solidFill>
                <a:srgbClr val="2A9B18"/>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grpSp>
      <p:sp>
        <p:nvSpPr>
          <p:cNvPr id="78" name="TextBox 77"/>
          <p:cNvSpPr txBox="1"/>
          <p:nvPr/>
        </p:nvSpPr>
        <p:spPr>
          <a:xfrm>
            <a:off x="177422" y="4120505"/>
            <a:ext cx="2707072" cy="276999"/>
          </a:xfrm>
          <a:prstGeom prst="rect">
            <a:avLst/>
          </a:prstGeom>
          <a:noFill/>
        </p:spPr>
        <p:txBody>
          <a:bodyPr wrap="square" lIns="0" tIns="0" rIns="0" bIns="0" rtlCol="0" anchor="b">
            <a:spAutoFit/>
          </a:bodyPr>
          <a:lstStyle/>
          <a:p>
            <a:pPr lvl="2"/>
            <a:r>
              <a:rPr lang="en-US" b="1" i="1" dirty="0" smtClean="0"/>
              <a:t>Political Parties</a:t>
            </a:r>
          </a:p>
        </p:txBody>
      </p:sp>
      <p:sp>
        <p:nvSpPr>
          <p:cNvPr id="79" name="Rectangle 78"/>
          <p:cNvSpPr/>
          <p:nvPr/>
        </p:nvSpPr>
        <p:spPr>
          <a:xfrm>
            <a:off x="658246" y="4416340"/>
            <a:ext cx="2084480" cy="5510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endParaRPr lang="en-US" sz="1000" dirty="0">
              <a:solidFill>
                <a:schemeClr val="tx1"/>
              </a:solidFill>
              <a:latin typeface="Calibri" charset="0"/>
              <a:ea typeface="ＭＳ Ｐゴシック" charset="0"/>
              <a:cs typeface="ＭＳ Ｐゴシック" charset="0"/>
            </a:endParaRPr>
          </a:p>
        </p:txBody>
      </p:sp>
      <p:grpSp>
        <p:nvGrpSpPr>
          <p:cNvPr id="80" name="Group 79"/>
          <p:cNvGrpSpPr/>
          <p:nvPr/>
        </p:nvGrpSpPr>
        <p:grpSpPr>
          <a:xfrm>
            <a:off x="697428" y="3998917"/>
            <a:ext cx="328648" cy="315427"/>
            <a:chOff x="354920" y="1344613"/>
            <a:chExt cx="552450" cy="530225"/>
          </a:xfrm>
          <a:gradFill flip="none" rotWithShape="1">
            <a:gsLst>
              <a:gs pos="0">
                <a:srgbClr val="2A9B18">
                  <a:shade val="30000"/>
                  <a:satMod val="115000"/>
                </a:srgbClr>
              </a:gs>
              <a:gs pos="50000">
                <a:srgbClr val="2A9B18">
                  <a:shade val="67500"/>
                  <a:satMod val="115000"/>
                </a:srgbClr>
              </a:gs>
              <a:gs pos="100000">
                <a:srgbClr val="2A9B18">
                  <a:shade val="100000"/>
                  <a:satMod val="115000"/>
                </a:srgbClr>
              </a:gs>
            </a:gsLst>
            <a:lin ang="16200000" scaled="1"/>
            <a:tileRect/>
          </a:gradFill>
        </p:grpSpPr>
        <p:sp>
          <p:nvSpPr>
            <p:cNvPr id="81" name="Freeform 17"/>
            <p:cNvSpPr>
              <a:spLocks noEditPoints="1"/>
            </p:cNvSpPr>
            <p:nvPr/>
          </p:nvSpPr>
          <p:spPr bwMode="auto">
            <a:xfrm>
              <a:off x="451758" y="1344613"/>
              <a:ext cx="393700" cy="185738"/>
            </a:xfrm>
            <a:custGeom>
              <a:avLst/>
              <a:gdLst>
                <a:gd name="T0" fmla="*/ 61 w 248"/>
                <a:gd name="T1" fmla="*/ 1 h 117"/>
                <a:gd name="T2" fmla="*/ 61 w 248"/>
                <a:gd name="T3" fmla="*/ 1 h 117"/>
                <a:gd name="T4" fmla="*/ 57 w 248"/>
                <a:gd name="T5" fmla="*/ 2 h 117"/>
                <a:gd name="T6" fmla="*/ 52 w 248"/>
                <a:gd name="T7" fmla="*/ 3 h 117"/>
                <a:gd name="T8" fmla="*/ 45 w 248"/>
                <a:gd name="T9" fmla="*/ 10 h 117"/>
                <a:gd name="T10" fmla="*/ 37 w 248"/>
                <a:gd name="T11" fmla="*/ 17 h 117"/>
                <a:gd name="T12" fmla="*/ 30 w 248"/>
                <a:gd name="T13" fmla="*/ 28 h 117"/>
                <a:gd name="T14" fmla="*/ 15 w 248"/>
                <a:gd name="T15" fmla="*/ 52 h 117"/>
                <a:gd name="T16" fmla="*/ 0 w 248"/>
                <a:gd name="T17" fmla="*/ 76 h 117"/>
                <a:gd name="T18" fmla="*/ 0 w 248"/>
                <a:gd name="T19" fmla="*/ 76 h 117"/>
                <a:gd name="T20" fmla="*/ 34 w 248"/>
                <a:gd name="T21" fmla="*/ 97 h 117"/>
                <a:gd name="T22" fmla="*/ 68 w 248"/>
                <a:gd name="T23" fmla="*/ 117 h 117"/>
                <a:gd name="T24" fmla="*/ 115 w 248"/>
                <a:gd name="T25" fmla="*/ 37 h 117"/>
                <a:gd name="T26" fmla="*/ 115 w 248"/>
                <a:gd name="T27" fmla="*/ 37 h 117"/>
                <a:gd name="T28" fmla="*/ 112 w 248"/>
                <a:gd name="T29" fmla="*/ 31 h 117"/>
                <a:gd name="T30" fmla="*/ 108 w 248"/>
                <a:gd name="T31" fmla="*/ 25 h 117"/>
                <a:gd name="T32" fmla="*/ 101 w 248"/>
                <a:gd name="T33" fmla="*/ 17 h 117"/>
                <a:gd name="T34" fmla="*/ 93 w 248"/>
                <a:gd name="T35" fmla="*/ 11 h 117"/>
                <a:gd name="T36" fmla="*/ 84 w 248"/>
                <a:gd name="T37" fmla="*/ 4 h 117"/>
                <a:gd name="T38" fmla="*/ 78 w 248"/>
                <a:gd name="T39" fmla="*/ 2 h 117"/>
                <a:gd name="T40" fmla="*/ 73 w 248"/>
                <a:gd name="T41" fmla="*/ 1 h 117"/>
                <a:gd name="T42" fmla="*/ 67 w 248"/>
                <a:gd name="T43" fmla="*/ 0 h 117"/>
                <a:gd name="T44" fmla="*/ 61 w 248"/>
                <a:gd name="T45" fmla="*/ 1 h 117"/>
                <a:gd name="T46" fmla="*/ 61 w 248"/>
                <a:gd name="T47" fmla="*/ 1 h 117"/>
                <a:gd name="T48" fmla="*/ 220 w 248"/>
                <a:gd name="T49" fmla="*/ 52 h 117"/>
                <a:gd name="T50" fmla="*/ 220 w 248"/>
                <a:gd name="T51" fmla="*/ 52 h 117"/>
                <a:gd name="T52" fmla="*/ 214 w 248"/>
                <a:gd name="T53" fmla="*/ 41 h 117"/>
                <a:gd name="T54" fmla="*/ 206 w 248"/>
                <a:gd name="T55" fmla="*/ 28 h 117"/>
                <a:gd name="T56" fmla="*/ 197 w 248"/>
                <a:gd name="T57" fmla="*/ 16 h 117"/>
                <a:gd name="T58" fmla="*/ 193 w 248"/>
                <a:gd name="T59" fmla="*/ 11 h 117"/>
                <a:gd name="T60" fmla="*/ 189 w 248"/>
                <a:gd name="T61" fmla="*/ 7 h 117"/>
                <a:gd name="T62" fmla="*/ 189 w 248"/>
                <a:gd name="T63" fmla="*/ 7 h 117"/>
                <a:gd name="T64" fmla="*/ 181 w 248"/>
                <a:gd name="T65" fmla="*/ 5 h 117"/>
                <a:gd name="T66" fmla="*/ 169 w 248"/>
                <a:gd name="T67" fmla="*/ 4 h 117"/>
                <a:gd name="T68" fmla="*/ 135 w 248"/>
                <a:gd name="T69" fmla="*/ 2 h 117"/>
                <a:gd name="T70" fmla="*/ 103 w 248"/>
                <a:gd name="T71" fmla="*/ 1 h 117"/>
                <a:gd name="T72" fmla="*/ 89 w 248"/>
                <a:gd name="T73" fmla="*/ 1 h 117"/>
                <a:gd name="T74" fmla="*/ 89 w 248"/>
                <a:gd name="T75" fmla="*/ 1 h 117"/>
                <a:gd name="T76" fmla="*/ 93 w 248"/>
                <a:gd name="T77" fmla="*/ 3 h 117"/>
                <a:gd name="T78" fmla="*/ 99 w 248"/>
                <a:gd name="T79" fmla="*/ 9 h 117"/>
                <a:gd name="T80" fmla="*/ 109 w 248"/>
                <a:gd name="T81" fmla="*/ 17 h 117"/>
                <a:gd name="T82" fmla="*/ 109 w 248"/>
                <a:gd name="T83" fmla="*/ 17 h 117"/>
                <a:gd name="T84" fmla="*/ 114 w 248"/>
                <a:gd name="T85" fmla="*/ 24 h 117"/>
                <a:gd name="T86" fmla="*/ 120 w 248"/>
                <a:gd name="T87" fmla="*/ 32 h 117"/>
                <a:gd name="T88" fmla="*/ 132 w 248"/>
                <a:gd name="T89" fmla="*/ 54 h 117"/>
                <a:gd name="T90" fmla="*/ 143 w 248"/>
                <a:gd name="T91" fmla="*/ 76 h 117"/>
                <a:gd name="T92" fmla="*/ 149 w 248"/>
                <a:gd name="T93" fmla="*/ 91 h 117"/>
                <a:gd name="T94" fmla="*/ 120 w 248"/>
                <a:gd name="T95" fmla="*/ 108 h 117"/>
                <a:gd name="T96" fmla="*/ 204 w 248"/>
                <a:gd name="T97" fmla="*/ 110 h 117"/>
                <a:gd name="T98" fmla="*/ 248 w 248"/>
                <a:gd name="T99" fmla="*/ 36 h 117"/>
                <a:gd name="T100" fmla="*/ 220 w 248"/>
                <a:gd name="T101" fmla="*/ 5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8" h="117">
                  <a:moveTo>
                    <a:pt x="61" y="1"/>
                  </a:moveTo>
                  <a:lnTo>
                    <a:pt x="61" y="1"/>
                  </a:lnTo>
                  <a:lnTo>
                    <a:pt x="57" y="2"/>
                  </a:lnTo>
                  <a:lnTo>
                    <a:pt x="52" y="3"/>
                  </a:lnTo>
                  <a:lnTo>
                    <a:pt x="45" y="10"/>
                  </a:lnTo>
                  <a:lnTo>
                    <a:pt x="37" y="17"/>
                  </a:lnTo>
                  <a:lnTo>
                    <a:pt x="30" y="28"/>
                  </a:lnTo>
                  <a:lnTo>
                    <a:pt x="15" y="52"/>
                  </a:lnTo>
                  <a:lnTo>
                    <a:pt x="0" y="76"/>
                  </a:lnTo>
                  <a:lnTo>
                    <a:pt x="0" y="76"/>
                  </a:lnTo>
                  <a:lnTo>
                    <a:pt x="34" y="97"/>
                  </a:lnTo>
                  <a:lnTo>
                    <a:pt x="68" y="117"/>
                  </a:lnTo>
                  <a:lnTo>
                    <a:pt x="115" y="37"/>
                  </a:lnTo>
                  <a:lnTo>
                    <a:pt x="115" y="37"/>
                  </a:lnTo>
                  <a:lnTo>
                    <a:pt x="112" y="31"/>
                  </a:lnTo>
                  <a:lnTo>
                    <a:pt x="108" y="25"/>
                  </a:lnTo>
                  <a:lnTo>
                    <a:pt x="101" y="17"/>
                  </a:lnTo>
                  <a:lnTo>
                    <a:pt x="93" y="11"/>
                  </a:lnTo>
                  <a:lnTo>
                    <a:pt x="84" y="4"/>
                  </a:lnTo>
                  <a:lnTo>
                    <a:pt x="78" y="2"/>
                  </a:lnTo>
                  <a:lnTo>
                    <a:pt x="73" y="1"/>
                  </a:lnTo>
                  <a:lnTo>
                    <a:pt x="67" y="0"/>
                  </a:lnTo>
                  <a:lnTo>
                    <a:pt x="61" y="1"/>
                  </a:lnTo>
                  <a:lnTo>
                    <a:pt x="61" y="1"/>
                  </a:lnTo>
                  <a:close/>
                  <a:moveTo>
                    <a:pt x="220" y="52"/>
                  </a:moveTo>
                  <a:lnTo>
                    <a:pt x="220" y="52"/>
                  </a:lnTo>
                  <a:lnTo>
                    <a:pt x="214" y="41"/>
                  </a:lnTo>
                  <a:lnTo>
                    <a:pt x="206" y="28"/>
                  </a:lnTo>
                  <a:lnTo>
                    <a:pt x="197" y="16"/>
                  </a:lnTo>
                  <a:lnTo>
                    <a:pt x="193" y="11"/>
                  </a:lnTo>
                  <a:lnTo>
                    <a:pt x="189" y="7"/>
                  </a:lnTo>
                  <a:lnTo>
                    <a:pt x="189" y="7"/>
                  </a:lnTo>
                  <a:lnTo>
                    <a:pt x="181" y="5"/>
                  </a:lnTo>
                  <a:lnTo>
                    <a:pt x="169" y="4"/>
                  </a:lnTo>
                  <a:lnTo>
                    <a:pt x="135" y="2"/>
                  </a:lnTo>
                  <a:lnTo>
                    <a:pt x="103" y="1"/>
                  </a:lnTo>
                  <a:lnTo>
                    <a:pt x="89" y="1"/>
                  </a:lnTo>
                  <a:lnTo>
                    <a:pt x="89" y="1"/>
                  </a:lnTo>
                  <a:lnTo>
                    <a:pt x="93" y="3"/>
                  </a:lnTo>
                  <a:lnTo>
                    <a:pt x="99" y="9"/>
                  </a:lnTo>
                  <a:lnTo>
                    <a:pt x="109" y="17"/>
                  </a:lnTo>
                  <a:lnTo>
                    <a:pt x="109" y="17"/>
                  </a:lnTo>
                  <a:lnTo>
                    <a:pt x="114" y="24"/>
                  </a:lnTo>
                  <a:lnTo>
                    <a:pt x="120" y="32"/>
                  </a:lnTo>
                  <a:lnTo>
                    <a:pt x="132" y="54"/>
                  </a:lnTo>
                  <a:lnTo>
                    <a:pt x="143" y="76"/>
                  </a:lnTo>
                  <a:lnTo>
                    <a:pt x="149" y="91"/>
                  </a:lnTo>
                  <a:lnTo>
                    <a:pt x="120" y="108"/>
                  </a:lnTo>
                  <a:lnTo>
                    <a:pt x="204" y="110"/>
                  </a:lnTo>
                  <a:lnTo>
                    <a:pt x="248" y="36"/>
                  </a:lnTo>
                  <a:lnTo>
                    <a:pt x="220"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8"/>
            <p:cNvSpPr>
              <a:spLocks noEditPoints="1"/>
            </p:cNvSpPr>
            <p:nvPr/>
          </p:nvSpPr>
          <p:spPr bwMode="auto">
            <a:xfrm>
              <a:off x="354920" y="1516063"/>
              <a:ext cx="257175" cy="304800"/>
            </a:xfrm>
            <a:custGeom>
              <a:avLst/>
              <a:gdLst>
                <a:gd name="T0" fmla="*/ 67 w 162"/>
                <a:gd name="T1" fmla="*/ 179 h 192"/>
                <a:gd name="T2" fmla="*/ 67 w 162"/>
                <a:gd name="T3" fmla="*/ 179 h 192"/>
                <a:gd name="T4" fmla="*/ 70 w 162"/>
                <a:gd name="T5" fmla="*/ 181 h 192"/>
                <a:gd name="T6" fmla="*/ 73 w 162"/>
                <a:gd name="T7" fmla="*/ 184 h 192"/>
                <a:gd name="T8" fmla="*/ 82 w 162"/>
                <a:gd name="T9" fmla="*/ 188 h 192"/>
                <a:gd name="T10" fmla="*/ 93 w 162"/>
                <a:gd name="T11" fmla="*/ 190 h 192"/>
                <a:gd name="T12" fmla="*/ 106 w 162"/>
                <a:gd name="T13" fmla="*/ 191 h 192"/>
                <a:gd name="T14" fmla="*/ 134 w 162"/>
                <a:gd name="T15" fmla="*/ 192 h 192"/>
                <a:gd name="T16" fmla="*/ 162 w 162"/>
                <a:gd name="T17" fmla="*/ 191 h 192"/>
                <a:gd name="T18" fmla="*/ 162 w 162"/>
                <a:gd name="T19" fmla="*/ 191 h 192"/>
                <a:gd name="T20" fmla="*/ 162 w 162"/>
                <a:gd name="T21" fmla="*/ 152 h 192"/>
                <a:gd name="T22" fmla="*/ 162 w 162"/>
                <a:gd name="T23" fmla="*/ 113 h 192"/>
                <a:gd name="T24" fmla="*/ 69 w 162"/>
                <a:gd name="T25" fmla="*/ 113 h 192"/>
                <a:gd name="T26" fmla="*/ 69 w 162"/>
                <a:gd name="T27" fmla="*/ 113 h 192"/>
                <a:gd name="T28" fmla="*/ 66 w 162"/>
                <a:gd name="T29" fmla="*/ 119 h 192"/>
                <a:gd name="T30" fmla="*/ 62 w 162"/>
                <a:gd name="T31" fmla="*/ 126 h 192"/>
                <a:gd name="T32" fmla="*/ 60 w 162"/>
                <a:gd name="T33" fmla="*/ 135 h 192"/>
                <a:gd name="T34" fmla="*/ 58 w 162"/>
                <a:gd name="T35" fmla="*/ 145 h 192"/>
                <a:gd name="T36" fmla="*/ 58 w 162"/>
                <a:gd name="T37" fmla="*/ 157 h 192"/>
                <a:gd name="T38" fmla="*/ 59 w 162"/>
                <a:gd name="T39" fmla="*/ 163 h 192"/>
                <a:gd name="T40" fmla="*/ 60 w 162"/>
                <a:gd name="T41" fmla="*/ 168 h 192"/>
                <a:gd name="T42" fmla="*/ 63 w 162"/>
                <a:gd name="T43" fmla="*/ 174 h 192"/>
                <a:gd name="T44" fmla="*/ 67 w 162"/>
                <a:gd name="T45" fmla="*/ 179 h 192"/>
                <a:gd name="T46" fmla="*/ 67 w 162"/>
                <a:gd name="T47" fmla="*/ 179 h 192"/>
                <a:gd name="T48" fmla="*/ 27 w 162"/>
                <a:gd name="T49" fmla="*/ 16 h 192"/>
                <a:gd name="T50" fmla="*/ 27 w 162"/>
                <a:gd name="T51" fmla="*/ 16 h 192"/>
                <a:gd name="T52" fmla="*/ 22 w 162"/>
                <a:gd name="T53" fmla="*/ 26 h 192"/>
                <a:gd name="T54" fmla="*/ 14 w 162"/>
                <a:gd name="T55" fmla="*/ 40 h 192"/>
                <a:gd name="T56" fmla="*/ 9 w 162"/>
                <a:gd name="T57" fmla="*/ 54 h 192"/>
                <a:gd name="T58" fmla="*/ 7 w 162"/>
                <a:gd name="T59" fmla="*/ 60 h 192"/>
                <a:gd name="T60" fmla="*/ 7 w 162"/>
                <a:gd name="T61" fmla="*/ 65 h 192"/>
                <a:gd name="T62" fmla="*/ 7 w 162"/>
                <a:gd name="T63" fmla="*/ 65 h 192"/>
                <a:gd name="T64" fmla="*/ 8 w 162"/>
                <a:gd name="T65" fmla="*/ 72 h 192"/>
                <a:gd name="T66" fmla="*/ 13 w 162"/>
                <a:gd name="T67" fmla="*/ 84 h 192"/>
                <a:gd name="T68" fmla="*/ 30 w 162"/>
                <a:gd name="T69" fmla="*/ 115 h 192"/>
                <a:gd name="T70" fmla="*/ 45 w 162"/>
                <a:gd name="T71" fmla="*/ 141 h 192"/>
                <a:gd name="T72" fmla="*/ 52 w 162"/>
                <a:gd name="T73" fmla="*/ 153 h 192"/>
                <a:gd name="T74" fmla="*/ 52 w 162"/>
                <a:gd name="T75" fmla="*/ 153 h 192"/>
                <a:gd name="T76" fmla="*/ 52 w 162"/>
                <a:gd name="T77" fmla="*/ 150 h 192"/>
                <a:gd name="T78" fmla="*/ 54 w 162"/>
                <a:gd name="T79" fmla="*/ 142 h 192"/>
                <a:gd name="T80" fmla="*/ 56 w 162"/>
                <a:gd name="T81" fmla="*/ 129 h 192"/>
                <a:gd name="T82" fmla="*/ 56 w 162"/>
                <a:gd name="T83" fmla="*/ 129 h 192"/>
                <a:gd name="T84" fmla="*/ 59 w 162"/>
                <a:gd name="T85" fmla="*/ 120 h 192"/>
                <a:gd name="T86" fmla="*/ 63 w 162"/>
                <a:gd name="T87" fmla="*/ 110 h 192"/>
                <a:gd name="T88" fmla="*/ 75 w 162"/>
                <a:gd name="T89" fmla="*/ 90 h 192"/>
                <a:gd name="T90" fmla="*/ 88 w 162"/>
                <a:gd name="T91" fmla="*/ 69 h 192"/>
                <a:gd name="T92" fmla="*/ 98 w 162"/>
                <a:gd name="T93" fmla="*/ 56 h 192"/>
                <a:gd name="T94" fmla="*/ 128 w 162"/>
                <a:gd name="T95" fmla="*/ 72 h 192"/>
                <a:gd name="T96" fmla="*/ 86 w 162"/>
                <a:gd name="T97" fmla="*/ 0 h 192"/>
                <a:gd name="T98" fmla="*/ 0 w 162"/>
                <a:gd name="T99" fmla="*/ 0 h 192"/>
                <a:gd name="T100" fmla="*/ 27 w 162"/>
                <a:gd name="T101"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2" h="192">
                  <a:moveTo>
                    <a:pt x="67" y="179"/>
                  </a:moveTo>
                  <a:lnTo>
                    <a:pt x="67" y="179"/>
                  </a:lnTo>
                  <a:lnTo>
                    <a:pt x="70" y="181"/>
                  </a:lnTo>
                  <a:lnTo>
                    <a:pt x="73" y="184"/>
                  </a:lnTo>
                  <a:lnTo>
                    <a:pt x="82" y="188"/>
                  </a:lnTo>
                  <a:lnTo>
                    <a:pt x="93" y="190"/>
                  </a:lnTo>
                  <a:lnTo>
                    <a:pt x="106" y="191"/>
                  </a:lnTo>
                  <a:lnTo>
                    <a:pt x="134" y="192"/>
                  </a:lnTo>
                  <a:lnTo>
                    <a:pt x="162" y="191"/>
                  </a:lnTo>
                  <a:lnTo>
                    <a:pt x="162" y="191"/>
                  </a:lnTo>
                  <a:lnTo>
                    <a:pt x="162" y="152"/>
                  </a:lnTo>
                  <a:lnTo>
                    <a:pt x="162" y="113"/>
                  </a:lnTo>
                  <a:lnTo>
                    <a:pt x="69" y="113"/>
                  </a:lnTo>
                  <a:lnTo>
                    <a:pt x="69" y="113"/>
                  </a:lnTo>
                  <a:lnTo>
                    <a:pt x="66" y="119"/>
                  </a:lnTo>
                  <a:lnTo>
                    <a:pt x="62" y="126"/>
                  </a:lnTo>
                  <a:lnTo>
                    <a:pt x="60" y="135"/>
                  </a:lnTo>
                  <a:lnTo>
                    <a:pt x="58" y="145"/>
                  </a:lnTo>
                  <a:lnTo>
                    <a:pt x="58" y="157"/>
                  </a:lnTo>
                  <a:lnTo>
                    <a:pt x="59" y="163"/>
                  </a:lnTo>
                  <a:lnTo>
                    <a:pt x="60" y="168"/>
                  </a:lnTo>
                  <a:lnTo>
                    <a:pt x="63" y="174"/>
                  </a:lnTo>
                  <a:lnTo>
                    <a:pt x="67" y="179"/>
                  </a:lnTo>
                  <a:lnTo>
                    <a:pt x="67" y="179"/>
                  </a:lnTo>
                  <a:close/>
                  <a:moveTo>
                    <a:pt x="27" y="16"/>
                  </a:moveTo>
                  <a:lnTo>
                    <a:pt x="27" y="16"/>
                  </a:lnTo>
                  <a:lnTo>
                    <a:pt x="22" y="26"/>
                  </a:lnTo>
                  <a:lnTo>
                    <a:pt x="14" y="40"/>
                  </a:lnTo>
                  <a:lnTo>
                    <a:pt x="9" y="54"/>
                  </a:lnTo>
                  <a:lnTo>
                    <a:pt x="7" y="60"/>
                  </a:lnTo>
                  <a:lnTo>
                    <a:pt x="7" y="65"/>
                  </a:lnTo>
                  <a:lnTo>
                    <a:pt x="7" y="65"/>
                  </a:lnTo>
                  <a:lnTo>
                    <a:pt x="8" y="72"/>
                  </a:lnTo>
                  <a:lnTo>
                    <a:pt x="13" y="84"/>
                  </a:lnTo>
                  <a:lnTo>
                    <a:pt x="30" y="115"/>
                  </a:lnTo>
                  <a:lnTo>
                    <a:pt x="45" y="141"/>
                  </a:lnTo>
                  <a:lnTo>
                    <a:pt x="52" y="153"/>
                  </a:lnTo>
                  <a:lnTo>
                    <a:pt x="52" y="153"/>
                  </a:lnTo>
                  <a:lnTo>
                    <a:pt x="52" y="150"/>
                  </a:lnTo>
                  <a:lnTo>
                    <a:pt x="54" y="142"/>
                  </a:lnTo>
                  <a:lnTo>
                    <a:pt x="56" y="129"/>
                  </a:lnTo>
                  <a:lnTo>
                    <a:pt x="56" y="129"/>
                  </a:lnTo>
                  <a:lnTo>
                    <a:pt x="59" y="120"/>
                  </a:lnTo>
                  <a:lnTo>
                    <a:pt x="63" y="110"/>
                  </a:lnTo>
                  <a:lnTo>
                    <a:pt x="75" y="90"/>
                  </a:lnTo>
                  <a:lnTo>
                    <a:pt x="88" y="69"/>
                  </a:lnTo>
                  <a:lnTo>
                    <a:pt x="98" y="56"/>
                  </a:lnTo>
                  <a:lnTo>
                    <a:pt x="128" y="72"/>
                  </a:lnTo>
                  <a:lnTo>
                    <a:pt x="86" y="0"/>
                  </a:lnTo>
                  <a:lnTo>
                    <a:pt x="0" y="0"/>
                  </a:lnTo>
                  <a:lnTo>
                    <a:pt x="27"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9"/>
            <p:cNvSpPr>
              <a:spLocks noEditPoints="1"/>
            </p:cNvSpPr>
            <p:nvPr/>
          </p:nvSpPr>
          <p:spPr bwMode="auto">
            <a:xfrm>
              <a:off x="643845" y="1500188"/>
              <a:ext cx="263525" cy="374650"/>
            </a:xfrm>
            <a:custGeom>
              <a:avLst/>
              <a:gdLst>
                <a:gd name="T0" fmla="*/ 164 w 166"/>
                <a:gd name="T1" fmla="*/ 89 h 236"/>
                <a:gd name="T2" fmla="*/ 164 w 166"/>
                <a:gd name="T3" fmla="*/ 89 h 236"/>
                <a:gd name="T4" fmla="*/ 165 w 166"/>
                <a:gd name="T5" fmla="*/ 85 h 236"/>
                <a:gd name="T6" fmla="*/ 166 w 166"/>
                <a:gd name="T7" fmla="*/ 80 h 236"/>
                <a:gd name="T8" fmla="*/ 165 w 166"/>
                <a:gd name="T9" fmla="*/ 70 h 236"/>
                <a:gd name="T10" fmla="*/ 161 w 166"/>
                <a:gd name="T11" fmla="*/ 60 h 236"/>
                <a:gd name="T12" fmla="*/ 157 w 166"/>
                <a:gd name="T13" fmla="*/ 49 h 236"/>
                <a:gd name="T14" fmla="*/ 142 w 166"/>
                <a:gd name="T15" fmla="*/ 25 h 236"/>
                <a:gd name="T16" fmla="*/ 127 w 166"/>
                <a:gd name="T17" fmla="*/ 0 h 236"/>
                <a:gd name="T18" fmla="*/ 127 w 166"/>
                <a:gd name="T19" fmla="*/ 0 h 236"/>
                <a:gd name="T20" fmla="*/ 93 w 166"/>
                <a:gd name="T21" fmla="*/ 19 h 236"/>
                <a:gd name="T22" fmla="*/ 60 w 166"/>
                <a:gd name="T23" fmla="*/ 39 h 236"/>
                <a:gd name="T24" fmla="*/ 105 w 166"/>
                <a:gd name="T25" fmla="*/ 119 h 236"/>
                <a:gd name="T26" fmla="*/ 105 w 166"/>
                <a:gd name="T27" fmla="*/ 119 h 236"/>
                <a:gd name="T28" fmla="*/ 113 w 166"/>
                <a:gd name="T29" fmla="*/ 119 h 236"/>
                <a:gd name="T30" fmla="*/ 121 w 166"/>
                <a:gd name="T31" fmla="*/ 118 h 236"/>
                <a:gd name="T32" fmla="*/ 130 w 166"/>
                <a:gd name="T33" fmla="*/ 116 h 236"/>
                <a:gd name="T34" fmla="*/ 140 w 166"/>
                <a:gd name="T35" fmla="*/ 113 h 236"/>
                <a:gd name="T36" fmla="*/ 150 w 166"/>
                <a:gd name="T37" fmla="*/ 107 h 236"/>
                <a:gd name="T38" fmla="*/ 154 w 166"/>
                <a:gd name="T39" fmla="*/ 104 h 236"/>
                <a:gd name="T40" fmla="*/ 159 w 166"/>
                <a:gd name="T41" fmla="*/ 100 h 236"/>
                <a:gd name="T42" fmla="*/ 162 w 166"/>
                <a:gd name="T43" fmla="*/ 94 h 236"/>
                <a:gd name="T44" fmla="*/ 164 w 166"/>
                <a:gd name="T45" fmla="*/ 89 h 236"/>
                <a:gd name="T46" fmla="*/ 164 w 166"/>
                <a:gd name="T47" fmla="*/ 89 h 236"/>
                <a:gd name="T48" fmla="*/ 43 w 166"/>
                <a:gd name="T49" fmla="*/ 204 h 236"/>
                <a:gd name="T50" fmla="*/ 43 w 166"/>
                <a:gd name="T51" fmla="*/ 204 h 236"/>
                <a:gd name="T52" fmla="*/ 54 w 166"/>
                <a:gd name="T53" fmla="*/ 204 h 236"/>
                <a:gd name="T54" fmla="*/ 70 w 166"/>
                <a:gd name="T55" fmla="*/ 203 h 236"/>
                <a:gd name="T56" fmla="*/ 85 w 166"/>
                <a:gd name="T57" fmla="*/ 201 h 236"/>
                <a:gd name="T58" fmla="*/ 91 w 166"/>
                <a:gd name="T59" fmla="*/ 200 h 236"/>
                <a:gd name="T60" fmla="*/ 97 w 166"/>
                <a:gd name="T61" fmla="*/ 198 h 236"/>
                <a:gd name="T62" fmla="*/ 97 w 166"/>
                <a:gd name="T63" fmla="*/ 198 h 236"/>
                <a:gd name="T64" fmla="*/ 102 w 166"/>
                <a:gd name="T65" fmla="*/ 192 h 236"/>
                <a:gd name="T66" fmla="*/ 110 w 166"/>
                <a:gd name="T67" fmla="*/ 181 h 236"/>
                <a:gd name="T68" fmla="*/ 127 w 166"/>
                <a:gd name="T69" fmla="*/ 153 h 236"/>
                <a:gd name="T70" fmla="*/ 143 w 166"/>
                <a:gd name="T71" fmla="*/ 126 h 236"/>
                <a:gd name="T72" fmla="*/ 150 w 166"/>
                <a:gd name="T73" fmla="*/ 114 h 236"/>
                <a:gd name="T74" fmla="*/ 150 w 166"/>
                <a:gd name="T75" fmla="*/ 114 h 236"/>
                <a:gd name="T76" fmla="*/ 146 w 166"/>
                <a:gd name="T77" fmla="*/ 116 h 236"/>
                <a:gd name="T78" fmla="*/ 139 w 166"/>
                <a:gd name="T79" fmla="*/ 118 h 236"/>
                <a:gd name="T80" fmla="*/ 126 w 166"/>
                <a:gd name="T81" fmla="*/ 123 h 236"/>
                <a:gd name="T82" fmla="*/ 126 w 166"/>
                <a:gd name="T83" fmla="*/ 123 h 236"/>
                <a:gd name="T84" fmla="*/ 118 w 166"/>
                <a:gd name="T85" fmla="*/ 125 h 236"/>
                <a:gd name="T86" fmla="*/ 108 w 166"/>
                <a:gd name="T87" fmla="*/ 126 h 236"/>
                <a:gd name="T88" fmla="*/ 83 w 166"/>
                <a:gd name="T89" fmla="*/ 126 h 236"/>
                <a:gd name="T90" fmla="*/ 59 w 166"/>
                <a:gd name="T91" fmla="*/ 125 h 236"/>
                <a:gd name="T92" fmla="*/ 42 w 166"/>
                <a:gd name="T93" fmla="*/ 123 h 236"/>
                <a:gd name="T94" fmla="*/ 42 w 166"/>
                <a:gd name="T95" fmla="*/ 90 h 236"/>
                <a:gd name="T96" fmla="*/ 0 w 166"/>
                <a:gd name="T97" fmla="*/ 162 h 236"/>
                <a:gd name="T98" fmla="*/ 43 w 166"/>
                <a:gd name="T99" fmla="*/ 236 h 236"/>
                <a:gd name="T100" fmla="*/ 43 w 166"/>
                <a:gd name="T101" fmla="*/ 20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236">
                  <a:moveTo>
                    <a:pt x="164" y="89"/>
                  </a:moveTo>
                  <a:lnTo>
                    <a:pt x="164" y="89"/>
                  </a:lnTo>
                  <a:lnTo>
                    <a:pt x="165" y="85"/>
                  </a:lnTo>
                  <a:lnTo>
                    <a:pt x="166" y="80"/>
                  </a:lnTo>
                  <a:lnTo>
                    <a:pt x="165" y="70"/>
                  </a:lnTo>
                  <a:lnTo>
                    <a:pt x="161" y="60"/>
                  </a:lnTo>
                  <a:lnTo>
                    <a:pt x="157" y="49"/>
                  </a:lnTo>
                  <a:lnTo>
                    <a:pt x="142" y="25"/>
                  </a:lnTo>
                  <a:lnTo>
                    <a:pt x="127" y="0"/>
                  </a:lnTo>
                  <a:lnTo>
                    <a:pt x="127" y="0"/>
                  </a:lnTo>
                  <a:lnTo>
                    <a:pt x="93" y="19"/>
                  </a:lnTo>
                  <a:lnTo>
                    <a:pt x="60" y="39"/>
                  </a:lnTo>
                  <a:lnTo>
                    <a:pt x="105" y="119"/>
                  </a:lnTo>
                  <a:lnTo>
                    <a:pt x="105" y="119"/>
                  </a:lnTo>
                  <a:lnTo>
                    <a:pt x="113" y="119"/>
                  </a:lnTo>
                  <a:lnTo>
                    <a:pt x="121" y="118"/>
                  </a:lnTo>
                  <a:lnTo>
                    <a:pt x="130" y="116"/>
                  </a:lnTo>
                  <a:lnTo>
                    <a:pt x="140" y="113"/>
                  </a:lnTo>
                  <a:lnTo>
                    <a:pt x="150" y="107"/>
                  </a:lnTo>
                  <a:lnTo>
                    <a:pt x="154" y="104"/>
                  </a:lnTo>
                  <a:lnTo>
                    <a:pt x="159" y="100"/>
                  </a:lnTo>
                  <a:lnTo>
                    <a:pt x="162" y="94"/>
                  </a:lnTo>
                  <a:lnTo>
                    <a:pt x="164" y="89"/>
                  </a:lnTo>
                  <a:lnTo>
                    <a:pt x="164" y="89"/>
                  </a:lnTo>
                  <a:close/>
                  <a:moveTo>
                    <a:pt x="43" y="204"/>
                  </a:moveTo>
                  <a:lnTo>
                    <a:pt x="43" y="204"/>
                  </a:lnTo>
                  <a:lnTo>
                    <a:pt x="54" y="204"/>
                  </a:lnTo>
                  <a:lnTo>
                    <a:pt x="70" y="203"/>
                  </a:lnTo>
                  <a:lnTo>
                    <a:pt x="85" y="201"/>
                  </a:lnTo>
                  <a:lnTo>
                    <a:pt x="91" y="200"/>
                  </a:lnTo>
                  <a:lnTo>
                    <a:pt x="97" y="198"/>
                  </a:lnTo>
                  <a:lnTo>
                    <a:pt x="97" y="198"/>
                  </a:lnTo>
                  <a:lnTo>
                    <a:pt x="102" y="192"/>
                  </a:lnTo>
                  <a:lnTo>
                    <a:pt x="110" y="181"/>
                  </a:lnTo>
                  <a:lnTo>
                    <a:pt x="127" y="153"/>
                  </a:lnTo>
                  <a:lnTo>
                    <a:pt x="143" y="126"/>
                  </a:lnTo>
                  <a:lnTo>
                    <a:pt x="150" y="114"/>
                  </a:lnTo>
                  <a:lnTo>
                    <a:pt x="150" y="114"/>
                  </a:lnTo>
                  <a:lnTo>
                    <a:pt x="146" y="116"/>
                  </a:lnTo>
                  <a:lnTo>
                    <a:pt x="139" y="118"/>
                  </a:lnTo>
                  <a:lnTo>
                    <a:pt x="126" y="123"/>
                  </a:lnTo>
                  <a:lnTo>
                    <a:pt x="126" y="123"/>
                  </a:lnTo>
                  <a:lnTo>
                    <a:pt x="118" y="125"/>
                  </a:lnTo>
                  <a:lnTo>
                    <a:pt x="108" y="126"/>
                  </a:lnTo>
                  <a:lnTo>
                    <a:pt x="83" y="126"/>
                  </a:lnTo>
                  <a:lnTo>
                    <a:pt x="59" y="125"/>
                  </a:lnTo>
                  <a:lnTo>
                    <a:pt x="42" y="123"/>
                  </a:lnTo>
                  <a:lnTo>
                    <a:pt x="42" y="90"/>
                  </a:lnTo>
                  <a:lnTo>
                    <a:pt x="0" y="162"/>
                  </a:lnTo>
                  <a:lnTo>
                    <a:pt x="43" y="236"/>
                  </a:lnTo>
                  <a:lnTo>
                    <a:pt x="43" y="20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4" name="TextBox 83"/>
          <p:cNvSpPr txBox="1"/>
          <p:nvPr/>
        </p:nvSpPr>
        <p:spPr>
          <a:xfrm>
            <a:off x="343596" y="559832"/>
            <a:ext cx="8254494" cy="493148"/>
          </a:xfrm>
          <a:prstGeom prst="rect">
            <a:avLst/>
          </a:prstGeom>
          <a:noFill/>
        </p:spPr>
        <p:txBody>
          <a:bodyPr wrap="square" rtlCol="0">
            <a:spAutoFit/>
          </a:bodyPr>
          <a:lstStyle/>
          <a:p>
            <a:pPr algn="ctr">
              <a:lnSpc>
                <a:spcPct val="80000"/>
              </a:lnSpc>
            </a:pPr>
            <a:r>
              <a:rPr lang="en-US" sz="3200" dirty="0" smtClean="0">
                <a:solidFill>
                  <a:srgbClr val="0070C0"/>
                </a:solidFill>
                <a:effectLst>
                  <a:reflection blurRad="12700" stA="48000" endA="300" endPos="55000" dir="5400000" sy="-90000" algn="bl" rotWithShape="0"/>
                </a:effectLst>
                <a:latin typeface="Franklin Gothic Medium"/>
                <a:ea typeface="+mj-ea"/>
                <a:cs typeface="+mj-cs"/>
              </a:rPr>
              <a:t>Locating the Law Makers</a:t>
            </a:r>
            <a:endParaRPr lang="en-US" sz="3200" b="1" dirty="0" smtClean="0">
              <a:solidFill>
                <a:srgbClr val="0070C0"/>
              </a:solidFill>
            </a:endParaRPr>
          </a:p>
        </p:txBody>
      </p:sp>
      <p:sp>
        <p:nvSpPr>
          <p:cNvPr id="52" name="TextBox 51"/>
          <p:cNvSpPr txBox="1"/>
          <p:nvPr/>
        </p:nvSpPr>
        <p:spPr>
          <a:xfrm>
            <a:off x="6741994" y="1947790"/>
            <a:ext cx="1686813" cy="369332"/>
          </a:xfrm>
          <a:prstGeom prst="rect">
            <a:avLst/>
          </a:prstGeom>
          <a:noFill/>
        </p:spPr>
        <p:txBody>
          <a:bodyPr wrap="square" rtlCol="0">
            <a:spAutoFit/>
          </a:bodyPr>
          <a:lstStyle/>
          <a:p>
            <a:endParaRPr lang="en-US" b="1" dirty="0"/>
          </a:p>
        </p:txBody>
      </p:sp>
      <p:grpSp>
        <p:nvGrpSpPr>
          <p:cNvPr id="53" name="Group 52"/>
          <p:cNvGrpSpPr/>
          <p:nvPr/>
        </p:nvGrpSpPr>
        <p:grpSpPr>
          <a:xfrm>
            <a:off x="7243902" y="1505385"/>
            <a:ext cx="328648" cy="315427"/>
            <a:chOff x="354920" y="1344613"/>
            <a:chExt cx="552450" cy="530225"/>
          </a:xfrm>
          <a:gradFill flip="none" rotWithShape="1">
            <a:gsLst>
              <a:gs pos="0">
                <a:srgbClr val="2A9B18">
                  <a:shade val="30000"/>
                  <a:satMod val="115000"/>
                </a:srgbClr>
              </a:gs>
              <a:gs pos="50000">
                <a:srgbClr val="2A9B18">
                  <a:shade val="67500"/>
                  <a:satMod val="115000"/>
                </a:srgbClr>
              </a:gs>
              <a:gs pos="100000">
                <a:srgbClr val="2A9B18">
                  <a:shade val="100000"/>
                  <a:satMod val="115000"/>
                </a:srgbClr>
              </a:gs>
            </a:gsLst>
            <a:lin ang="16200000" scaled="1"/>
            <a:tileRect/>
          </a:gradFill>
        </p:grpSpPr>
        <p:sp>
          <p:nvSpPr>
            <p:cNvPr id="54" name="Freeform 17"/>
            <p:cNvSpPr>
              <a:spLocks noEditPoints="1"/>
            </p:cNvSpPr>
            <p:nvPr/>
          </p:nvSpPr>
          <p:spPr bwMode="auto">
            <a:xfrm>
              <a:off x="451758" y="1344613"/>
              <a:ext cx="393700" cy="185738"/>
            </a:xfrm>
            <a:custGeom>
              <a:avLst/>
              <a:gdLst>
                <a:gd name="T0" fmla="*/ 61 w 248"/>
                <a:gd name="T1" fmla="*/ 1 h 117"/>
                <a:gd name="T2" fmla="*/ 61 w 248"/>
                <a:gd name="T3" fmla="*/ 1 h 117"/>
                <a:gd name="T4" fmla="*/ 57 w 248"/>
                <a:gd name="T5" fmla="*/ 2 h 117"/>
                <a:gd name="T6" fmla="*/ 52 w 248"/>
                <a:gd name="T7" fmla="*/ 3 h 117"/>
                <a:gd name="T8" fmla="*/ 45 w 248"/>
                <a:gd name="T9" fmla="*/ 10 h 117"/>
                <a:gd name="T10" fmla="*/ 37 w 248"/>
                <a:gd name="T11" fmla="*/ 17 h 117"/>
                <a:gd name="T12" fmla="*/ 30 w 248"/>
                <a:gd name="T13" fmla="*/ 28 h 117"/>
                <a:gd name="T14" fmla="*/ 15 w 248"/>
                <a:gd name="T15" fmla="*/ 52 h 117"/>
                <a:gd name="T16" fmla="*/ 0 w 248"/>
                <a:gd name="T17" fmla="*/ 76 h 117"/>
                <a:gd name="T18" fmla="*/ 0 w 248"/>
                <a:gd name="T19" fmla="*/ 76 h 117"/>
                <a:gd name="T20" fmla="*/ 34 w 248"/>
                <a:gd name="T21" fmla="*/ 97 h 117"/>
                <a:gd name="T22" fmla="*/ 68 w 248"/>
                <a:gd name="T23" fmla="*/ 117 h 117"/>
                <a:gd name="T24" fmla="*/ 115 w 248"/>
                <a:gd name="T25" fmla="*/ 37 h 117"/>
                <a:gd name="T26" fmla="*/ 115 w 248"/>
                <a:gd name="T27" fmla="*/ 37 h 117"/>
                <a:gd name="T28" fmla="*/ 112 w 248"/>
                <a:gd name="T29" fmla="*/ 31 h 117"/>
                <a:gd name="T30" fmla="*/ 108 w 248"/>
                <a:gd name="T31" fmla="*/ 25 h 117"/>
                <a:gd name="T32" fmla="*/ 101 w 248"/>
                <a:gd name="T33" fmla="*/ 17 h 117"/>
                <a:gd name="T34" fmla="*/ 93 w 248"/>
                <a:gd name="T35" fmla="*/ 11 h 117"/>
                <a:gd name="T36" fmla="*/ 84 w 248"/>
                <a:gd name="T37" fmla="*/ 4 h 117"/>
                <a:gd name="T38" fmla="*/ 78 w 248"/>
                <a:gd name="T39" fmla="*/ 2 h 117"/>
                <a:gd name="T40" fmla="*/ 73 w 248"/>
                <a:gd name="T41" fmla="*/ 1 h 117"/>
                <a:gd name="T42" fmla="*/ 67 w 248"/>
                <a:gd name="T43" fmla="*/ 0 h 117"/>
                <a:gd name="T44" fmla="*/ 61 w 248"/>
                <a:gd name="T45" fmla="*/ 1 h 117"/>
                <a:gd name="T46" fmla="*/ 61 w 248"/>
                <a:gd name="T47" fmla="*/ 1 h 117"/>
                <a:gd name="T48" fmla="*/ 220 w 248"/>
                <a:gd name="T49" fmla="*/ 52 h 117"/>
                <a:gd name="T50" fmla="*/ 220 w 248"/>
                <a:gd name="T51" fmla="*/ 52 h 117"/>
                <a:gd name="T52" fmla="*/ 214 w 248"/>
                <a:gd name="T53" fmla="*/ 41 h 117"/>
                <a:gd name="T54" fmla="*/ 206 w 248"/>
                <a:gd name="T55" fmla="*/ 28 h 117"/>
                <a:gd name="T56" fmla="*/ 197 w 248"/>
                <a:gd name="T57" fmla="*/ 16 h 117"/>
                <a:gd name="T58" fmla="*/ 193 w 248"/>
                <a:gd name="T59" fmla="*/ 11 h 117"/>
                <a:gd name="T60" fmla="*/ 189 w 248"/>
                <a:gd name="T61" fmla="*/ 7 h 117"/>
                <a:gd name="T62" fmla="*/ 189 w 248"/>
                <a:gd name="T63" fmla="*/ 7 h 117"/>
                <a:gd name="T64" fmla="*/ 181 w 248"/>
                <a:gd name="T65" fmla="*/ 5 h 117"/>
                <a:gd name="T66" fmla="*/ 169 w 248"/>
                <a:gd name="T67" fmla="*/ 4 h 117"/>
                <a:gd name="T68" fmla="*/ 135 w 248"/>
                <a:gd name="T69" fmla="*/ 2 h 117"/>
                <a:gd name="T70" fmla="*/ 103 w 248"/>
                <a:gd name="T71" fmla="*/ 1 h 117"/>
                <a:gd name="T72" fmla="*/ 89 w 248"/>
                <a:gd name="T73" fmla="*/ 1 h 117"/>
                <a:gd name="T74" fmla="*/ 89 w 248"/>
                <a:gd name="T75" fmla="*/ 1 h 117"/>
                <a:gd name="T76" fmla="*/ 93 w 248"/>
                <a:gd name="T77" fmla="*/ 3 h 117"/>
                <a:gd name="T78" fmla="*/ 99 w 248"/>
                <a:gd name="T79" fmla="*/ 9 h 117"/>
                <a:gd name="T80" fmla="*/ 109 w 248"/>
                <a:gd name="T81" fmla="*/ 17 h 117"/>
                <a:gd name="T82" fmla="*/ 109 w 248"/>
                <a:gd name="T83" fmla="*/ 17 h 117"/>
                <a:gd name="T84" fmla="*/ 114 w 248"/>
                <a:gd name="T85" fmla="*/ 24 h 117"/>
                <a:gd name="T86" fmla="*/ 120 w 248"/>
                <a:gd name="T87" fmla="*/ 32 h 117"/>
                <a:gd name="T88" fmla="*/ 132 w 248"/>
                <a:gd name="T89" fmla="*/ 54 h 117"/>
                <a:gd name="T90" fmla="*/ 143 w 248"/>
                <a:gd name="T91" fmla="*/ 76 h 117"/>
                <a:gd name="T92" fmla="*/ 149 w 248"/>
                <a:gd name="T93" fmla="*/ 91 h 117"/>
                <a:gd name="T94" fmla="*/ 120 w 248"/>
                <a:gd name="T95" fmla="*/ 108 h 117"/>
                <a:gd name="T96" fmla="*/ 204 w 248"/>
                <a:gd name="T97" fmla="*/ 110 h 117"/>
                <a:gd name="T98" fmla="*/ 248 w 248"/>
                <a:gd name="T99" fmla="*/ 36 h 117"/>
                <a:gd name="T100" fmla="*/ 220 w 248"/>
                <a:gd name="T101" fmla="*/ 5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8" h="117">
                  <a:moveTo>
                    <a:pt x="61" y="1"/>
                  </a:moveTo>
                  <a:lnTo>
                    <a:pt x="61" y="1"/>
                  </a:lnTo>
                  <a:lnTo>
                    <a:pt x="57" y="2"/>
                  </a:lnTo>
                  <a:lnTo>
                    <a:pt x="52" y="3"/>
                  </a:lnTo>
                  <a:lnTo>
                    <a:pt x="45" y="10"/>
                  </a:lnTo>
                  <a:lnTo>
                    <a:pt x="37" y="17"/>
                  </a:lnTo>
                  <a:lnTo>
                    <a:pt x="30" y="28"/>
                  </a:lnTo>
                  <a:lnTo>
                    <a:pt x="15" y="52"/>
                  </a:lnTo>
                  <a:lnTo>
                    <a:pt x="0" y="76"/>
                  </a:lnTo>
                  <a:lnTo>
                    <a:pt x="0" y="76"/>
                  </a:lnTo>
                  <a:lnTo>
                    <a:pt x="34" y="97"/>
                  </a:lnTo>
                  <a:lnTo>
                    <a:pt x="68" y="117"/>
                  </a:lnTo>
                  <a:lnTo>
                    <a:pt x="115" y="37"/>
                  </a:lnTo>
                  <a:lnTo>
                    <a:pt x="115" y="37"/>
                  </a:lnTo>
                  <a:lnTo>
                    <a:pt x="112" y="31"/>
                  </a:lnTo>
                  <a:lnTo>
                    <a:pt x="108" y="25"/>
                  </a:lnTo>
                  <a:lnTo>
                    <a:pt x="101" y="17"/>
                  </a:lnTo>
                  <a:lnTo>
                    <a:pt x="93" y="11"/>
                  </a:lnTo>
                  <a:lnTo>
                    <a:pt x="84" y="4"/>
                  </a:lnTo>
                  <a:lnTo>
                    <a:pt x="78" y="2"/>
                  </a:lnTo>
                  <a:lnTo>
                    <a:pt x="73" y="1"/>
                  </a:lnTo>
                  <a:lnTo>
                    <a:pt x="67" y="0"/>
                  </a:lnTo>
                  <a:lnTo>
                    <a:pt x="61" y="1"/>
                  </a:lnTo>
                  <a:lnTo>
                    <a:pt x="61" y="1"/>
                  </a:lnTo>
                  <a:close/>
                  <a:moveTo>
                    <a:pt x="220" y="52"/>
                  </a:moveTo>
                  <a:lnTo>
                    <a:pt x="220" y="52"/>
                  </a:lnTo>
                  <a:lnTo>
                    <a:pt x="214" y="41"/>
                  </a:lnTo>
                  <a:lnTo>
                    <a:pt x="206" y="28"/>
                  </a:lnTo>
                  <a:lnTo>
                    <a:pt x="197" y="16"/>
                  </a:lnTo>
                  <a:lnTo>
                    <a:pt x="193" y="11"/>
                  </a:lnTo>
                  <a:lnTo>
                    <a:pt x="189" y="7"/>
                  </a:lnTo>
                  <a:lnTo>
                    <a:pt x="189" y="7"/>
                  </a:lnTo>
                  <a:lnTo>
                    <a:pt x="181" y="5"/>
                  </a:lnTo>
                  <a:lnTo>
                    <a:pt x="169" y="4"/>
                  </a:lnTo>
                  <a:lnTo>
                    <a:pt x="135" y="2"/>
                  </a:lnTo>
                  <a:lnTo>
                    <a:pt x="103" y="1"/>
                  </a:lnTo>
                  <a:lnTo>
                    <a:pt x="89" y="1"/>
                  </a:lnTo>
                  <a:lnTo>
                    <a:pt x="89" y="1"/>
                  </a:lnTo>
                  <a:lnTo>
                    <a:pt x="93" y="3"/>
                  </a:lnTo>
                  <a:lnTo>
                    <a:pt x="99" y="9"/>
                  </a:lnTo>
                  <a:lnTo>
                    <a:pt x="109" y="17"/>
                  </a:lnTo>
                  <a:lnTo>
                    <a:pt x="109" y="17"/>
                  </a:lnTo>
                  <a:lnTo>
                    <a:pt x="114" y="24"/>
                  </a:lnTo>
                  <a:lnTo>
                    <a:pt x="120" y="32"/>
                  </a:lnTo>
                  <a:lnTo>
                    <a:pt x="132" y="54"/>
                  </a:lnTo>
                  <a:lnTo>
                    <a:pt x="143" y="76"/>
                  </a:lnTo>
                  <a:lnTo>
                    <a:pt x="149" y="91"/>
                  </a:lnTo>
                  <a:lnTo>
                    <a:pt x="120" y="108"/>
                  </a:lnTo>
                  <a:lnTo>
                    <a:pt x="204" y="110"/>
                  </a:lnTo>
                  <a:lnTo>
                    <a:pt x="248" y="36"/>
                  </a:lnTo>
                  <a:lnTo>
                    <a:pt x="220"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8"/>
            <p:cNvSpPr>
              <a:spLocks noEditPoints="1"/>
            </p:cNvSpPr>
            <p:nvPr/>
          </p:nvSpPr>
          <p:spPr bwMode="auto">
            <a:xfrm>
              <a:off x="354920" y="1516063"/>
              <a:ext cx="257175" cy="304800"/>
            </a:xfrm>
            <a:custGeom>
              <a:avLst/>
              <a:gdLst>
                <a:gd name="T0" fmla="*/ 67 w 162"/>
                <a:gd name="T1" fmla="*/ 179 h 192"/>
                <a:gd name="T2" fmla="*/ 67 w 162"/>
                <a:gd name="T3" fmla="*/ 179 h 192"/>
                <a:gd name="T4" fmla="*/ 70 w 162"/>
                <a:gd name="T5" fmla="*/ 181 h 192"/>
                <a:gd name="T6" fmla="*/ 73 w 162"/>
                <a:gd name="T7" fmla="*/ 184 h 192"/>
                <a:gd name="T8" fmla="*/ 82 w 162"/>
                <a:gd name="T9" fmla="*/ 188 h 192"/>
                <a:gd name="T10" fmla="*/ 93 w 162"/>
                <a:gd name="T11" fmla="*/ 190 h 192"/>
                <a:gd name="T12" fmla="*/ 106 w 162"/>
                <a:gd name="T13" fmla="*/ 191 h 192"/>
                <a:gd name="T14" fmla="*/ 134 w 162"/>
                <a:gd name="T15" fmla="*/ 192 h 192"/>
                <a:gd name="T16" fmla="*/ 162 w 162"/>
                <a:gd name="T17" fmla="*/ 191 h 192"/>
                <a:gd name="T18" fmla="*/ 162 w 162"/>
                <a:gd name="T19" fmla="*/ 191 h 192"/>
                <a:gd name="T20" fmla="*/ 162 w 162"/>
                <a:gd name="T21" fmla="*/ 152 h 192"/>
                <a:gd name="T22" fmla="*/ 162 w 162"/>
                <a:gd name="T23" fmla="*/ 113 h 192"/>
                <a:gd name="T24" fmla="*/ 69 w 162"/>
                <a:gd name="T25" fmla="*/ 113 h 192"/>
                <a:gd name="T26" fmla="*/ 69 w 162"/>
                <a:gd name="T27" fmla="*/ 113 h 192"/>
                <a:gd name="T28" fmla="*/ 66 w 162"/>
                <a:gd name="T29" fmla="*/ 119 h 192"/>
                <a:gd name="T30" fmla="*/ 62 w 162"/>
                <a:gd name="T31" fmla="*/ 126 h 192"/>
                <a:gd name="T32" fmla="*/ 60 w 162"/>
                <a:gd name="T33" fmla="*/ 135 h 192"/>
                <a:gd name="T34" fmla="*/ 58 w 162"/>
                <a:gd name="T35" fmla="*/ 145 h 192"/>
                <a:gd name="T36" fmla="*/ 58 w 162"/>
                <a:gd name="T37" fmla="*/ 157 h 192"/>
                <a:gd name="T38" fmla="*/ 59 w 162"/>
                <a:gd name="T39" fmla="*/ 163 h 192"/>
                <a:gd name="T40" fmla="*/ 60 w 162"/>
                <a:gd name="T41" fmla="*/ 168 h 192"/>
                <a:gd name="T42" fmla="*/ 63 w 162"/>
                <a:gd name="T43" fmla="*/ 174 h 192"/>
                <a:gd name="T44" fmla="*/ 67 w 162"/>
                <a:gd name="T45" fmla="*/ 179 h 192"/>
                <a:gd name="T46" fmla="*/ 67 w 162"/>
                <a:gd name="T47" fmla="*/ 179 h 192"/>
                <a:gd name="T48" fmla="*/ 27 w 162"/>
                <a:gd name="T49" fmla="*/ 16 h 192"/>
                <a:gd name="T50" fmla="*/ 27 w 162"/>
                <a:gd name="T51" fmla="*/ 16 h 192"/>
                <a:gd name="T52" fmla="*/ 22 w 162"/>
                <a:gd name="T53" fmla="*/ 26 h 192"/>
                <a:gd name="T54" fmla="*/ 14 w 162"/>
                <a:gd name="T55" fmla="*/ 40 h 192"/>
                <a:gd name="T56" fmla="*/ 9 w 162"/>
                <a:gd name="T57" fmla="*/ 54 h 192"/>
                <a:gd name="T58" fmla="*/ 7 w 162"/>
                <a:gd name="T59" fmla="*/ 60 h 192"/>
                <a:gd name="T60" fmla="*/ 7 w 162"/>
                <a:gd name="T61" fmla="*/ 65 h 192"/>
                <a:gd name="T62" fmla="*/ 7 w 162"/>
                <a:gd name="T63" fmla="*/ 65 h 192"/>
                <a:gd name="T64" fmla="*/ 8 w 162"/>
                <a:gd name="T65" fmla="*/ 72 h 192"/>
                <a:gd name="T66" fmla="*/ 13 w 162"/>
                <a:gd name="T67" fmla="*/ 84 h 192"/>
                <a:gd name="T68" fmla="*/ 30 w 162"/>
                <a:gd name="T69" fmla="*/ 115 h 192"/>
                <a:gd name="T70" fmla="*/ 45 w 162"/>
                <a:gd name="T71" fmla="*/ 141 h 192"/>
                <a:gd name="T72" fmla="*/ 52 w 162"/>
                <a:gd name="T73" fmla="*/ 153 h 192"/>
                <a:gd name="T74" fmla="*/ 52 w 162"/>
                <a:gd name="T75" fmla="*/ 153 h 192"/>
                <a:gd name="T76" fmla="*/ 52 w 162"/>
                <a:gd name="T77" fmla="*/ 150 h 192"/>
                <a:gd name="T78" fmla="*/ 54 w 162"/>
                <a:gd name="T79" fmla="*/ 142 h 192"/>
                <a:gd name="T80" fmla="*/ 56 w 162"/>
                <a:gd name="T81" fmla="*/ 129 h 192"/>
                <a:gd name="T82" fmla="*/ 56 w 162"/>
                <a:gd name="T83" fmla="*/ 129 h 192"/>
                <a:gd name="T84" fmla="*/ 59 w 162"/>
                <a:gd name="T85" fmla="*/ 120 h 192"/>
                <a:gd name="T86" fmla="*/ 63 w 162"/>
                <a:gd name="T87" fmla="*/ 110 h 192"/>
                <a:gd name="T88" fmla="*/ 75 w 162"/>
                <a:gd name="T89" fmla="*/ 90 h 192"/>
                <a:gd name="T90" fmla="*/ 88 w 162"/>
                <a:gd name="T91" fmla="*/ 69 h 192"/>
                <a:gd name="T92" fmla="*/ 98 w 162"/>
                <a:gd name="T93" fmla="*/ 56 h 192"/>
                <a:gd name="T94" fmla="*/ 128 w 162"/>
                <a:gd name="T95" fmla="*/ 72 h 192"/>
                <a:gd name="T96" fmla="*/ 86 w 162"/>
                <a:gd name="T97" fmla="*/ 0 h 192"/>
                <a:gd name="T98" fmla="*/ 0 w 162"/>
                <a:gd name="T99" fmla="*/ 0 h 192"/>
                <a:gd name="T100" fmla="*/ 27 w 162"/>
                <a:gd name="T101"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2" h="192">
                  <a:moveTo>
                    <a:pt x="67" y="179"/>
                  </a:moveTo>
                  <a:lnTo>
                    <a:pt x="67" y="179"/>
                  </a:lnTo>
                  <a:lnTo>
                    <a:pt x="70" y="181"/>
                  </a:lnTo>
                  <a:lnTo>
                    <a:pt x="73" y="184"/>
                  </a:lnTo>
                  <a:lnTo>
                    <a:pt x="82" y="188"/>
                  </a:lnTo>
                  <a:lnTo>
                    <a:pt x="93" y="190"/>
                  </a:lnTo>
                  <a:lnTo>
                    <a:pt x="106" y="191"/>
                  </a:lnTo>
                  <a:lnTo>
                    <a:pt x="134" y="192"/>
                  </a:lnTo>
                  <a:lnTo>
                    <a:pt x="162" y="191"/>
                  </a:lnTo>
                  <a:lnTo>
                    <a:pt x="162" y="191"/>
                  </a:lnTo>
                  <a:lnTo>
                    <a:pt x="162" y="152"/>
                  </a:lnTo>
                  <a:lnTo>
                    <a:pt x="162" y="113"/>
                  </a:lnTo>
                  <a:lnTo>
                    <a:pt x="69" y="113"/>
                  </a:lnTo>
                  <a:lnTo>
                    <a:pt x="69" y="113"/>
                  </a:lnTo>
                  <a:lnTo>
                    <a:pt x="66" y="119"/>
                  </a:lnTo>
                  <a:lnTo>
                    <a:pt x="62" y="126"/>
                  </a:lnTo>
                  <a:lnTo>
                    <a:pt x="60" y="135"/>
                  </a:lnTo>
                  <a:lnTo>
                    <a:pt x="58" y="145"/>
                  </a:lnTo>
                  <a:lnTo>
                    <a:pt x="58" y="157"/>
                  </a:lnTo>
                  <a:lnTo>
                    <a:pt x="59" y="163"/>
                  </a:lnTo>
                  <a:lnTo>
                    <a:pt x="60" y="168"/>
                  </a:lnTo>
                  <a:lnTo>
                    <a:pt x="63" y="174"/>
                  </a:lnTo>
                  <a:lnTo>
                    <a:pt x="67" y="179"/>
                  </a:lnTo>
                  <a:lnTo>
                    <a:pt x="67" y="179"/>
                  </a:lnTo>
                  <a:close/>
                  <a:moveTo>
                    <a:pt x="27" y="16"/>
                  </a:moveTo>
                  <a:lnTo>
                    <a:pt x="27" y="16"/>
                  </a:lnTo>
                  <a:lnTo>
                    <a:pt x="22" y="26"/>
                  </a:lnTo>
                  <a:lnTo>
                    <a:pt x="14" y="40"/>
                  </a:lnTo>
                  <a:lnTo>
                    <a:pt x="9" y="54"/>
                  </a:lnTo>
                  <a:lnTo>
                    <a:pt x="7" y="60"/>
                  </a:lnTo>
                  <a:lnTo>
                    <a:pt x="7" y="65"/>
                  </a:lnTo>
                  <a:lnTo>
                    <a:pt x="7" y="65"/>
                  </a:lnTo>
                  <a:lnTo>
                    <a:pt x="8" y="72"/>
                  </a:lnTo>
                  <a:lnTo>
                    <a:pt x="13" y="84"/>
                  </a:lnTo>
                  <a:lnTo>
                    <a:pt x="30" y="115"/>
                  </a:lnTo>
                  <a:lnTo>
                    <a:pt x="45" y="141"/>
                  </a:lnTo>
                  <a:lnTo>
                    <a:pt x="52" y="153"/>
                  </a:lnTo>
                  <a:lnTo>
                    <a:pt x="52" y="153"/>
                  </a:lnTo>
                  <a:lnTo>
                    <a:pt x="52" y="150"/>
                  </a:lnTo>
                  <a:lnTo>
                    <a:pt x="54" y="142"/>
                  </a:lnTo>
                  <a:lnTo>
                    <a:pt x="56" y="129"/>
                  </a:lnTo>
                  <a:lnTo>
                    <a:pt x="56" y="129"/>
                  </a:lnTo>
                  <a:lnTo>
                    <a:pt x="59" y="120"/>
                  </a:lnTo>
                  <a:lnTo>
                    <a:pt x="63" y="110"/>
                  </a:lnTo>
                  <a:lnTo>
                    <a:pt x="75" y="90"/>
                  </a:lnTo>
                  <a:lnTo>
                    <a:pt x="88" y="69"/>
                  </a:lnTo>
                  <a:lnTo>
                    <a:pt x="98" y="56"/>
                  </a:lnTo>
                  <a:lnTo>
                    <a:pt x="128" y="72"/>
                  </a:lnTo>
                  <a:lnTo>
                    <a:pt x="86" y="0"/>
                  </a:lnTo>
                  <a:lnTo>
                    <a:pt x="0" y="0"/>
                  </a:lnTo>
                  <a:lnTo>
                    <a:pt x="27"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9"/>
            <p:cNvSpPr>
              <a:spLocks noEditPoints="1"/>
            </p:cNvSpPr>
            <p:nvPr/>
          </p:nvSpPr>
          <p:spPr bwMode="auto">
            <a:xfrm>
              <a:off x="643845" y="1500188"/>
              <a:ext cx="263525" cy="374650"/>
            </a:xfrm>
            <a:custGeom>
              <a:avLst/>
              <a:gdLst>
                <a:gd name="T0" fmla="*/ 164 w 166"/>
                <a:gd name="T1" fmla="*/ 89 h 236"/>
                <a:gd name="T2" fmla="*/ 164 w 166"/>
                <a:gd name="T3" fmla="*/ 89 h 236"/>
                <a:gd name="T4" fmla="*/ 165 w 166"/>
                <a:gd name="T5" fmla="*/ 85 h 236"/>
                <a:gd name="T6" fmla="*/ 166 w 166"/>
                <a:gd name="T7" fmla="*/ 80 h 236"/>
                <a:gd name="T8" fmla="*/ 165 w 166"/>
                <a:gd name="T9" fmla="*/ 70 h 236"/>
                <a:gd name="T10" fmla="*/ 161 w 166"/>
                <a:gd name="T11" fmla="*/ 60 h 236"/>
                <a:gd name="T12" fmla="*/ 157 w 166"/>
                <a:gd name="T13" fmla="*/ 49 h 236"/>
                <a:gd name="T14" fmla="*/ 142 w 166"/>
                <a:gd name="T15" fmla="*/ 25 h 236"/>
                <a:gd name="T16" fmla="*/ 127 w 166"/>
                <a:gd name="T17" fmla="*/ 0 h 236"/>
                <a:gd name="T18" fmla="*/ 127 w 166"/>
                <a:gd name="T19" fmla="*/ 0 h 236"/>
                <a:gd name="T20" fmla="*/ 93 w 166"/>
                <a:gd name="T21" fmla="*/ 19 h 236"/>
                <a:gd name="T22" fmla="*/ 60 w 166"/>
                <a:gd name="T23" fmla="*/ 39 h 236"/>
                <a:gd name="T24" fmla="*/ 105 w 166"/>
                <a:gd name="T25" fmla="*/ 119 h 236"/>
                <a:gd name="T26" fmla="*/ 105 w 166"/>
                <a:gd name="T27" fmla="*/ 119 h 236"/>
                <a:gd name="T28" fmla="*/ 113 w 166"/>
                <a:gd name="T29" fmla="*/ 119 h 236"/>
                <a:gd name="T30" fmla="*/ 121 w 166"/>
                <a:gd name="T31" fmla="*/ 118 h 236"/>
                <a:gd name="T32" fmla="*/ 130 w 166"/>
                <a:gd name="T33" fmla="*/ 116 h 236"/>
                <a:gd name="T34" fmla="*/ 140 w 166"/>
                <a:gd name="T35" fmla="*/ 113 h 236"/>
                <a:gd name="T36" fmla="*/ 150 w 166"/>
                <a:gd name="T37" fmla="*/ 107 h 236"/>
                <a:gd name="T38" fmla="*/ 154 w 166"/>
                <a:gd name="T39" fmla="*/ 104 h 236"/>
                <a:gd name="T40" fmla="*/ 159 w 166"/>
                <a:gd name="T41" fmla="*/ 100 h 236"/>
                <a:gd name="T42" fmla="*/ 162 w 166"/>
                <a:gd name="T43" fmla="*/ 94 h 236"/>
                <a:gd name="T44" fmla="*/ 164 w 166"/>
                <a:gd name="T45" fmla="*/ 89 h 236"/>
                <a:gd name="T46" fmla="*/ 164 w 166"/>
                <a:gd name="T47" fmla="*/ 89 h 236"/>
                <a:gd name="T48" fmla="*/ 43 w 166"/>
                <a:gd name="T49" fmla="*/ 204 h 236"/>
                <a:gd name="T50" fmla="*/ 43 w 166"/>
                <a:gd name="T51" fmla="*/ 204 h 236"/>
                <a:gd name="T52" fmla="*/ 54 w 166"/>
                <a:gd name="T53" fmla="*/ 204 h 236"/>
                <a:gd name="T54" fmla="*/ 70 w 166"/>
                <a:gd name="T55" fmla="*/ 203 h 236"/>
                <a:gd name="T56" fmla="*/ 85 w 166"/>
                <a:gd name="T57" fmla="*/ 201 h 236"/>
                <a:gd name="T58" fmla="*/ 91 w 166"/>
                <a:gd name="T59" fmla="*/ 200 h 236"/>
                <a:gd name="T60" fmla="*/ 97 w 166"/>
                <a:gd name="T61" fmla="*/ 198 h 236"/>
                <a:gd name="T62" fmla="*/ 97 w 166"/>
                <a:gd name="T63" fmla="*/ 198 h 236"/>
                <a:gd name="T64" fmla="*/ 102 w 166"/>
                <a:gd name="T65" fmla="*/ 192 h 236"/>
                <a:gd name="T66" fmla="*/ 110 w 166"/>
                <a:gd name="T67" fmla="*/ 181 h 236"/>
                <a:gd name="T68" fmla="*/ 127 w 166"/>
                <a:gd name="T69" fmla="*/ 153 h 236"/>
                <a:gd name="T70" fmla="*/ 143 w 166"/>
                <a:gd name="T71" fmla="*/ 126 h 236"/>
                <a:gd name="T72" fmla="*/ 150 w 166"/>
                <a:gd name="T73" fmla="*/ 114 h 236"/>
                <a:gd name="T74" fmla="*/ 150 w 166"/>
                <a:gd name="T75" fmla="*/ 114 h 236"/>
                <a:gd name="T76" fmla="*/ 146 w 166"/>
                <a:gd name="T77" fmla="*/ 116 h 236"/>
                <a:gd name="T78" fmla="*/ 139 w 166"/>
                <a:gd name="T79" fmla="*/ 118 h 236"/>
                <a:gd name="T80" fmla="*/ 126 w 166"/>
                <a:gd name="T81" fmla="*/ 123 h 236"/>
                <a:gd name="T82" fmla="*/ 126 w 166"/>
                <a:gd name="T83" fmla="*/ 123 h 236"/>
                <a:gd name="T84" fmla="*/ 118 w 166"/>
                <a:gd name="T85" fmla="*/ 125 h 236"/>
                <a:gd name="T86" fmla="*/ 108 w 166"/>
                <a:gd name="T87" fmla="*/ 126 h 236"/>
                <a:gd name="T88" fmla="*/ 83 w 166"/>
                <a:gd name="T89" fmla="*/ 126 h 236"/>
                <a:gd name="T90" fmla="*/ 59 w 166"/>
                <a:gd name="T91" fmla="*/ 125 h 236"/>
                <a:gd name="T92" fmla="*/ 42 w 166"/>
                <a:gd name="T93" fmla="*/ 123 h 236"/>
                <a:gd name="T94" fmla="*/ 42 w 166"/>
                <a:gd name="T95" fmla="*/ 90 h 236"/>
                <a:gd name="T96" fmla="*/ 0 w 166"/>
                <a:gd name="T97" fmla="*/ 162 h 236"/>
                <a:gd name="T98" fmla="*/ 43 w 166"/>
                <a:gd name="T99" fmla="*/ 236 h 236"/>
                <a:gd name="T100" fmla="*/ 43 w 166"/>
                <a:gd name="T101" fmla="*/ 20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236">
                  <a:moveTo>
                    <a:pt x="164" y="89"/>
                  </a:moveTo>
                  <a:lnTo>
                    <a:pt x="164" y="89"/>
                  </a:lnTo>
                  <a:lnTo>
                    <a:pt x="165" y="85"/>
                  </a:lnTo>
                  <a:lnTo>
                    <a:pt x="166" y="80"/>
                  </a:lnTo>
                  <a:lnTo>
                    <a:pt x="165" y="70"/>
                  </a:lnTo>
                  <a:lnTo>
                    <a:pt x="161" y="60"/>
                  </a:lnTo>
                  <a:lnTo>
                    <a:pt x="157" y="49"/>
                  </a:lnTo>
                  <a:lnTo>
                    <a:pt x="142" y="25"/>
                  </a:lnTo>
                  <a:lnTo>
                    <a:pt x="127" y="0"/>
                  </a:lnTo>
                  <a:lnTo>
                    <a:pt x="127" y="0"/>
                  </a:lnTo>
                  <a:lnTo>
                    <a:pt x="93" y="19"/>
                  </a:lnTo>
                  <a:lnTo>
                    <a:pt x="60" y="39"/>
                  </a:lnTo>
                  <a:lnTo>
                    <a:pt x="105" y="119"/>
                  </a:lnTo>
                  <a:lnTo>
                    <a:pt x="105" y="119"/>
                  </a:lnTo>
                  <a:lnTo>
                    <a:pt x="113" y="119"/>
                  </a:lnTo>
                  <a:lnTo>
                    <a:pt x="121" y="118"/>
                  </a:lnTo>
                  <a:lnTo>
                    <a:pt x="130" y="116"/>
                  </a:lnTo>
                  <a:lnTo>
                    <a:pt x="140" y="113"/>
                  </a:lnTo>
                  <a:lnTo>
                    <a:pt x="150" y="107"/>
                  </a:lnTo>
                  <a:lnTo>
                    <a:pt x="154" y="104"/>
                  </a:lnTo>
                  <a:lnTo>
                    <a:pt x="159" y="100"/>
                  </a:lnTo>
                  <a:lnTo>
                    <a:pt x="162" y="94"/>
                  </a:lnTo>
                  <a:lnTo>
                    <a:pt x="164" y="89"/>
                  </a:lnTo>
                  <a:lnTo>
                    <a:pt x="164" y="89"/>
                  </a:lnTo>
                  <a:close/>
                  <a:moveTo>
                    <a:pt x="43" y="204"/>
                  </a:moveTo>
                  <a:lnTo>
                    <a:pt x="43" y="204"/>
                  </a:lnTo>
                  <a:lnTo>
                    <a:pt x="54" y="204"/>
                  </a:lnTo>
                  <a:lnTo>
                    <a:pt x="70" y="203"/>
                  </a:lnTo>
                  <a:lnTo>
                    <a:pt x="85" y="201"/>
                  </a:lnTo>
                  <a:lnTo>
                    <a:pt x="91" y="200"/>
                  </a:lnTo>
                  <a:lnTo>
                    <a:pt x="97" y="198"/>
                  </a:lnTo>
                  <a:lnTo>
                    <a:pt x="97" y="198"/>
                  </a:lnTo>
                  <a:lnTo>
                    <a:pt x="102" y="192"/>
                  </a:lnTo>
                  <a:lnTo>
                    <a:pt x="110" y="181"/>
                  </a:lnTo>
                  <a:lnTo>
                    <a:pt x="127" y="153"/>
                  </a:lnTo>
                  <a:lnTo>
                    <a:pt x="143" y="126"/>
                  </a:lnTo>
                  <a:lnTo>
                    <a:pt x="150" y="114"/>
                  </a:lnTo>
                  <a:lnTo>
                    <a:pt x="150" y="114"/>
                  </a:lnTo>
                  <a:lnTo>
                    <a:pt x="146" y="116"/>
                  </a:lnTo>
                  <a:lnTo>
                    <a:pt x="139" y="118"/>
                  </a:lnTo>
                  <a:lnTo>
                    <a:pt x="126" y="123"/>
                  </a:lnTo>
                  <a:lnTo>
                    <a:pt x="126" y="123"/>
                  </a:lnTo>
                  <a:lnTo>
                    <a:pt x="118" y="125"/>
                  </a:lnTo>
                  <a:lnTo>
                    <a:pt x="108" y="126"/>
                  </a:lnTo>
                  <a:lnTo>
                    <a:pt x="83" y="126"/>
                  </a:lnTo>
                  <a:lnTo>
                    <a:pt x="59" y="125"/>
                  </a:lnTo>
                  <a:lnTo>
                    <a:pt x="42" y="123"/>
                  </a:lnTo>
                  <a:lnTo>
                    <a:pt x="42" y="90"/>
                  </a:lnTo>
                  <a:lnTo>
                    <a:pt x="0" y="162"/>
                  </a:lnTo>
                  <a:lnTo>
                    <a:pt x="43" y="236"/>
                  </a:lnTo>
                  <a:lnTo>
                    <a:pt x="43" y="20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1" name="Group 60"/>
          <p:cNvGrpSpPr/>
          <p:nvPr/>
        </p:nvGrpSpPr>
        <p:grpSpPr>
          <a:xfrm>
            <a:off x="6443884" y="2912105"/>
            <a:ext cx="385361" cy="497938"/>
            <a:chOff x="-2270125" y="4279901"/>
            <a:chExt cx="282575" cy="365125"/>
          </a:xfrm>
          <a:gradFill flip="none" rotWithShape="1">
            <a:gsLst>
              <a:gs pos="0">
                <a:srgbClr val="F0B71F">
                  <a:lumMod val="87000"/>
                </a:srgbClr>
              </a:gs>
              <a:gs pos="64000">
                <a:srgbClr val="F0B71F"/>
              </a:gs>
            </a:gsLst>
            <a:lin ang="16200000" scaled="1"/>
            <a:tileRect/>
          </a:gradFill>
          <a:effectLst/>
        </p:grpSpPr>
        <p:sp>
          <p:nvSpPr>
            <p:cNvPr id="62" name="Freeform 6"/>
            <p:cNvSpPr>
              <a:spLocks/>
            </p:cNvSpPr>
            <p:nvPr/>
          </p:nvSpPr>
          <p:spPr bwMode="auto">
            <a:xfrm>
              <a:off x="-2270125" y="4519613"/>
              <a:ext cx="123825" cy="19050"/>
            </a:xfrm>
            <a:custGeom>
              <a:avLst/>
              <a:gdLst>
                <a:gd name="T0" fmla="*/ 24 w 702"/>
                <a:gd name="T1" fmla="*/ 0 h 103"/>
                <a:gd name="T2" fmla="*/ 676 w 702"/>
                <a:gd name="T3" fmla="*/ 0 h 103"/>
                <a:gd name="T4" fmla="*/ 682 w 702"/>
                <a:gd name="T5" fmla="*/ 1 h 103"/>
                <a:gd name="T6" fmla="*/ 686 w 702"/>
                <a:gd name="T7" fmla="*/ 3 h 103"/>
                <a:gd name="T8" fmla="*/ 691 w 702"/>
                <a:gd name="T9" fmla="*/ 5 h 103"/>
                <a:gd name="T10" fmla="*/ 694 w 702"/>
                <a:gd name="T11" fmla="*/ 8 h 103"/>
                <a:gd name="T12" fmla="*/ 697 w 702"/>
                <a:gd name="T13" fmla="*/ 11 h 103"/>
                <a:gd name="T14" fmla="*/ 699 w 702"/>
                <a:gd name="T15" fmla="*/ 16 h 103"/>
                <a:gd name="T16" fmla="*/ 700 w 702"/>
                <a:gd name="T17" fmla="*/ 20 h 103"/>
                <a:gd name="T18" fmla="*/ 702 w 702"/>
                <a:gd name="T19" fmla="*/ 24 h 103"/>
                <a:gd name="T20" fmla="*/ 702 w 702"/>
                <a:gd name="T21" fmla="*/ 79 h 103"/>
                <a:gd name="T22" fmla="*/ 700 w 702"/>
                <a:gd name="T23" fmla="*/ 83 h 103"/>
                <a:gd name="T24" fmla="*/ 699 w 702"/>
                <a:gd name="T25" fmla="*/ 88 h 103"/>
                <a:gd name="T26" fmla="*/ 697 w 702"/>
                <a:gd name="T27" fmla="*/ 92 h 103"/>
                <a:gd name="T28" fmla="*/ 694 w 702"/>
                <a:gd name="T29" fmla="*/ 95 h 103"/>
                <a:gd name="T30" fmla="*/ 691 w 702"/>
                <a:gd name="T31" fmla="*/ 99 h 103"/>
                <a:gd name="T32" fmla="*/ 686 w 702"/>
                <a:gd name="T33" fmla="*/ 101 h 103"/>
                <a:gd name="T34" fmla="*/ 682 w 702"/>
                <a:gd name="T35" fmla="*/ 102 h 103"/>
                <a:gd name="T36" fmla="*/ 676 w 702"/>
                <a:gd name="T37" fmla="*/ 103 h 103"/>
                <a:gd name="T38" fmla="*/ 24 w 702"/>
                <a:gd name="T39" fmla="*/ 103 h 103"/>
                <a:gd name="T40" fmla="*/ 20 w 702"/>
                <a:gd name="T41" fmla="*/ 102 h 103"/>
                <a:gd name="T42" fmla="*/ 16 w 702"/>
                <a:gd name="T43" fmla="*/ 101 h 103"/>
                <a:gd name="T44" fmla="*/ 11 w 702"/>
                <a:gd name="T45" fmla="*/ 99 h 103"/>
                <a:gd name="T46" fmla="*/ 8 w 702"/>
                <a:gd name="T47" fmla="*/ 95 h 103"/>
                <a:gd name="T48" fmla="*/ 5 w 702"/>
                <a:gd name="T49" fmla="*/ 92 h 103"/>
                <a:gd name="T50" fmla="*/ 2 w 702"/>
                <a:gd name="T51" fmla="*/ 88 h 103"/>
                <a:gd name="T52" fmla="*/ 1 w 702"/>
                <a:gd name="T53" fmla="*/ 83 h 103"/>
                <a:gd name="T54" fmla="*/ 0 w 702"/>
                <a:gd name="T55" fmla="*/ 79 h 103"/>
                <a:gd name="T56" fmla="*/ 0 w 702"/>
                <a:gd name="T57" fmla="*/ 24 h 103"/>
                <a:gd name="T58" fmla="*/ 1 w 702"/>
                <a:gd name="T59" fmla="*/ 20 h 103"/>
                <a:gd name="T60" fmla="*/ 2 w 702"/>
                <a:gd name="T61" fmla="*/ 16 h 103"/>
                <a:gd name="T62" fmla="*/ 5 w 702"/>
                <a:gd name="T63" fmla="*/ 11 h 103"/>
                <a:gd name="T64" fmla="*/ 8 w 702"/>
                <a:gd name="T65" fmla="*/ 8 h 103"/>
                <a:gd name="T66" fmla="*/ 11 w 702"/>
                <a:gd name="T67" fmla="*/ 5 h 103"/>
                <a:gd name="T68" fmla="*/ 16 w 702"/>
                <a:gd name="T69" fmla="*/ 3 h 103"/>
                <a:gd name="T70" fmla="*/ 20 w 702"/>
                <a:gd name="T71" fmla="*/ 1 h 103"/>
                <a:gd name="T72" fmla="*/ 24 w 702"/>
                <a:gd name="T7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2" h="103">
                  <a:moveTo>
                    <a:pt x="24" y="0"/>
                  </a:moveTo>
                  <a:lnTo>
                    <a:pt x="676" y="0"/>
                  </a:lnTo>
                  <a:lnTo>
                    <a:pt x="682" y="1"/>
                  </a:lnTo>
                  <a:lnTo>
                    <a:pt x="686" y="3"/>
                  </a:lnTo>
                  <a:lnTo>
                    <a:pt x="691" y="5"/>
                  </a:lnTo>
                  <a:lnTo>
                    <a:pt x="694" y="8"/>
                  </a:lnTo>
                  <a:lnTo>
                    <a:pt x="697" y="11"/>
                  </a:lnTo>
                  <a:lnTo>
                    <a:pt x="699" y="16"/>
                  </a:lnTo>
                  <a:lnTo>
                    <a:pt x="700" y="20"/>
                  </a:lnTo>
                  <a:lnTo>
                    <a:pt x="702" y="24"/>
                  </a:lnTo>
                  <a:lnTo>
                    <a:pt x="702" y="79"/>
                  </a:lnTo>
                  <a:lnTo>
                    <a:pt x="700" y="83"/>
                  </a:lnTo>
                  <a:lnTo>
                    <a:pt x="699" y="88"/>
                  </a:lnTo>
                  <a:lnTo>
                    <a:pt x="697" y="92"/>
                  </a:lnTo>
                  <a:lnTo>
                    <a:pt x="694" y="95"/>
                  </a:lnTo>
                  <a:lnTo>
                    <a:pt x="691" y="99"/>
                  </a:lnTo>
                  <a:lnTo>
                    <a:pt x="686" y="101"/>
                  </a:lnTo>
                  <a:lnTo>
                    <a:pt x="682" y="102"/>
                  </a:lnTo>
                  <a:lnTo>
                    <a:pt x="676" y="103"/>
                  </a:lnTo>
                  <a:lnTo>
                    <a:pt x="24" y="103"/>
                  </a:lnTo>
                  <a:lnTo>
                    <a:pt x="20" y="102"/>
                  </a:lnTo>
                  <a:lnTo>
                    <a:pt x="16" y="101"/>
                  </a:lnTo>
                  <a:lnTo>
                    <a:pt x="11" y="99"/>
                  </a:lnTo>
                  <a:lnTo>
                    <a:pt x="8" y="95"/>
                  </a:lnTo>
                  <a:lnTo>
                    <a:pt x="5" y="92"/>
                  </a:lnTo>
                  <a:lnTo>
                    <a:pt x="2" y="88"/>
                  </a:lnTo>
                  <a:lnTo>
                    <a:pt x="1" y="83"/>
                  </a:lnTo>
                  <a:lnTo>
                    <a:pt x="0" y="79"/>
                  </a:lnTo>
                  <a:lnTo>
                    <a:pt x="0" y="24"/>
                  </a:lnTo>
                  <a:lnTo>
                    <a:pt x="1" y="20"/>
                  </a:lnTo>
                  <a:lnTo>
                    <a:pt x="2" y="16"/>
                  </a:lnTo>
                  <a:lnTo>
                    <a:pt x="5" y="11"/>
                  </a:lnTo>
                  <a:lnTo>
                    <a:pt x="8" y="8"/>
                  </a:lnTo>
                  <a:lnTo>
                    <a:pt x="11" y="5"/>
                  </a:lnTo>
                  <a:lnTo>
                    <a:pt x="16" y="3"/>
                  </a:lnTo>
                  <a:lnTo>
                    <a:pt x="20" y="1"/>
                  </a:lnTo>
                  <a:lnTo>
                    <a:pt x="24"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800"/>
            </a:p>
          </p:txBody>
        </p:sp>
        <p:sp>
          <p:nvSpPr>
            <p:cNvPr id="63" name="Freeform 7"/>
            <p:cNvSpPr>
              <a:spLocks noEditPoints="1"/>
            </p:cNvSpPr>
            <p:nvPr/>
          </p:nvSpPr>
          <p:spPr bwMode="auto">
            <a:xfrm>
              <a:off x="-2236787" y="4279901"/>
              <a:ext cx="231775" cy="338138"/>
            </a:xfrm>
            <a:custGeom>
              <a:avLst/>
              <a:gdLst>
                <a:gd name="T0" fmla="*/ 240 w 1314"/>
                <a:gd name="T1" fmla="*/ 1794 h 1922"/>
                <a:gd name="T2" fmla="*/ 1304 w 1314"/>
                <a:gd name="T3" fmla="*/ 1896 h 1922"/>
                <a:gd name="T4" fmla="*/ 1247 w 1314"/>
                <a:gd name="T5" fmla="*/ 1775 h 1922"/>
                <a:gd name="T6" fmla="*/ 1174 w 1314"/>
                <a:gd name="T7" fmla="*/ 1669 h 1922"/>
                <a:gd name="T8" fmla="*/ 1084 w 1314"/>
                <a:gd name="T9" fmla="*/ 1579 h 1922"/>
                <a:gd name="T10" fmla="*/ 1115 w 1314"/>
                <a:gd name="T11" fmla="*/ 1347 h 1922"/>
                <a:gd name="T12" fmla="*/ 1095 w 1314"/>
                <a:gd name="T13" fmla="*/ 1126 h 1922"/>
                <a:gd name="T14" fmla="*/ 1023 w 1314"/>
                <a:gd name="T15" fmla="*/ 918 h 1922"/>
                <a:gd name="T16" fmla="*/ 698 w 1314"/>
                <a:gd name="T17" fmla="*/ 599 h 1922"/>
                <a:gd name="T18" fmla="*/ 681 w 1314"/>
                <a:gd name="T19" fmla="*/ 579 h 1922"/>
                <a:gd name="T20" fmla="*/ 614 w 1314"/>
                <a:gd name="T21" fmla="*/ 547 h 1922"/>
                <a:gd name="T22" fmla="*/ 517 w 1314"/>
                <a:gd name="T23" fmla="*/ 551 h 1922"/>
                <a:gd name="T24" fmla="*/ 476 w 1314"/>
                <a:gd name="T25" fmla="*/ 571 h 1922"/>
                <a:gd name="T26" fmla="*/ 450 w 1314"/>
                <a:gd name="T27" fmla="*/ 600 h 1922"/>
                <a:gd name="T28" fmla="*/ 431 w 1314"/>
                <a:gd name="T29" fmla="*/ 623 h 1922"/>
                <a:gd name="T30" fmla="*/ 417 w 1314"/>
                <a:gd name="T31" fmla="*/ 606 h 1922"/>
                <a:gd name="T32" fmla="*/ 445 w 1314"/>
                <a:gd name="T33" fmla="*/ 562 h 1922"/>
                <a:gd name="T34" fmla="*/ 488 w 1314"/>
                <a:gd name="T35" fmla="*/ 534 h 1922"/>
                <a:gd name="T36" fmla="*/ 541 w 1314"/>
                <a:gd name="T37" fmla="*/ 518 h 1922"/>
                <a:gd name="T38" fmla="*/ 597 w 1314"/>
                <a:gd name="T39" fmla="*/ 516 h 1922"/>
                <a:gd name="T40" fmla="*/ 655 w 1314"/>
                <a:gd name="T41" fmla="*/ 530 h 1922"/>
                <a:gd name="T42" fmla="*/ 731 w 1314"/>
                <a:gd name="T43" fmla="*/ 496 h 1922"/>
                <a:gd name="T44" fmla="*/ 798 w 1314"/>
                <a:gd name="T45" fmla="*/ 483 h 1922"/>
                <a:gd name="T46" fmla="*/ 818 w 1314"/>
                <a:gd name="T47" fmla="*/ 458 h 1922"/>
                <a:gd name="T48" fmla="*/ 812 w 1314"/>
                <a:gd name="T49" fmla="*/ 426 h 1922"/>
                <a:gd name="T50" fmla="*/ 765 w 1314"/>
                <a:gd name="T51" fmla="*/ 408 h 1922"/>
                <a:gd name="T52" fmla="*/ 788 w 1314"/>
                <a:gd name="T53" fmla="*/ 296 h 1922"/>
                <a:gd name="T54" fmla="*/ 845 w 1314"/>
                <a:gd name="T55" fmla="*/ 184 h 1922"/>
                <a:gd name="T56" fmla="*/ 917 w 1314"/>
                <a:gd name="T57" fmla="*/ 182 h 1922"/>
                <a:gd name="T58" fmla="*/ 914 w 1314"/>
                <a:gd name="T59" fmla="*/ 154 h 1922"/>
                <a:gd name="T60" fmla="*/ 748 w 1314"/>
                <a:gd name="T61" fmla="*/ 58 h 1922"/>
                <a:gd name="T62" fmla="*/ 573 w 1314"/>
                <a:gd name="T63" fmla="*/ 0 h 1922"/>
                <a:gd name="T64" fmla="*/ 549 w 1314"/>
                <a:gd name="T65" fmla="*/ 15 h 1922"/>
                <a:gd name="T66" fmla="*/ 593 w 1314"/>
                <a:gd name="T67" fmla="*/ 73 h 1922"/>
                <a:gd name="T68" fmla="*/ 543 w 1314"/>
                <a:gd name="T69" fmla="*/ 185 h 1922"/>
                <a:gd name="T70" fmla="*/ 472 w 1314"/>
                <a:gd name="T71" fmla="*/ 274 h 1922"/>
                <a:gd name="T72" fmla="*/ 429 w 1314"/>
                <a:gd name="T73" fmla="*/ 249 h 1922"/>
                <a:gd name="T74" fmla="*/ 400 w 1314"/>
                <a:gd name="T75" fmla="*/ 264 h 1922"/>
                <a:gd name="T76" fmla="*/ 394 w 1314"/>
                <a:gd name="T77" fmla="*/ 296 h 1922"/>
                <a:gd name="T78" fmla="*/ 425 w 1314"/>
                <a:gd name="T79" fmla="*/ 356 h 1922"/>
                <a:gd name="T80" fmla="*/ 277 w 1314"/>
                <a:gd name="T81" fmla="*/ 684 h 1922"/>
                <a:gd name="T82" fmla="*/ 111 w 1314"/>
                <a:gd name="T83" fmla="*/ 996 h 1922"/>
                <a:gd name="T84" fmla="*/ 65 w 1314"/>
                <a:gd name="T85" fmla="*/ 994 h 1922"/>
                <a:gd name="T86" fmla="*/ 49 w 1314"/>
                <a:gd name="T87" fmla="*/ 1011 h 1922"/>
                <a:gd name="T88" fmla="*/ 44 w 1314"/>
                <a:gd name="T89" fmla="*/ 1040 h 1922"/>
                <a:gd name="T90" fmla="*/ 127 w 1314"/>
                <a:gd name="T91" fmla="*/ 1178 h 1922"/>
                <a:gd name="T92" fmla="*/ 216 w 1314"/>
                <a:gd name="T93" fmla="*/ 1266 h 1922"/>
                <a:gd name="T94" fmla="*/ 376 w 1314"/>
                <a:gd name="T95" fmla="*/ 1243 h 1922"/>
                <a:gd name="T96" fmla="*/ 455 w 1314"/>
                <a:gd name="T97" fmla="*/ 1221 h 1922"/>
                <a:gd name="T98" fmla="*/ 464 w 1314"/>
                <a:gd name="T99" fmla="*/ 1197 h 1922"/>
                <a:gd name="T100" fmla="*/ 452 w 1314"/>
                <a:gd name="T101" fmla="*/ 1168 h 1922"/>
                <a:gd name="T102" fmla="*/ 577 w 1314"/>
                <a:gd name="T103" fmla="*/ 674 h 1922"/>
                <a:gd name="T104" fmla="*/ 621 w 1314"/>
                <a:gd name="T105" fmla="*/ 697 h 1922"/>
                <a:gd name="T106" fmla="*/ 626 w 1314"/>
                <a:gd name="T107" fmla="*/ 749 h 1922"/>
                <a:gd name="T108" fmla="*/ 587 w 1314"/>
                <a:gd name="T109" fmla="*/ 780 h 1922"/>
                <a:gd name="T110" fmla="*/ 538 w 1314"/>
                <a:gd name="T111" fmla="*/ 766 h 1922"/>
                <a:gd name="T112" fmla="*/ 524 w 1314"/>
                <a:gd name="T113" fmla="*/ 717 h 1922"/>
                <a:gd name="T114" fmla="*/ 556 w 1314"/>
                <a:gd name="T115" fmla="*/ 679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4" h="1922">
                  <a:moveTo>
                    <a:pt x="514" y="944"/>
                  </a:moveTo>
                  <a:lnTo>
                    <a:pt x="669" y="944"/>
                  </a:lnTo>
                  <a:lnTo>
                    <a:pt x="690" y="1522"/>
                  </a:lnTo>
                  <a:lnTo>
                    <a:pt x="0" y="1502"/>
                  </a:lnTo>
                  <a:lnTo>
                    <a:pt x="240" y="1794"/>
                  </a:lnTo>
                  <a:lnTo>
                    <a:pt x="173" y="1871"/>
                  </a:lnTo>
                  <a:lnTo>
                    <a:pt x="460" y="1876"/>
                  </a:lnTo>
                  <a:lnTo>
                    <a:pt x="454" y="1917"/>
                  </a:lnTo>
                  <a:lnTo>
                    <a:pt x="1314" y="1922"/>
                  </a:lnTo>
                  <a:lnTo>
                    <a:pt x="1304" y="1896"/>
                  </a:lnTo>
                  <a:lnTo>
                    <a:pt x="1294" y="1871"/>
                  </a:lnTo>
                  <a:lnTo>
                    <a:pt x="1283" y="1846"/>
                  </a:lnTo>
                  <a:lnTo>
                    <a:pt x="1271" y="1822"/>
                  </a:lnTo>
                  <a:lnTo>
                    <a:pt x="1259" y="1798"/>
                  </a:lnTo>
                  <a:lnTo>
                    <a:pt x="1247" y="1775"/>
                  </a:lnTo>
                  <a:lnTo>
                    <a:pt x="1233" y="1752"/>
                  </a:lnTo>
                  <a:lnTo>
                    <a:pt x="1220" y="1730"/>
                  </a:lnTo>
                  <a:lnTo>
                    <a:pt x="1205" y="1709"/>
                  </a:lnTo>
                  <a:lnTo>
                    <a:pt x="1190" y="1688"/>
                  </a:lnTo>
                  <a:lnTo>
                    <a:pt x="1174" y="1669"/>
                  </a:lnTo>
                  <a:lnTo>
                    <a:pt x="1157" y="1649"/>
                  </a:lnTo>
                  <a:lnTo>
                    <a:pt x="1140" y="1631"/>
                  </a:lnTo>
                  <a:lnTo>
                    <a:pt x="1122" y="1613"/>
                  </a:lnTo>
                  <a:lnTo>
                    <a:pt x="1103" y="1596"/>
                  </a:lnTo>
                  <a:lnTo>
                    <a:pt x="1084" y="1579"/>
                  </a:lnTo>
                  <a:lnTo>
                    <a:pt x="1095" y="1531"/>
                  </a:lnTo>
                  <a:lnTo>
                    <a:pt x="1103" y="1484"/>
                  </a:lnTo>
                  <a:lnTo>
                    <a:pt x="1110" y="1438"/>
                  </a:lnTo>
                  <a:lnTo>
                    <a:pt x="1113" y="1392"/>
                  </a:lnTo>
                  <a:lnTo>
                    <a:pt x="1115" y="1347"/>
                  </a:lnTo>
                  <a:lnTo>
                    <a:pt x="1115" y="1302"/>
                  </a:lnTo>
                  <a:lnTo>
                    <a:pt x="1114" y="1257"/>
                  </a:lnTo>
                  <a:lnTo>
                    <a:pt x="1110" y="1213"/>
                  </a:lnTo>
                  <a:lnTo>
                    <a:pt x="1103" y="1169"/>
                  </a:lnTo>
                  <a:lnTo>
                    <a:pt x="1095" y="1126"/>
                  </a:lnTo>
                  <a:lnTo>
                    <a:pt x="1085" y="1084"/>
                  </a:lnTo>
                  <a:lnTo>
                    <a:pt x="1073" y="1041"/>
                  </a:lnTo>
                  <a:lnTo>
                    <a:pt x="1058" y="1000"/>
                  </a:lnTo>
                  <a:lnTo>
                    <a:pt x="1041" y="958"/>
                  </a:lnTo>
                  <a:lnTo>
                    <a:pt x="1023" y="918"/>
                  </a:lnTo>
                  <a:lnTo>
                    <a:pt x="1002" y="877"/>
                  </a:lnTo>
                  <a:lnTo>
                    <a:pt x="705" y="603"/>
                  </a:lnTo>
                  <a:lnTo>
                    <a:pt x="702" y="602"/>
                  </a:lnTo>
                  <a:lnTo>
                    <a:pt x="700" y="601"/>
                  </a:lnTo>
                  <a:lnTo>
                    <a:pt x="698" y="599"/>
                  </a:lnTo>
                  <a:lnTo>
                    <a:pt x="695" y="597"/>
                  </a:lnTo>
                  <a:lnTo>
                    <a:pt x="692" y="593"/>
                  </a:lnTo>
                  <a:lnTo>
                    <a:pt x="689" y="587"/>
                  </a:lnTo>
                  <a:lnTo>
                    <a:pt x="680" y="581"/>
                  </a:lnTo>
                  <a:lnTo>
                    <a:pt x="681" y="579"/>
                  </a:lnTo>
                  <a:lnTo>
                    <a:pt x="670" y="571"/>
                  </a:lnTo>
                  <a:lnTo>
                    <a:pt x="658" y="563"/>
                  </a:lnTo>
                  <a:lnTo>
                    <a:pt x="645" y="557"/>
                  </a:lnTo>
                  <a:lnTo>
                    <a:pt x="632" y="551"/>
                  </a:lnTo>
                  <a:lnTo>
                    <a:pt x="614" y="547"/>
                  </a:lnTo>
                  <a:lnTo>
                    <a:pt x="594" y="543"/>
                  </a:lnTo>
                  <a:lnTo>
                    <a:pt x="574" y="542"/>
                  </a:lnTo>
                  <a:lnTo>
                    <a:pt x="555" y="543"/>
                  </a:lnTo>
                  <a:lnTo>
                    <a:pt x="535" y="547"/>
                  </a:lnTo>
                  <a:lnTo>
                    <a:pt x="517" y="551"/>
                  </a:lnTo>
                  <a:lnTo>
                    <a:pt x="508" y="554"/>
                  </a:lnTo>
                  <a:lnTo>
                    <a:pt x="499" y="558"/>
                  </a:lnTo>
                  <a:lnTo>
                    <a:pt x="491" y="562"/>
                  </a:lnTo>
                  <a:lnTo>
                    <a:pt x="484" y="566"/>
                  </a:lnTo>
                  <a:lnTo>
                    <a:pt x="476" y="571"/>
                  </a:lnTo>
                  <a:lnTo>
                    <a:pt x="470" y="576"/>
                  </a:lnTo>
                  <a:lnTo>
                    <a:pt x="464" y="582"/>
                  </a:lnTo>
                  <a:lnTo>
                    <a:pt x="459" y="587"/>
                  </a:lnTo>
                  <a:lnTo>
                    <a:pt x="454" y="594"/>
                  </a:lnTo>
                  <a:lnTo>
                    <a:pt x="450" y="600"/>
                  </a:lnTo>
                  <a:lnTo>
                    <a:pt x="447" y="607"/>
                  </a:lnTo>
                  <a:lnTo>
                    <a:pt x="443" y="614"/>
                  </a:lnTo>
                  <a:lnTo>
                    <a:pt x="441" y="619"/>
                  </a:lnTo>
                  <a:lnTo>
                    <a:pt x="437" y="622"/>
                  </a:lnTo>
                  <a:lnTo>
                    <a:pt x="431" y="623"/>
                  </a:lnTo>
                  <a:lnTo>
                    <a:pt x="426" y="623"/>
                  </a:lnTo>
                  <a:lnTo>
                    <a:pt x="422" y="621"/>
                  </a:lnTo>
                  <a:lnTo>
                    <a:pt x="418" y="617"/>
                  </a:lnTo>
                  <a:lnTo>
                    <a:pt x="417" y="611"/>
                  </a:lnTo>
                  <a:lnTo>
                    <a:pt x="417" y="606"/>
                  </a:lnTo>
                  <a:lnTo>
                    <a:pt x="422" y="596"/>
                  </a:lnTo>
                  <a:lnTo>
                    <a:pt x="426" y="587"/>
                  </a:lnTo>
                  <a:lnTo>
                    <a:pt x="431" y="578"/>
                  </a:lnTo>
                  <a:lnTo>
                    <a:pt x="438" y="570"/>
                  </a:lnTo>
                  <a:lnTo>
                    <a:pt x="445" y="562"/>
                  </a:lnTo>
                  <a:lnTo>
                    <a:pt x="452" y="555"/>
                  </a:lnTo>
                  <a:lnTo>
                    <a:pt x="460" y="549"/>
                  </a:lnTo>
                  <a:lnTo>
                    <a:pt x="470" y="543"/>
                  </a:lnTo>
                  <a:lnTo>
                    <a:pt x="478" y="538"/>
                  </a:lnTo>
                  <a:lnTo>
                    <a:pt x="488" y="534"/>
                  </a:lnTo>
                  <a:lnTo>
                    <a:pt x="498" y="529"/>
                  </a:lnTo>
                  <a:lnTo>
                    <a:pt x="508" y="525"/>
                  </a:lnTo>
                  <a:lnTo>
                    <a:pt x="519" y="523"/>
                  </a:lnTo>
                  <a:lnTo>
                    <a:pt x="530" y="519"/>
                  </a:lnTo>
                  <a:lnTo>
                    <a:pt x="541" y="518"/>
                  </a:lnTo>
                  <a:lnTo>
                    <a:pt x="551" y="516"/>
                  </a:lnTo>
                  <a:lnTo>
                    <a:pt x="563" y="515"/>
                  </a:lnTo>
                  <a:lnTo>
                    <a:pt x="574" y="515"/>
                  </a:lnTo>
                  <a:lnTo>
                    <a:pt x="585" y="515"/>
                  </a:lnTo>
                  <a:lnTo>
                    <a:pt x="597" y="516"/>
                  </a:lnTo>
                  <a:lnTo>
                    <a:pt x="608" y="517"/>
                  </a:lnTo>
                  <a:lnTo>
                    <a:pt x="619" y="519"/>
                  </a:lnTo>
                  <a:lnTo>
                    <a:pt x="630" y="523"/>
                  </a:lnTo>
                  <a:lnTo>
                    <a:pt x="640" y="525"/>
                  </a:lnTo>
                  <a:lnTo>
                    <a:pt x="655" y="530"/>
                  </a:lnTo>
                  <a:lnTo>
                    <a:pt x="668" y="537"/>
                  </a:lnTo>
                  <a:lnTo>
                    <a:pt x="681" y="545"/>
                  </a:lnTo>
                  <a:lnTo>
                    <a:pt x="693" y="553"/>
                  </a:lnTo>
                  <a:lnTo>
                    <a:pt x="719" y="496"/>
                  </a:lnTo>
                  <a:lnTo>
                    <a:pt x="731" y="496"/>
                  </a:lnTo>
                  <a:lnTo>
                    <a:pt x="742" y="498"/>
                  </a:lnTo>
                  <a:lnTo>
                    <a:pt x="754" y="498"/>
                  </a:lnTo>
                  <a:lnTo>
                    <a:pt x="766" y="498"/>
                  </a:lnTo>
                  <a:lnTo>
                    <a:pt x="784" y="491"/>
                  </a:lnTo>
                  <a:lnTo>
                    <a:pt x="798" y="483"/>
                  </a:lnTo>
                  <a:lnTo>
                    <a:pt x="803" y="479"/>
                  </a:lnTo>
                  <a:lnTo>
                    <a:pt x="809" y="474"/>
                  </a:lnTo>
                  <a:lnTo>
                    <a:pt x="813" y="469"/>
                  </a:lnTo>
                  <a:lnTo>
                    <a:pt x="815" y="464"/>
                  </a:lnTo>
                  <a:lnTo>
                    <a:pt x="818" y="458"/>
                  </a:lnTo>
                  <a:lnTo>
                    <a:pt x="819" y="453"/>
                  </a:lnTo>
                  <a:lnTo>
                    <a:pt x="819" y="446"/>
                  </a:lnTo>
                  <a:lnTo>
                    <a:pt x="818" y="440"/>
                  </a:lnTo>
                  <a:lnTo>
                    <a:pt x="815" y="432"/>
                  </a:lnTo>
                  <a:lnTo>
                    <a:pt x="812" y="426"/>
                  </a:lnTo>
                  <a:lnTo>
                    <a:pt x="807" y="418"/>
                  </a:lnTo>
                  <a:lnTo>
                    <a:pt x="801" y="409"/>
                  </a:lnTo>
                  <a:lnTo>
                    <a:pt x="789" y="409"/>
                  </a:lnTo>
                  <a:lnTo>
                    <a:pt x="777" y="409"/>
                  </a:lnTo>
                  <a:lnTo>
                    <a:pt x="765" y="408"/>
                  </a:lnTo>
                  <a:lnTo>
                    <a:pt x="753" y="408"/>
                  </a:lnTo>
                  <a:lnTo>
                    <a:pt x="762" y="380"/>
                  </a:lnTo>
                  <a:lnTo>
                    <a:pt x="771" y="352"/>
                  </a:lnTo>
                  <a:lnTo>
                    <a:pt x="779" y="324"/>
                  </a:lnTo>
                  <a:lnTo>
                    <a:pt x="788" y="296"/>
                  </a:lnTo>
                  <a:lnTo>
                    <a:pt x="797" y="267"/>
                  </a:lnTo>
                  <a:lnTo>
                    <a:pt x="806" y="240"/>
                  </a:lnTo>
                  <a:lnTo>
                    <a:pt x="814" y="212"/>
                  </a:lnTo>
                  <a:lnTo>
                    <a:pt x="823" y="183"/>
                  </a:lnTo>
                  <a:lnTo>
                    <a:pt x="845" y="184"/>
                  </a:lnTo>
                  <a:lnTo>
                    <a:pt x="866" y="185"/>
                  </a:lnTo>
                  <a:lnTo>
                    <a:pt x="886" y="186"/>
                  </a:lnTo>
                  <a:lnTo>
                    <a:pt x="907" y="188"/>
                  </a:lnTo>
                  <a:lnTo>
                    <a:pt x="912" y="185"/>
                  </a:lnTo>
                  <a:lnTo>
                    <a:pt x="917" y="182"/>
                  </a:lnTo>
                  <a:lnTo>
                    <a:pt x="919" y="177"/>
                  </a:lnTo>
                  <a:lnTo>
                    <a:pt x="920" y="171"/>
                  </a:lnTo>
                  <a:lnTo>
                    <a:pt x="919" y="166"/>
                  </a:lnTo>
                  <a:lnTo>
                    <a:pt x="917" y="159"/>
                  </a:lnTo>
                  <a:lnTo>
                    <a:pt x="914" y="154"/>
                  </a:lnTo>
                  <a:lnTo>
                    <a:pt x="908" y="147"/>
                  </a:lnTo>
                  <a:lnTo>
                    <a:pt x="851" y="113"/>
                  </a:lnTo>
                  <a:lnTo>
                    <a:pt x="810" y="88"/>
                  </a:lnTo>
                  <a:lnTo>
                    <a:pt x="776" y="71"/>
                  </a:lnTo>
                  <a:lnTo>
                    <a:pt x="748" y="58"/>
                  </a:lnTo>
                  <a:lnTo>
                    <a:pt x="719" y="47"/>
                  </a:lnTo>
                  <a:lnTo>
                    <a:pt x="686" y="35"/>
                  </a:lnTo>
                  <a:lnTo>
                    <a:pt x="641" y="21"/>
                  </a:lnTo>
                  <a:lnTo>
                    <a:pt x="581" y="1"/>
                  </a:lnTo>
                  <a:lnTo>
                    <a:pt x="573" y="0"/>
                  </a:lnTo>
                  <a:lnTo>
                    <a:pt x="567" y="1"/>
                  </a:lnTo>
                  <a:lnTo>
                    <a:pt x="560" y="3"/>
                  </a:lnTo>
                  <a:lnTo>
                    <a:pt x="556" y="6"/>
                  </a:lnTo>
                  <a:lnTo>
                    <a:pt x="551" y="11"/>
                  </a:lnTo>
                  <a:lnTo>
                    <a:pt x="549" y="15"/>
                  </a:lnTo>
                  <a:lnTo>
                    <a:pt x="549" y="21"/>
                  </a:lnTo>
                  <a:lnTo>
                    <a:pt x="550" y="26"/>
                  </a:lnTo>
                  <a:lnTo>
                    <a:pt x="565" y="41"/>
                  </a:lnTo>
                  <a:lnTo>
                    <a:pt x="579" y="57"/>
                  </a:lnTo>
                  <a:lnTo>
                    <a:pt x="593" y="73"/>
                  </a:lnTo>
                  <a:lnTo>
                    <a:pt x="607" y="88"/>
                  </a:lnTo>
                  <a:lnTo>
                    <a:pt x="591" y="112"/>
                  </a:lnTo>
                  <a:lnTo>
                    <a:pt x="575" y="136"/>
                  </a:lnTo>
                  <a:lnTo>
                    <a:pt x="559" y="160"/>
                  </a:lnTo>
                  <a:lnTo>
                    <a:pt x="543" y="185"/>
                  </a:lnTo>
                  <a:lnTo>
                    <a:pt x="527" y="209"/>
                  </a:lnTo>
                  <a:lnTo>
                    <a:pt x="511" y="233"/>
                  </a:lnTo>
                  <a:lnTo>
                    <a:pt x="495" y="259"/>
                  </a:lnTo>
                  <a:lnTo>
                    <a:pt x="479" y="283"/>
                  </a:lnTo>
                  <a:lnTo>
                    <a:pt x="472" y="274"/>
                  </a:lnTo>
                  <a:lnTo>
                    <a:pt x="464" y="264"/>
                  </a:lnTo>
                  <a:lnTo>
                    <a:pt x="457" y="255"/>
                  </a:lnTo>
                  <a:lnTo>
                    <a:pt x="448" y="247"/>
                  </a:lnTo>
                  <a:lnTo>
                    <a:pt x="438" y="247"/>
                  </a:lnTo>
                  <a:lnTo>
                    <a:pt x="429" y="249"/>
                  </a:lnTo>
                  <a:lnTo>
                    <a:pt x="422" y="250"/>
                  </a:lnTo>
                  <a:lnTo>
                    <a:pt x="414" y="253"/>
                  </a:lnTo>
                  <a:lnTo>
                    <a:pt x="409" y="256"/>
                  </a:lnTo>
                  <a:lnTo>
                    <a:pt x="404" y="260"/>
                  </a:lnTo>
                  <a:lnTo>
                    <a:pt x="400" y="264"/>
                  </a:lnTo>
                  <a:lnTo>
                    <a:pt x="398" y="269"/>
                  </a:lnTo>
                  <a:lnTo>
                    <a:pt x="395" y="275"/>
                  </a:lnTo>
                  <a:lnTo>
                    <a:pt x="394" y="281"/>
                  </a:lnTo>
                  <a:lnTo>
                    <a:pt x="393" y="288"/>
                  </a:lnTo>
                  <a:lnTo>
                    <a:pt x="394" y="296"/>
                  </a:lnTo>
                  <a:lnTo>
                    <a:pt x="397" y="311"/>
                  </a:lnTo>
                  <a:lnTo>
                    <a:pt x="402" y="328"/>
                  </a:lnTo>
                  <a:lnTo>
                    <a:pt x="410" y="337"/>
                  </a:lnTo>
                  <a:lnTo>
                    <a:pt x="417" y="346"/>
                  </a:lnTo>
                  <a:lnTo>
                    <a:pt x="425" y="356"/>
                  </a:lnTo>
                  <a:lnTo>
                    <a:pt x="433" y="364"/>
                  </a:lnTo>
                  <a:lnTo>
                    <a:pt x="394" y="444"/>
                  </a:lnTo>
                  <a:lnTo>
                    <a:pt x="355" y="524"/>
                  </a:lnTo>
                  <a:lnTo>
                    <a:pt x="316" y="605"/>
                  </a:lnTo>
                  <a:lnTo>
                    <a:pt x="277" y="684"/>
                  </a:lnTo>
                  <a:lnTo>
                    <a:pt x="238" y="764"/>
                  </a:lnTo>
                  <a:lnTo>
                    <a:pt x="199" y="845"/>
                  </a:lnTo>
                  <a:lnTo>
                    <a:pt x="160" y="924"/>
                  </a:lnTo>
                  <a:lnTo>
                    <a:pt x="121" y="1004"/>
                  </a:lnTo>
                  <a:lnTo>
                    <a:pt x="111" y="996"/>
                  </a:lnTo>
                  <a:lnTo>
                    <a:pt x="101" y="989"/>
                  </a:lnTo>
                  <a:lnTo>
                    <a:pt x="87" y="989"/>
                  </a:lnTo>
                  <a:lnTo>
                    <a:pt x="76" y="991"/>
                  </a:lnTo>
                  <a:lnTo>
                    <a:pt x="70" y="992"/>
                  </a:lnTo>
                  <a:lnTo>
                    <a:pt x="65" y="994"/>
                  </a:lnTo>
                  <a:lnTo>
                    <a:pt x="61" y="996"/>
                  </a:lnTo>
                  <a:lnTo>
                    <a:pt x="57" y="1000"/>
                  </a:lnTo>
                  <a:lnTo>
                    <a:pt x="54" y="1002"/>
                  </a:lnTo>
                  <a:lnTo>
                    <a:pt x="51" y="1006"/>
                  </a:lnTo>
                  <a:lnTo>
                    <a:pt x="49" y="1011"/>
                  </a:lnTo>
                  <a:lnTo>
                    <a:pt x="46" y="1015"/>
                  </a:lnTo>
                  <a:lnTo>
                    <a:pt x="45" y="1020"/>
                  </a:lnTo>
                  <a:lnTo>
                    <a:pt x="44" y="1027"/>
                  </a:lnTo>
                  <a:lnTo>
                    <a:pt x="44" y="1033"/>
                  </a:lnTo>
                  <a:lnTo>
                    <a:pt x="44" y="1040"/>
                  </a:lnTo>
                  <a:lnTo>
                    <a:pt x="61" y="1067"/>
                  </a:lnTo>
                  <a:lnTo>
                    <a:pt x="77" y="1095"/>
                  </a:lnTo>
                  <a:lnTo>
                    <a:pt x="94" y="1123"/>
                  </a:lnTo>
                  <a:lnTo>
                    <a:pt x="111" y="1150"/>
                  </a:lnTo>
                  <a:lnTo>
                    <a:pt x="127" y="1178"/>
                  </a:lnTo>
                  <a:lnTo>
                    <a:pt x="144" y="1205"/>
                  </a:lnTo>
                  <a:lnTo>
                    <a:pt x="161" y="1233"/>
                  </a:lnTo>
                  <a:lnTo>
                    <a:pt x="177" y="1261"/>
                  </a:lnTo>
                  <a:lnTo>
                    <a:pt x="183" y="1271"/>
                  </a:lnTo>
                  <a:lnTo>
                    <a:pt x="216" y="1266"/>
                  </a:lnTo>
                  <a:lnTo>
                    <a:pt x="247" y="1262"/>
                  </a:lnTo>
                  <a:lnTo>
                    <a:pt x="280" y="1257"/>
                  </a:lnTo>
                  <a:lnTo>
                    <a:pt x="312" y="1253"/>
                  </a:lnTo>
                  <a:lnTo>
                    <a:pt x="344" y="1247"/>
                  </a:lnTo>
                  <a:lnTo>
                    <a:pt x="376" y="1243"/>
                  </a:lnTo>
                  <a:lnTo>
                    <a:pt x="409" y="1239"/>
                  </a:lnTo>
                  <a:lnTo>
                    <a:pt x="440" y="1234"/>
                  </a:lnTo>
                  <a:lnTo>
                    <a:pt x="446" y="1230"/>
                  </a:lnTo>
                  <a:lnTo>
                    <a:pt x="451" y="1226"/>
                  </a:lnTo>
                  <a:lnTo>
                    <a:pt x="455" y="1221"/>
                  </a:lnTo>
                  <a:lnTo>
                    <a:pt x="459" y="1217"/>
                  </a:lnTo>
                  <a:lnTo>
                    <a:pt x="461" y="1211"/>
                  </a:lnTo>
                  <a:lnTo>
                    <a:pt x="463" y="1207"/>
                  </a:lnTo>
                  <a:lnTo>
                    <a:pt x="464" y="1203"/>
                  </a:lnTo>
                  <a:lnTo>
                    <a:pt x="464" y="1197"/>
                  </a:lnTo>
                  <a:lnTo>
                    <a:pt x="464" y="1193"/>
                  </a:lnTo>
                  <a:lnTo>
                    <a:pt x="463" y="1188"/>
                  </a:lnTo>
                  <a:lnTo>
                    <a:pt x="461" y="1183"/>
                  </a:lnTo>
                  <a:lnTo>
                    <a:pt x="459" y="1178"/>
                  </a:lnTo>
                  <a:lnTo>
                    <a:pt x="452" y="1168"/>
                  </a:lnTo>
                  <a:lnTo>
                    <a:pt x="445" y="1157"/>
                  </a:lnTo>
                  <a:lnTo>
                    <a:pt x="431" y="1154"/>
                  </a:lnTo>
                  <a:lnTo>
                    <a:pt x="419" y="1151"/>
                  </a:lnTo>
                  <a:lnTo>
                    <a:pt x="514" y="944"/>
                  </a:lnTo>
                  <a:close/>
                  <a:moveTo>
                    <a:pt x="577" y="674"/>
                  </a:moveTo>
                  <a:lnTo>
                    <a:pt x="587" y="675"/>
                  </a:lnTo>
                  <a:lnTo>
                    <a:pt x="597" y="679"/>
                  </a:lnTo>
                  <a:lnTo>
                    <a:pt x="606" y="683"/>
                  </a:lnTo>
                  <a:lnTo>
                    <a:pt x="615" y="690"/>
                  </a:lnTo>
                  <a:lnTo>
                    <a:pt x="621" y="697"/>
                  </a:lnTo>
                  <a:lnTo>
                    <a:pt x="626" y="707"/>
                  </a:lnTo>
                  <a:lnTo>
                    <a:pt x="629" y="717"/>
                  </a:lnTo>
                  <a:lnTo>
                    <a:pt x="630" y="728"/>
                  </a:lnTo>
                  <a:lnTo>
                    <a:pt x="629" y="739"/>
                  </a:lnTo>
                  <a:lnTo>
                    <a:pt x="626" y="749"/>
                  </a:lnTo>
                  <a:lnTo>
                    <a:pt x="621" y="757"/>
                  </a:lnTo>
                  <a:lnTo>
                    <a:pt x="615" y="766"/>
                  </a:lnTo>
                  <a:lnTo>
                    <a:pt x="606" y="773"/>
                  </a:lnTo>
                  <a:lnTo>
                    <a:pt x="597" y="777"/>
                  </a:lnTo>
                  <a:lnTo>
                    <a:pt x="587" y="780"/>
                  </a:lnTo>
                  <a:lnTo>
                    <a:pt x="577" y="781"/>
                  </a:lnTo>
                  <a:lnTo>
                    <a:pt x="566" y="780"/>
                  </a:lnTo>
                  <a:lnTo>
                    <a:pt x="556" y="777"/>
                  </a:lnTo>
                  <a:lnTo>
                    <a:pt x="546" y="773"/>
                  </a:lnTo>
                  <a:lnTo>
                    <a:pt x="538" y="766"/>
                  </a:lnTo>
                  <a:lnTo>
                    <a:pt x="532" y="757"/>
                  </a:lnTo>
                  <a:lnTo>
                    <a:pt x="526" y="749"/>
                  </a:lnTo>
                  <a:lnTo>
                    <a:pt x="524" y="739"/>
                  </a:lnTo>
                  <a:lnTo>
                    <a:pt x="523" y="728"/>
                  </a:lnTo>
                  <a:lnTo>
                    <a:pt x="524" y="717"/>
                  </a:lnTo>
                  <a:lnTo>
                    <a:pt x="526" y="707"/>
                  </a:lnTo>
                  <a:lnTo>
                    <a:pt x="532" y="697"/>
                  </a:lnTo>
                  <a:lnTo>
                    <a:pt x="538" y="690"/>
                  </a:lnTo>
                  <a:lnTo>
                    <a:pt x="546" y="683"/>
                  </a:lnTo>
                  <a:lnTo>
                    <a:pt x="556" y="679"/>
                  </a:lnTo>
                  <a:lnTo>
                    <a:pt x="566" y="675"/>
                  </a:lnTo>
                  <a:lnTo>
                    <a:pt x="577" y="67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800"/>
            </a:p>
          </p:txBody>
        </p:sp>
        <p:sp>
          <p:nvSpPr>
            <p:cNvPr id="64" name="Freeform 8"/>
            <p:cNvSpPr>
              <a:spLocks/>
            </p:cNvSpPr>
            <p:nvPr/>
          </p:nvSpPr>
          <p:spPr bwMode="auto">
            <a:xfrm>
              <a:off x="-2230438" y="4618038"/>
              <a:ext cx="242888" cy="26988"/>
            </a:xfrm>
            <a:custGeom>
              <a:avLst/>
              <a:gdLst>
                <a:gd name="T0" fmla="*/ 1304 w 1380"/>
                <a:gd name="T1" fmla="*/ 0 h 153"/>
                <a:gd name="T2" fmla="*/ 1319 w 1380"/>
                <a:gd name="T3" fmla="*/ 2 h 153"/>
                <a:gd name="T4" fmla="*/ 1333 w 1380"/>
                <a:gd name="T5" fmla="*/ 6 h 153"/>
                <a:gd name="T6" fmla="*/ 1347 w 1380"/>
                <a:gd name="T7" fmla="*/ 13 h 153"/>
                <a:gd name="T8" fmla="*/ 1359 w 1380"/>
                <a:gd name="T9" fmla="*/ 22 h 153"/>
                <a:gd name="T10" fmla="*/ 1367 w 1380"/>
                <a:gd name="T11" fmla="*/ 33 h 153"/>
                <a:gd name="T12" fmla="*/ 1375 w 1380"/>
                <a:gd name="T13" fmla="*/ 46 h 153"/>
                <a:gd name="T14" fmla="*/ 1379 w 1380"/>
                <a:gd name="T15" fmla="*/ 62 h 153"/>
                <a:gd name="T16" fmla="*/ 1380 w 1380"/>
                <a:gd name="T17" fmla="*/ 77 h 153"/>
                <a:gd name="T18" fmla="*/ 1380 w 1380"/>
                <a:gd name="T19" fmla="*/ 85 h 153"/>
                <a:gd name="T20" fmla="*/ 1377 w 1380"/>
                <a:gd name="T21" fmla="*/ 100 h 153"/>
                <a:gd name="T22" fmla="*/ 1372 w 1380"/>
                <a:gd name="T23" fmla="*/ 113 h 153"/>
                <a:gd name="T24" fmla="*/ 1363 w 1380"/>
                <a:gd name="T25" fmla="*/ 125 h 153"/>
                <a:gd name="T26" fmla="*/ 1353 w 1380"/>
                <a:gd name="T27" fmla="*/ 136 h 153"/>
                <a:gd name="T28" fmla="*/ 1340 w 1380"/>
                <a:gd name="T29" fmla="*/ 144 h 153"/>
                <a:gd name="T30" fmla="*/ 1327 w 1380"/>
                <a:gd name="T31" fmla="*/ 150 h 153"/>
                <a:gd name="T32" fmla="*/ 1312 w 1380"/>
                <a:gd name="T33" fmla="*/ 153 h 153"/>
                <a:gd name="T34" fmla="*/ 76 w 1380"/>
                <a:gd name="T35" fmla="*/ 153 h 153"/>
                <a:gd name="T36" fmla="*/ 61 w 1380"/>
                <a:gd name="T37" fmla="*/ 152 h 153"/>
                <a:gd name="T38" fmla="*/ 46 w 1380"/>
                <a:gd name="T39" fmla="*/ 147 h 153"/>
                <a:gd name="T40" fmla="*/ 33 w 1380"/>
                <a:gd name="T41" fmla="*/ 140 h 153"/>
                <a:gd name="T42" fmla="*/ 21 w 1380"/>
                <a:gd name="T43" fmla="*/ 131 h 153"/>
                <a:gd name="T44" fmla="*/ 13 w 1380"/>
                <a:gd name="T45" fmla="*/ 120 h 153"/>
                <a:gd name="T46" fmla="*/ 5 w 1380"/>
                <a:gd name="T47" fmla="*/ 106 h 153"/>
                <a:gd name="T48" fmla="*/ 1 w 1380"/>
                <a:gd name="T49" fmla="*/ 92 h 153"/>
                <a:gd name="T50" fmla="*/ 0 w 1380"/>
                <a:gd name="T51" fmla="*/ 77 h 153"/>
                <a:gd name="T52" fmla="*/ 0 w 1380"/>
                <a:gd name="T53" fmla="*/ 68 h 153"/>
                <a:gd name="T54" fmla="*/ 3 w 1380"/>
                <a:gd name="T55" fmla="*/ 54 h 153"/>
                <a:gd name="T56" fmla="*/ 8 w 1380"/>
                <a:gd name="T57" fmla="*/ 40 h 153"/>
                <a:gd name="T58" fmla="*/ 17 w 1380"/>
                <a:gd name="T59" fmla="*/ 28 h 153"/>
                <a:gd name="T60" fmla="*/ 27 w 1380"/>
                <a:gd name="T61" fmla="*/ 17 h 153"/>
                <a:gd name="T62" fmla="*/ 40 w 1380"/>
                <a:gd name="T63" fmla="*/ 9 h 153"/>
                <a:gd name="T64" fmla="*/ 53 w 1380"/>
                <a:gd name="T65" fmla="*/ 3 h 153"/>
                <a:gd name="T66" fmla="*/ 68 w 1380"/>
                <a:gd name="T67" fmla="*/ 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0" h="153">
                  <a:moveTo>
                    <a:pt x="76" y="0"/>
                  </a:moveTo>
                  <a:lnTo>
                    <a:pt x="1304" y="0"/>
                  </a:lnTo>
                  <a:lnTo>
                    <a:pt x="1312" y="1"/>
                  </a:lnTo>
                  <a:lnTo>
                    <a:pt x="1319" y="2"/>
                  </a:lnTo>
                  <a:lnTo>
                    <a:pt x="1327" y="3"/>
                  </a:lnTo>
                  <a:lnTo>
                    <a:pt x="1333" y="6"/>
                  </a:lnTo>
                  <a:lnTo>
                    <a:pt x="1340" y="9"/>
                  </a:lnTo>
                  <a:lnTo>
                    <a:pt x="1347" y="13"/>
                  </a:lnTo>
                  <a:lnTo>
                    <a:pt x="1353" y="17"/>
                  </a:lnTo>
                  <a:lnTo>
                    <a:pt x="1359" y="22"/>
                  </a:lnTo>
                  <a:lnTo>
                    <a:pt x="1363" y="28"/>
                  </a:lnTo>
                  <a:lnTo>
                    <a:pt x="1367" y="33"/>
                  </a:lnTo>
                  <a:lnTo>
                    <a:pt x="1372" y="40"/>
                  </a:lnTo>
                  <a:lnTo>
                    <a:pt x="1375" y="46"/>
                  </a:lnTo>
                  <a:lnTo>
                    <a:pt x="1377" y="54"/>
                  </a:lnTo>
                  <a:lnTo>
                    <a:pt x="1379" y="62"/>
                  </a:lnTo>
                  <a:lnTo>
                    <a:pt x="1380" y="68"/>
                  </a:lnTo>
                  <a:lnTo>
                    <a:pt x="1380" y="77"/>
                  </a:lnTo>
                  <a:lnTo>
                    <a:pt x="1380" y="77"/>
                  </a:lnTo>
                  <a:lnTo>
                    <a:pt x="1380" y="85"/>
                  </a:lnTo>
                  <a:lnTo>
                    <a:pt x="1379" y="92"/>
                  </a:lnTo>
                  <a:lnTo>
                    <a:pt x="1377" y="100"/>
                  </a:lnTo>
                  <a:lnTo>
                    <a:pt x="1375" y="106"/>
                  </a:lnTo>
                  <a:lnTo>
                    <a:pt x="1372" y="113"/>
                  </a:lnTo>
                  <a:lnTo>
                    <a:pt x="1367" y="120"/>
                  </a:lnTo>
                  <a:lnTo>
                    <a:pt x="1363" y="125"/>
                  </a:lnTo>
                  <a:lnTo>
                    <a:pt x="1359" y="131"/>
                  </a:lnTo>
                  <a:lnTo>
                    <a:pt x="1353" y="136"/>
                  </a:lnTo>
                  <a:lnTo>
                    <a:pt x="1347" y="140"/>
                  </a:lnTo>
                  <a:lnTo>
                    <a:pt x="1340" y="144"/>
                  </a:lnTo>
                  <a:lnTo>
                    <a:pt x="1333" y="147"/>
                  </a:lnTo>
                  <a:lnTo>
                    <a:pt x="1327" y="150"/>
                  </a:lnTo>
                  <a:lnTo>
                    <a:pt x="1319" y="152"/>
                  </a:lnTo>
                  <a:lnTo>
                    <a:pt x="1312" y="153"/>
                  </a:lnTo>
                  <a:lnTo>
                    <a:pt x="1304" y="153"/>
                  </a:lnTo>
                  <a:lnTo>
                    <a:pt x="76" y="153"/>
                  </a:lnTo>
                  <a:lnTo>
                    <a:pt x="68" y="153"/>
                  </a:lnTo>
                  <a:lnTo>
                    <a:pt x="61" y="152"/>
                  </a:lnTo>
                  <a:lnTo>
                    <a:pt x="53" y="150"/>
                  </a:lnTo>
                  <a:lnTo>
                    <a:pt x="46" y="147"/>
                  </a:lnTo>
                  <a:lnTo>
                    <a:pt x="40" y="144"/>
                  </a:lnTo>
                  <a:lnTo>
                    <a:pt x="33" y="140"/>
                  </a:lnTo>
                  <a:lnTo>
                    <a:pt x="27" y="136"/>
                  </a:lnTo>
                  <a:lnTo>
                    <a:pt x="21" y="131"/>
                  </a:lnTo>
                  <a:lnTo>
                    <a:pt x="17" y="125"/>
                  </a:lnTo>
                  <a:lnTo>
                    <a:pt x="13" y="120"/>
                  </a:lnTo>
                  <a:lnTo>
                    <a:pt x="8" y="113"/>
                  </a:lnTo>
                  <a:lnTo>
                    <a:pt x="5" y="106"/>
                  </a:lnTo>
                  <a:lnTo>
                    <a:pt x="3" y="100"/>
                  </a:lnTo>
                  <a:lnTo>
                    <a:pt x="1" y="92"/>
                  </a:lnTo>
                  <a:lnTo>
                    <a:pt x="0" y="85"/>
                  </a:lnTo>
                  <a:lnTo>
                    <a:pt x="0" y="77"/>
                  </a:lnTo>
                  <a:lnTo>
                    <a:pt x="0" y="77"/>
                  </a:lnTo>
                  <a:lnTo>
                    <a:pt x="0" y="68"/>
                  </a:lnTo>
                  <a:lnTo>
                    <a:pt x="1" y="62"/>
                  </a:lnTo>
                  <a:lnTo>
                    <a:pt x="3" y="54"/>
                  </a:lnTo>
                  <a:lnTo>
                    <a:pt x="5" y="46"/>
                  </a:lnTo>
                  <a:lnTo>
                    <a:pt x="8" y="40"/>
                  </a:lnTo>
                  <a:lnTo>
                    <a:pt x="13" y="33"/>
                  </a:lnTo>
                  <a:lnTo>
                    <a:pt x="17" y="28"/>
                  </a:lnTo>
                  <a:lnTo>
                    <a:pt x="21" y="22"/>
                  </a:lnTo>
                  <a:lnTo>
                    <a:pt x="27" y="17"/>
                  </a:lnTo>
                  <a:lnTo>
                    <a:pt x="33" y="13"/>
                  </a:lnTo>
                  <a:lnTo>
                    <a:pt x="40" y="9"/>
                  </a:lnTo>
                  <a:lnTo>
                    <a:pt x="46" y="6"/>
                  </a:lnTo>
                  <a:lnTo>
                    <a:pt x="53" y="3"/>
                  </a:lnTo>
                  <a:lnTo>
                    <a:pt x="61" y="2"/>
                  </a:lnTo>
                  <a:lnTo>
                    <a:pt x="68" y="1"/>
                  </a:lnTo>
                  <a:lnTo>
                    <a:pt x="76"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800"/>
            </a:p>
          </p:txBody>
        </p:sp>
      </p:grpSp>
      <p:grpSp>
        <p:nvGrpSpPr>
          <p:cNvPr id="65" name="Group 64"/>
          <p:cNvGrpSpPr/>
          <p:nvPr/>
        </p:nvGrpSpPr>
        <p:grpSpPr>
          <a:xfrm>
            <a:off x="5589191" y="5716048"/>
            <a:ext cx="549090" cy="497938"/>
            <a:chOff x="-2270125" y="4279901"/>
            <a:chExt cx="282575" cy="365125"/>
          </a:xfrm>
          <a:gradFill flip="none" rotWithShape="1">
            <a:gsLst>
              <a:gs pos="0">
                <a:srgbClr val="F0B71F">
                  <a:lumMod val="87000"/>
                </a:srgbClr>
              </a:gs>
              <a:gs pos="64000">
                <a:srgbClr val="F0B71F"/>
              </a:gs>
            </a:gsLst>
            <a:lin ang="16200000" scaled="1"/>
            <a:tileRect/>
          </a:gradFill>
          <a:effectLst/>
        </p:grpSpPr>
        <p:sp>
          <p:nvSpPr>
            <p:cNvPr id="76" name="Freeform 6"/>
            <p:cNvSpPr>
              <a:spLocks/>
            </p:cNvSpPr>
            <p:nvPr/>
          </p:nvSpPr>
          <p:spPr bwMode="auto">
            <a:xfrm>
              <a:off x="-2270125" y="4519613"/>
              <a:ext cx="123825" cy="19050"/>
            </a:xfrm>
            <a:custGeom>
              <a:avLst/>
              <a:gdLst>
                <a:gd name="T0" fmla="*/ 24 w 702"/>
                <a:gd name="T1" fmla="*/ 0 h 103"/>
                <a:gd name="T2" fmla="*/ 676 w 702"/>
                <a:gd name="T3" fmla="*/ 0 h 103"/>
                <a:gd name="T4" fmla="*/ 682 w 702"/>
                <a:gd name="T5" fmla="*/ 1 h 103"/>
                <a:gd name="T6" fmla="*/ 686 w 702"/>
                <a:gd name="T7" fmla="*/ 3 h 103"/>
                <a:gd name="T8" fmla="*/ 691 w 702"/>
                <a:gd name="T9" fmla="*/ 5 h 103"/>
                <a:gd name="T10" fmla="*/ 694 w 702"/>
                <a:gd name="T11" fmla="*/ 8 h 103"/>
                <a:gd name="T12" fmla="*/ 697 w 702"/>
                <a:gd name="T13" fmla="*/ 11 h 103"/>
                <a:gd name="T14" fmla="*/ 699 w 702"/>
                <a:gd name="T15" fmla="*/ 16 h 103"/>
                <a:gd name="T16" fmla="*/ 700 w 702"/>
                <a:gd name="T17" fmla="*/ 20 h 103"/>
                <a:gd name="T18" fmla="*/ 702 w 702"/>
                <a:gd name="T19" fmla="*/ 24 h 103"/>
                <a:gd name="T20" fmla="*/ 702 w 702"/>
                <a:gd name="T21" fmla="*/ 79 h 103"/>
                <a:gd name="T22" fmla="*/ 700 w 702"/>
                <a:gd name="T23" fmla="*/ 83 h 103"/>
                <a:gd name="T24" fmla="*/ 699 w 702"/>
                <a:gd name="T25" fmla="*/ 88 h 103"/>
                <a:gd name="T26" fmla="*/ 697 w 702"/>
                <a:gd name="T27" fmla="*/ 92 h 103"/>
                <a:gd name="T28" fmla="*/ 694 w 702"/>
                <a:gd name="T29" fmla="*/ 95 h 103"/>
                <a:gd name="T30" fmla="*/ 691 w 702"/>
                <a:gd name="T31" fmla="*/ 99 h 103"/>
                <a:gd name="T32" fmla="*/ 686 w 702"/>
                <a:gd name="T33" fmla="*/ 101 h 103"/>
                <a:gd name="T34" fmla="*/ 682 w 702"/>
                <a:gd name="T35" fmla="*/ 102 h 103"/>
                <a:gd name="T36" fmla="*/ 676 w 702"/>
                <a:gd name="T37" fmla="*/ 103 h 103"/>
                <a:gd name="T38" fmla="*/ 24 w 702"/>
                <a:gd name="T39" fmla="*/ 103 h 103"/>
                <a:gd name="T40" fmla="*/ 20 w 702"/>
                <a:gd name="T41" fmla="*/ 102 h 103"/>
                <a:gd name="T42" fmla="*/ 16 w 702"/>
                <a:gd name="T43" fmla="*/ 101 h 103"/>
                <a:gd name="T44" fmla="*/ 11 w 702"/>
                <a:gd name="T45" fmla="*/ 99 h 103"/>
                <a:gd name="T46" fmla="*/ 8 w 702"/>
                <a:gd name="T47" fmla="*/ 95 h 103"/>
                <a:gd name="T48" fmla="*/ 5 w 702"/>
                <a:gd name="T49" fmla="*/ 92 h 103"/>
                <a:gd name="T50" fmla="*/ 2 w 702"/>
                <a:gd name="T51" fmla="*/ 88 h 103"/>
                <a:gd name="T52" fmla="*/ 1 w 702"/>
                <a:gd name="T53" fmla="*/ 83 h 103"/>
                <a:gd name="T54" fmla="*/ 0 w 702"/>
                <a:gd name="T55" fmla="*/ 79 h 103"/>
                <a:gd name="T56" fmla="*/ 0 w 702"/>
                <a:gd name="T57" fmla="*/ 24 h 103"/>
                <a:gd name="T58" fmla="*/ 1 w 702"/>
                <a:gd name="T59" fmla="*/ 20 h 103"/>
                <a:gd name="T60" fmla="*/ 2 w 702"/>
                <a:gd name="T61" fmla="*/ 16 h 103"/>
                <a:gd name="T62" fmla="*/ 5 w 702"/>
                <a:gd name="T63" fmla="*/ 11 h 103"/>
                <a:gd name="T64" fmla="*/ 8 w 702"/>
                <a:gd name="T65" fmla="*/ 8 h 103"/>
                <a:gd name="T66" fmla="*/ 11 w 702"/>
                <a:gd name="T67" fmla="*/ 5 h 103"/>
                <a:gd name="T68" fmla="*/ 16 w 702"/>
                <a:gd name="T69" fmla="*/ 3 h 103"/>
                <a:gd name="T70" fmla="*/ 20 w 702"/>
                <a:gd name="T71" fmla="*/ 1 h 103"/>
                <a:gd name="T72" fmla="*/ 24 w 702"/>
                <a:gd name="T7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2" h="103">
                  <a:moveTo>
                    <a:pt x="24" y="0"/>
                  </a:moveTo>
                  <a:lnTo>
                    <a:pt x="676" y="0"/>
                  </a:lnTo>
                  <a:lnTo>
                    <a:pt x="682" y="1"/>
                  </a:lnTo>
                  <a:lnTo>
                    <a:pt x="686" y="3"/>
                  </a:lnTo>
                  <a:lnTo>
                    <a:pt x="691" y="5"/>
                  </a:lnTo>
                  <a:lnTo>
                    <a:pt x="694" y="8"/>
                  </a:lnTo>
                  <a:lnTo>
                    <a:pt x="697" y="11"/>
                  </a:lnTo>
                  <a:lnTo>
                    <a:pt x="699" y="16"/>
                  </a:lnTo>
                  <a:lnTo>
                    <a:pt x="700" y="20"/>
                  </a:lnTo>
                  <a:lnTo>
                    <a:pt x="702" y="24"/>
                  </a:lnTo>
                  <a:lnTo>
                    <a:pt x="702" y="79"/>
                  </a:lnTo>
                  <a:lnTo>
                    <a:pt x="700" y="83"/>
                  </a:lnTo>
                  <a:lnTo>
                    <a:pt x="699" y="88"/>
                  </a:lnTo>
                  <a:lnTo>
                    <a:pt x="697" y="92"/>
                  </a:lnTo>
                  <a:lnTo>
                    <a:pt x="694" y="95"/>
                  </a:lnTo>
                  <a:lnTo>
                    <a:pt x="691" y="99"/>
                  </a:lnTo>
                  <a:lnTo>
                    <a:pt x="686" y="101"/>
                  </a:lnTo>
                  <a:lnTo>
                    <a:pt x="682" y="102"/>
                  </a:lnTo>
                  <a:lnTo>
                    <a:pt x="676" y="103"/>
                  </a:lnTo>
                  <a:lnTo>
                    <a:pt x="24" y="103"/>
                  </a:lnTo>
                  <a:lnTo>
                    <a:pt x="20" y="102"/>
                  </a:lnTo>
                  <a:lnTo>
                    <a:pt x="16" y="101"/>
                  </a:lnTo>
                  <a:lnTo>
                    <a:pt x="11" y="99"/>
                  </a:lnTo>
                  <a:lnTo>
                    <a:pt x="8" y="95"/>
                  </a:lnTo>
                  <a:lnTo>
                    <a:pt x="5" y="92"/>
                  </a:lnTo>
                  <a:lnTo>
                    <a:pt x="2" y="88"/>
                  </a:lnTo>
                  <a:lnTo>
                    <a:pt x="1" y="83"/>
                  </a:lnTo>
                  <a:lnTo>
                    <a:pt x="0" y="79"/>
                  </a:lnTo>
                  <a:lnTo>
                    <a:pt x="0" y="24"/>
                  </a:lnTo>
                  <a:lnTo>
                    <a:pt x="1" y="20"/>
                  </a:lnTo>
                  <a:lnTo>
                    <a:pt x="2" y="16"/>
                  </a:lnTo>
                  <a:lnTo>
                    <a:pt x="5" y="11"/>
                  </a:lnTo>
                  <a:lnTo>
                    <a:pt x="8" y="8"/>
                  </a:lnTo>
                  <a:lnTo>
                    <a:pt x="11" y="5"/>
                  </a:lnTo>
                  <a:lnTo>
                    <a:pt x="16" y="3"/>
                  </a:lnTo>
                  <a:lnTo>
                    <a:pt x="20" y="1"/>
                  </a:lnTo>
                  <a:lnTo>
                    <a:pt x="24"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800"/>
            </a:p>
          </p:txBody>
        </p:sp>
        <p:sp>
          <p:nvSpPr>
            <p:cNvPr id="77" name="Freeform 7"/>
            <p:cNvSpPr>
              <a:spLocks noEditPoints="1"/>
            </p:cNvSpPr>
            <p:nvPr/>
          </p:nvSpPr>
          <p:spPr bwMode="auto">
            <a:xfrm>
              <a:off x="-2236787" y="4279901"/>
              <a:ext cx="231775" cy="338138"/>
            </a:xfrm>
            <a:custGeom>
              <a:avLst/>
              <a:gdLst>
                <a:gd name="T0" fmla="*/ 240 w 1314"/>
                <a:gd name="T1" fmla="*/ 1794 h 1922"/>
                <a:gd name="T2" fmla="*/ 1304 w 1314"/>
                <a:gd name="T3" fmla="*/ 1896 h 1922"/>
                <a:gd name="T4" fmla="*/ 1247 w 1314"/>
                <a:gd name="T5" fmla="*/ 1775 h 1922"/>
                <a:gd name="T6" fmla="*/ 1174 w 1314"/>
                <a:gd name="T7" fmla="*/ 1669 h 1922"/>
                <a:gd name="T8" fmla="*/ 1084 w 1314"/>
                <a:gd name="T9" fmla="*/ 1579 h 1922"/>
                <a:gd name="T10" fmla="*/ 1115 w 1314"/>
                <a:gd name="T11" fmla="*/ 1347 h 1922"/>
                <a:gd name="T12" fmla="*/ 1095 w 1314"/>
                <a:gd name="T13" fmla="*/ 1126 h 1922"/>
                <a:gd name="T14" fmla="*/ 1023 w 1314"/>
                <a:gd name="T15" fmla="*/ 918 h 1922"/>
                <a:gd name="T16" fmla="*/ 698 w 1314"/>
                <a:gd name="T17" fmla="*/ 599 h 1922"/>
                <a:gd name="T18" fmla="*/ 681 w 1314"/>
                <a:gd name="T19" fmla="*/ 579 h 1922"/>
                <a:gd name="T20" fmla="*/ 614 w 1314"/>
                <a:gd name="T21" fmla="*/ 547 h 1922"/>
                <a:gd name="T22" fmla="*/ 517 w 1314"/>
                <a:gd name="T23" fmla="*/ 551 h 1922"/>
                <a:gd name="T24" fmla="*/ 476 w 1314"/>
                <a:gd name="T25" fmla="*/ 571 h 1922"/>
                <a:gd name="T26" fmla="*/ 450 w 1314"/>
                <a:gd name="T27" fmla="*/ 600 h 1922"/>
                <a:gd name="T28" fmla="*/ 431 w 1314"/>
                <a:gd name="T29" fmla="*/ 623 h 1922"/>
                <a:gd name="T30" fmla="*/ 417 w 1314"/>
                <a:gd name="T31" fmla="*/ 606 h 1922"/>
                <a:gd name="T32" fmla="*/ 445 w 1314"/>
                <a:gd name="T33" fmla="*/ 562 h 1922"/>
                <a:gd name="T34" fmla="*/ 488 w 1314"/>
                <a:gd name="T35" fmla="*/ 534 h 1922"/>
                <a:gd name="T36" fmla="*/ 541 w 1314"/>
                <a:gd name="T37" fmla="*/ 518 h 1922"/>
                <a:gd name="T38" fmla="*/ 597 w 1314"/>
                <a:gd name="T39" fmla="*/ 516 h 1922"/>
                <a:gd name="T40" fmla="*/ 655 w 1314"/>
                <a:gd name="T41" fmla="*/ 530 h 1922"/>
                <a:gd name="T42" fmla="*/ 731 w 1314"/>
                <a:gd name="T43" fmla="*/ 496 h 1922"/>
                <a:gd name="T44" fmla="*/ 798 w 1314"/>
                <a:gd name="T45" fmla="*/ 483 h 1922"/>
                <a:gd name="T46" fmla="*/ 818 w 1314"/>
                <a:gd name="T47" fmla="*/ 458 h 1922"/>
                <a:gd name="T48" fmla="*/ 812 w 1314"/>
                <a:gd name="T49" fmla="*/ 426 h 1922"/>
                <a:gd name="T50" fmla="*/ 765 w 1314"/>
                <a:gd name="T51" fmla="*/ 408 h 1922"/>
                <a:gd name="T52" fmla="*/ 788 w 1314"/>
                <a:gd name="T53" fmla="*/ 296 h 1922"/>
                <a:gd name="T54" fmla="*/ 845 w 1314"/>
                <a:gd name="T55" fmla="*/ 184 h 1922"/>
                <a:gd name="T56" fmla="*/ 917 w 1314"/>
                <a:gd name="T57" fmla="*/ 182 h 1922"/>
                <a:gd name="T58" fmla="*/ 914 w 1314"/>
                <a:gd name="T59" fmla="*/ 154 h 1922"/>
                <a:gd name="T60" fmla="*/ 748 w 1314"/>
                <a:gd name="T61" fmla="*/ 58 h 1922"/>
                <a:gd name="T62" fmla="*/ 573 w 1314"/>
                <a:gd name="T63" fmla="*/ 0 h 1922"/>
                <a:gd name="T64" fmla="*/ 549 w 1314"/>
                <a:gd name="T65" fmla="*/ 15 h 1922"/>
                <a:gd name="T66" fmla="*/ 593 w 1314"/>
                <a:gd name="T67" fmla="*/ 73 h 1922"/>
                <a:gd name="T68" fmla="*/ 543 w 1314"/>
                <a:gd name="T69" fmla="*/ 185 h 1922"/>
                <a:gd name="T70" fmla="*/ 472 w 1314"/>
                <a:gd name="T71" fmla="*/ 274 h 1922"/>
                <a:gd name="T72" fmla="*/ 429 w 1314"/>
                <a:gd name="T73" fmla="*/ 249 h 1922"/>
                <a:gd name="T74" fmla="*/ 400 w 1314"/>
                <a:gd name="T75" fmla="*/ 264 h 1922"/>
                <a:gd name="T76" fmla="*/ 394 w 1314"/>
                <a:gd name="T77" fmla="*/ 296 h 1922"/>
                <a:gd name="T78" fmla="*/ 425 w 1314"/>
                <a:gd name="T79" fmla="*/ 356 h 1922"/>
                <a:gd name="T80" fmla="*/ 277 w 1314"/>
                <a:gd name="T81" fmla="*/ 684 h 1922"/>
                <a:gd name="T82" fmla="*/ 111 w 1314"/>
                <a:gd name="T83" fmla="*/ 996 h 1922"/>
                <a:gd name="T84" fmla="*/ 65 w 1314"/>
                <a:gd name="T85" fmla="*/ 994 h 1922"/>
                <a:gd name="T86" fmla="*/ 49 w 1314"/>
                <a:gd name="T87" fmla="*/ 1011 h 1922"/>
                <a:gd name="T88" fmla="*/ 44 w 1314"/>
                <a:gd name="T89" fmla="*/ 1040 h 1922"/>
                <a:gd name="T90" fmla="*/ 127 w 1314"/>
                <a:gd name="T91" fmla="*/ 1178 h 1922"/>
                <a:gd name="T92" fmla="*/ 216 w 1314"/>
                <a:gd name="T93" fmla="*/ 1266 h 1922"/>
                <a:gd name="T94" fmla="*/ 376 w 1314"/>
                <a:gd name="T95" fmla="*/ 1243 h 1922"/>
                <a:gd name="T96" fmla="*/ 455 w 1314"/>
                <a:gd name="T97" fmla="*/ 1221 h 1922"/>
                <a:gd name="T98" fmla="*/ 464 w 1314"/>
                <a:gd name="T99" fmla="*/ 1197 h 1922"/>
                <a:gd name="T100" fmla="*/ 452 w 1314"/>
                <a:gd name="T101" fmla="*/ 1168 h 1922"/>
                <a:gd name="T102" fmla="*/ 577 w 1314"/>
                <a:gd name="T103" fmla="*/ 674 h 1922"/>
                <a:gd name="T104" fmla="*/ 621 w 1314"/>
                <a:gd name="T105" fmla="*/ 697 h 1922"/>
                <a:gd name="T106" fmla="*/ 626 w 1314"/>
                <a:gd name="T107" fmla="*/ 749 h 1922"/>
                <a:gd name="T108" fmla="*/ 587 w 1314"/>
                <a:gd name="T109" fmla="*/ 780 h 1922"/>
                <a:gd name="T110" fmla="*/ 538 w 1314"/>
                <a:gd name="T111" fmla="*/ 766 h 1922"/>
                <a:gd name="T112" fmla="*/ 524 w 1314"/>
                <a:gd name="T113" fmla="*/ 717 h 1922"/>
                <a:gd name="T114" fmla="*/ 556 w 1314"/>
                <a:gd name="T115" fmla="*/ 679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4" h="1922">
                  <a:moveTo>
                    <a:pt x="514" y="944"/>
                  </a:moveTo>
                  <a:lnTo>
                    <a:pt x="669" y="944"/>
                  </a:lnTo>
                  <a:lnTo>
                    <a:pt x="690" y="1522"/>
                  </a:lnTo>
                  <a:lnTo>
                    <a:pt x="0" y="1502"/>
                  </a:lnTo>
                  <a:lnTo>
                    <a:pt x="240" y="1794"/>
                  </a:lnTo>
                  <a:lnTo>
                    <a:pt x="173" y="1871"/>
                  </a:lnTo>
                  <a:lnTo>
                    <a:pt x="460" y="1876"/>
                  </a:lnTo>
                  <a:lnTo>
                    <a:pt x="454" y="1917"/>
                  </a:lnTo>
                  <a:lnTo>
                    <a:pt x="1314" y="1922"/>
                  </a:lnTo>
                  <a:lnTo>
                    <a:pt x="1304" y="1896"/>
                  </a:lnTo>
                  <a:lnTo>
                    <a:pt x="1294" y="1871"/>
                  </a:lnTo>
                  <a:lnTo>
                    <a:pt x="1283" y="1846"/>
                  </a:lnTo>
                  <a:lnTo>
                    <a:pt x="1271" y="1822"/>
                  </a:lnTo>
                  <a:lnTo>
                    <a:pt x="1259" y="1798"/>
                  </a:lnTo>
                  <a:lnTo>
                    <a:pt x="1247" y="1775"/>
                  </a:lnTo>
                  <a:lnTo>
                    <a:pt x="1233" y="1752"/>
                  </a:lnTo>
                  <a:lnTo>
                    <a:pt x="1220" y="1730"/>
                  </a:lnTo>
                  <a:lnTo>
                    <a:pt x="1205" y="1709"/>
                  </a:lnTo>
                  <a:lnTo>
                    <a:pt x="1190" y="1688"/>
                  </a:lnTo>
                  <a:lnTo>
                    <a:pt x="1174" y="1669"/>
                  </a:lnTo>
                  <a:lnTo>
                    <a:pt x="1157" y="1649"/>
                  </a:lnTo>
                  <a:lnTo>
                    <a:pt x="1140" y="1631"/>
                  </a:lnTo>
                  <a:lnTo>
                    <a:pt x="1122" y="1613"/>
                  </a:lnTo>
                  <a:lnTo>
                    <a:pt x="1103" y="1596"/>
                  </a:lnTo>
                  <a:lnTo>
                    <a:pt x="1084" y="1579"/>
                  </a:lnTo>
                  <a:lnTo>
                    <a:pt x="1095" y="1531"/>
                  </a:lnTo>
                  <a:lnTo>
                    <a:pt x="1103" y="1484"/>
                  </a:lnTo>
                  <a:lnTo>
                    <a:pt x="1110" y="1438"/>
                  </a:lnTo>
                  <a:lnTo>
                    <a:pt x="1113" y="1392"/>
                  </a:lnTo>
                  <a:lnTo>
                    <a:pt x="1115" y="1347"/>
                  </a:lnTo>
                  <a:lnTo>
                    <a:pt x="1115" y="1302"/>
                  </a:lnTo>
                  <a:lnTo>
                    <a:pt x="1114" y="1257"/>
                  </a:lnTo>
                  <a:lnTo>
                    <a:pt x="1110" y="1213"/>
                  </a:lnTo>
                  <a:lnTo>
                    <a:pt x="1103" y="1169"/>
                  </a:lnTo>
                  <a:lnTo>
                    <a:pt x="1095" y="1126"/>
                  </a:lnTo>
                  <a:lnTo>
                    <a:pt x="1085" y="1084"/>
                  </a:lnTo>
                  <a:lnTo>
                    <a:pt x="1073" y="1041"/>
                  </a:lnTo>
                  <a:lnTo>
                    <a:pt x="1058" y="1000"/>
                  </a:lnTo>
                  <a:lnTo>
                    <a:pt x="1041" y="958"/>
                  </a:lnTo>
                  <a:lnTo>
                    <a:pt x="1023" y="918"/>
                  </a:lnTo>
                  <a:lnTo>
                    <a:pt x="1002" y="877"/>
                  </a:lnTo>
                  <a:lnTo>
                    <a:pt x="705" y="603"/>
                  </a:lnTo>
                  <a:lnTo>
                    <a:pt x="702" y="602"/>
                  </a:lnTo>
                  <a:lnTo>
                    <a:pt x="700" y="601"/>
                  </a:lnTo>
                  <a:lnTo>
                    <a:pt x="698" y="599"/>
                  </a:lnTo>
                  <a:lnTo>
                    <a:pt x="695" y="597"/>
                  </a:lnTo>
                  <a:lnTo>
                    <a:pt x="692" y="593"/>
                  </a:lnTo>
                  <a:lnTo>
                    <a:pt x="689" y="587"/>
                  </a:lnTo>
                  <a:lnTo>
                    <a:pt x="680" y="581"/>
                  </a:lnTo>
                  <a:lnTo>
                    <a:pt x="681" y="579"/>
                  </a:lnTo>
                  <a:lnTo>
                    <a:pt x="670" y="571"/>
                  </a:lnTo>
                  <a:lnTo>
                    <a:pt x="658" y="563"/>
                  </a:lnTo>
                  <a:lnTo>
                    <a:pt x="645" y="557"/>
                  </a:lnTo>
                  <a:lnTo>
                    <a:pt x="632" y="551"/>
                  </a:lnTo>
                  <a:lnTo>
                    <a:pt x="614" y="547"/>
                  </a:lnTo>
                  <a:lnTo>
                    <a:pt x="594" y="543"/>
                  </a:lnTo>
                  <a:lnTo>
                    <a:pt x="574" y="542"/>
                  </a:lnTo>
                  <a:lnTo>
                    <a:pt x="555" y="543"/>
                  </a:lnTo>
                  <a:lnTo>
                    <a:pt x="535" y="547"/>
                  </a:lnTo>
                  <a:lnTo>
                    <a:pt x="517" y="551"/>
                  </a:lnTo>
                  <a:lnTo>
                    <a:pt x="508" y="554"/>
                  </a:lnTo>
                  <a:lnTo>
                    <a:pt x="499" y="558"/>
                  </a:lnTo>
                  <a:lnTo>
                    <a:pt x="491" y="562"/>
                  </a:lnTo>
                  <a:lnTo>
                    <a:pt x="484" y="566"/>
                  </a:lnTo>
                  <a:lnTo>
                    <a:pt x="476" y="571"/>
                  </a:lnTo>
                  <a:lnTo>
                    <a:pt x="470" y="576"/>
                  </a:lnTo>
                  <a:lnTo>
                    <a:pt x="464" y="582"/>
                  </a:lnTo>
                  <a:lnTo>
                    <a:pt x="459" y="587"/>
                  </a:lnTo>
                  <a:lnTo>
                    <a:pt x="454" y="594"/>
                  </a:lnTo>
                  <a:lnTo>
                    <a:pt x="450" y="600"/>
                  </a:lnTo>
                  <a:lnTo>
                    <a:pt x="447" y="607"/>
                  </a:lnTo>
                  <a:lnTo>
                    <a:pt x="443" y="614"/>
                  </a:lnTo>
                  <a:lnTo>
                    <a:pt x="441" y="619"/>
                  </a:lnTo>
                  <a:lnTo>
                    <a:pt x="437" y="622"/>
                  </a:lnTo>
                  <a:lnTo>
                    <a:pt x="431" y="623"/>
                  </a:lnTo>
                  <a:lnTo>
                    <a:pt x="426" y="623"/>
                  </a:lnTo>
                  <a:lnTo>
                    <a:pt x="422" y="621"/>
                  </a:lnTo>
                  <a:lnTo>
                    <a:pt x="418" y="617"/>
                  </a:lnTo>
                  <a:lnTo>
                    <a:pt x="417" y="611"/>
                  </a:lnTo>
                  <a:lnTo>
                    <a:pt x="417" y="606"/>
                  </a:lnTo>
                  <a:lnTo>
                    <a:pt x="422" y="596"/>
                  </a:lnTo>
                  <a:lnTo>
                    <a:pt x="426" y="587"/>
                  </a:lnTo>
                  <a:lnTo>
                    <a:pt x="431" y="578"/>
                  </a:lnTo>
                  <a:lnTo>
                    <a:pt x="438" y="570"/>
                  </a:lnTo>
                  <a:lnTo>
                    <a:pt x="445" y="562"/>
                  </a:lnTo>
                  <a:lnTo>
                    <a:pt x="452" y="555"/>
                  </a:lnTo>
                  <a:lnTo>
                    <a:pt x="460" y="549"/>
                  </a:lnTo>
                  <a:lnTo>
                    <a:pt x="470" y="543"/>
                  </a:lnTo>
                  <a:lnTo>
                    <a:pt x="478" y="538"/>
                  </a:lnTo>
                  <a:lnTo>
                    <a:pt x="488" y="534"/>
                  </a:lnTo>
                  <a:lnTo>
                    <a:pt x="498" y="529"/>
                  </a:lnTo>
                  <a:lnTo>
                    <a:pt x="508" y="525"/>
                  </a:lnTo>
                  <a:lnTo>
                    <a:pt x="519" y="523"/>
                  </a:lnTo>
                  <a:lnTo>
                    <a:pt x="530" y="519"/>
                  </a:lnTo>
                  <a:lnTo>
                    <a:pt x="541" y="518"/>
                  </a:lnTo>
                  <a:lnTo>
                    <a:pt x="551" y="516"/>
                  </a:lnTo>
                  <a:lnTo>
                    <a:pt x="563" y="515"/>
                  </a:lnTo>
                  <a:lnTo>
                    <a:pt x="574" y="515"/>
                  </a:lnTo>
                  <a:lnTo>
                    <a:pt x="585" y="515"/>
                  </a:lnTo>
                  <a:lnTo>
                    <a:pt x="597" y="516"/>
                  </a:lnTo>
                  <a:lnTo>
                    <a:pt x="608" y="517"/>
                  </a:lnTo>
                  <a:lnTo>
                    <a:pt x="619" y="519"/>
                  </a:lnTo>
                  <a:lnTo>
                    <a:pt x="630" y="523"/>
                  </a:lnTo>
                  <a:lnTo>
                    <a:pt x="640" y="525"/>
                  </a:lnTo>
                  <a:lnTo>
                    <a:pt x="655" y="530"/>
                  </a:lnTo>
                  <a:lnTo>
                    <a:pt x="668" y="537"/>
                  </a:lnTo>
                  <a:lnTo>
                    <a:pt x="681" y="545"/>
                  </a:lnTo>
                  <a:lnTo>
                    <a:pt x="693" y="553"/>
                  </a:lnTo>
                  <a:lnTo>
                    <a:pt x="719" y="496"/>
                  </a:lnTo>
                  <a:lnTo>
                    <a:pt x="731" y="496"/>
                  </a:lnTo>
                  <a:lnTo>
                    <a:pt x="742" y="498"/>
                  </a:lnTo>
                  <a:lnTo>
                    <a:pt x="754" y="498"/>
                  </a:lnTo>
                  <a:lnTo>
                    <a:pt x="766" y="498"/>
                  </a:lnTo>
                  <a:lnTo>
                    <a:pt x="784" y="491"/>
                  </a:lnTo>
                  <a:lnTo>
                    <a:pt x="798" y="483"/>
                  </a:lnTo>
                  <a:lnTo>
                    <a:pt x="803" y="479"/>
                  </a:lnTo>
                  <a:lnTo>
                    <a:pt x="809" y="474"/>
                  </a:lnTo>
                  <a:lnTo>
                    <a:pt x="813" y="469"/>
                  </a:lnTo>
                  <a:lnTo>
                    <a:pt x="815" y="464"/>
                  </a:lnTo>
                  <a:lnTo>
                    <a:pt x="818" y="458"/>
                  </a:lnTo>
                  <a:lnTo>
                    <a:pt x="819" y="453"/>
                  </a:lnTo>
                  <a:lnTo>
                    <a:pt x="819" y="446"/>
                  </a:lnTo>
                  <a:lnTo>
                    <a:pt x="818" y="440"/>
                  </a:lnTo>
                  <a:lnTo>
                    <a:pt x="815" y="432"/>
                  </a:lnTo>
                  <a:lnTo>
                    <a:pt x="812" y="426"/>
                  </a:lnTo>
                  <a:lnTo>
                    <a:pt x="807" y="418"/>
                  </a:lnTo>
                  <a:lnTo>
                    <a:pt x="801" y="409"/>
                  </a:lnTo>
                  <a:lnTo>
                    <a:pt x="789" y="409"/>
                  </a:lnTo>
                  <a:lnTo>
                    <a:pt x="777" y="409"/>
                  </a:lnTo>
                  <a:lnTo>
                    <a:pt x="765" y="408"/>
                  </a:lnTo>
                  <a:lnTo>
                    <a:pt x="753" y="408"/>
                  </a:lnTo>
                  <a:lnTo>
                    <a:pt x="762" y="380"/>
                  </a:lnTo>
                  <a:lnTo>
                    <a:pt x="771" y="352"/>
                  </a:lnTo>
                  <a:lnTo>
                    <a:pt x="779" y="324"/>
                  </a:lnTo>
                  <a:lnTo>
                    <a:pt x="788" y="296"/>
                  </a:lnTo>
                  <a:lnTo>
                    <a:pt x="797" y="267"/>
                  </a:lnTo>
                  <a:lnTo>
                    <a:pt x="806" y="240"/>
                  </a:lnTo>
                  <a:lnTo>
                    <a:pt x="814" y="212"/>
                  </a:lnTo>
                  <a:lnTo>
                    <a:pt x="823" y="183"/>
                  </a:lnTo>
                  <a:lnTo>
                    <a:pt x="845" y="184"/>
                  </a:lnTo>
                  <a:lnTo>
                    <a:pt x="866" y="185"/>
                  </a:lnTo>
                  <a:lnTo>
                    <a:pt x="886" y="186"/>
                  </a:lnTo>
                  <a:lnTo>
                    <a:pt x="907" y="188"/>
                  </a:lnTo>
                  <a:lnTo>
                    <a:pt x="912" y="185"/>
                  </a:lnTo>
                  <a:lnTo>
                    <a:pt x="917" y="182"/>
                  </a:lnTo>
                  <a:lnTo>
                    <a:pt x="919" y="177"/>
                  </a:lnTo>
                  <a:lnTo>
                    <a:pt x="920" y="171"/>
                  </a:lnTo>
                  <a:lnTo>
                    <a:pt x="919" y="166"/>
                  </a:lnTo>
                  <a:lnTo>
                    <a:pt x="917" y="159"/>
                  </a:lnTo>
                  <a:lnTo>
                    <a:pt x="914" y="154"/>
                  </a:lnTo>
                  <a:lnTo>
                    <a:pt x="908" y="147"/>
                  </a:lnTo>
                  <a:lnTo>
                    <a:pt x="851" y="113"/>
                  </a:lnTo>
                  <a:lnTo>
                    <a:pt x="810" y="88"/>
                  </a:lnTo>
                  <a:lnTo>
                    <a:pt x="776" y="71"/>
                  </a:lnTo>
                  <a:lnTo>
                    <a:pt x="748" y="58"/>
                  </a:lnTo>
                  <a:lnTo>
                    <a:pt x="719" y="47"/>
                  </a:lnTo>
                  <a:lnTo>
                    <a:pt x="686" y="35"/>
                  </a:lnTo>
                  <a:lnTo>
                    <a:pt x="641" y="21"/>
                  </a:lnTo>
                  <a:lnTo>
                    <a:pt x="581" y="1"/>
                  </a:lnTo>
                  <a:lnTo>
                    <a:pt x="573" y="0"/>
                  </a:lnTo>
                  <a:lnTo>
                    <a:pt x="567" y="1"/>
                  </a:lnTo>
                  <a:lnTo>
                    <a:pt x="560" y="3"/>
                  </a:lnTo>
                  <a:lnTo>
                    <a:pt x="556" y="6"/>
                  </a:lnTo>
                  <a:lnTo>
                    <a:pt x="551" y="11"/>
                  </a:lnTo>
                  <a:lnTo>
                    <a:pt x="549" y="15"/>
                  </a:lnTo>
                  <a:lnTo>
                    <a:pt x="549" y="21"/>
                  </a:lnTo>
                  <a:lnTo>
                    <a:pt x="550" y="26"/>
                  </a:lnTo>
                  <a:lnTo>
                    <a:pt x="565" y="41"/>
                  </a:lnTo>
                  <a:lnTo>
                    <a:pt x="579" y="57"/>
                  </a:lnTo>
                  <a:lnTo>
                    <a:pt x="593" y="73"/>
                  </a:lnTo>
                  <a:lnTo>
                    <a:pt x="607" y="88"/>
                  </a:lnTo>
                  <a:lnTo>
                    <a:pt x="591" y="112"/>
                  </a:lnTo>
                  <a:lnTo>
                    <a:pt x="575" y="136"/>
                  </a:lnTo>
                  <a:lnTo>
                    <a:pt x="559" y="160"/>
                  </a:lnTo>
                  <a:lnTo>
                    <a:pt x="543" y="185"/>
                  </a:lnTo>
                  <a:lnTo>
                    <a:pt x="527" y="209"/>
                  </a:lnTo>
                  <a:lnTo>
                    <a:pt x="511" y="233"/>
                  </a:lnTo>
                  <a:lnTo>
                    <a:pt x="495" y="259"/>
                  </a:lnTo>
                  <a:lnTo>
                    <a:pt x="479" y="283"/>
                  </a:lnTo>
                  <a:lnTo>
                    <a:pt x="472" y="274"/>
                  </a:lnTo>
                  <a:lnTo>
                    <a:pt x="464" y="264"/>
                  </a:lnTo>
                  <a:lnTo>
                    <a:pt x="457" y="255"/>
                  </a:lnTo>
                  <a:lnTo>
                    <a:pt x="448" y="247"/>
                  </a:lnTo>
                  <a:lnTo>
                    <a:pt x="438" y="247"/>
                  </a:lnTo>
                  <a:lnTo>
                    <a:pt x="429" y="249"/>
                  </a:lnTo>
                  <a:lnTo>
                    <a:pt x="422" y="250"/>
                  </a:lnTo>
                  <a:lnTo>
                    <a:pt x="414" y="253"/>
                  </a:lnTo>
                  <a:lnTo>
                    <a:pt x="409" y="256"/>
                  </a:lnTo>
                  <a:lnTo>
                    <a:pt x="404" y="260"/>
                  </a:lnTo>
                  <a:lnTo>
                    <a:pt x="400" y="264"/>
                  </a:lnTo>
                  <a:lnTo>
                    <a:pt x="398" y="269"/>
                  </a:lnTo>
                  <a:lnTo>
                    <a:pt x="395" y="275"/>
                  </a:lnTo>
                  <a:lnTo>
                    <a:pt x="394" y="281"/>
                  </a:lnTo>
                  <a:lnTo>
                    <a:pt x="393" y="288"/>
                  </a:lnTo>
                  <a:lnTo>
                    <a:pt x="394" y="296"/>
                  </a:lnTo>
                  <a:lnTo>
                    <a:pt x="397" y="311"/>
                  </a:lnTo>
                  <a:lnTo>
                    <a:pt x="402" y="328"/>
                  </a:lnTo>
                  <a:lnTo>
                    <a:pt x="410" y="337"/>
                  </a:lnTo>
                  <a:lnTo>
                    <a:pt x="417" y="346"/>
                  </a:lnTo>
                  <a:lnTo>
                    <a:pt x="425" y="356"/>
                  </a:lnTo>
                  <a:lnTo>
                    <a:pt x="433" y="364"/>
                  </a:lnTo>
                  <a:lnTo>
                    <a:pt x="394" y="444"/>
                  </a:lnTo>
                  <a:lnTo>
                    <a:pt x="355" y="524"/>
                  </a:lnTo>
                  <a:lnTo>
                    <a:pt x="316" y="605"/>
                  </a:lnTo>
                  <a:lnTo>
                    <a:pt x="277" y="684"/>
                  </a:lnTo>
                  <a:lnTo>
                    <a:pt x="238" y="764"/>
                  </a:lnTo>
                  <a:lnTo>
                    <a:pt x="199" y="845"/>
                  </a:lnTo>
                  <a:lnTo>
                    <a:pt x="160" y="924"/>
                  </a:lnTo>
                  <a:lnTo>
                    <a:pt x="121" y="1004"/>
                  </a:lnTo>
                  <a:lnTo>
                    <a:pt x="111" y="996"/>
                  </a:lnTo>
                  <a:lnTo>
                    <a:pt x="101" y="989"/>
                  </a:lnTo>
                  <a:lnTo>
                    <a:pt x="87" y="989"/>
                  </a:lnTo>
                  <a:lnTo>
                    <a:pt x="76" y="991"/>
                  </a:lnTo>
                  <a:lnTo>
                    <a:pt x="70" y="992"/>
                  </a:lnTo>
                  <a:lnTo>
                    <a:pt x="65" y="994"/>
                  </a:lnTo>
                  <a:lnTo>
                    <a:pt x="61" y="996"/>
                  </a:lnTo>
                  <a:lnTo>
                    <a:pt x="57" y="1000"/>
                  </a:lnTo>
                  <a:lnTo>
                    <a:pt x="54" y="1002"/>
                  </a:lnTo>
                  <a:lnTo>
                    <a:pt x="51" y="1006"/>
                  </a:lnTo>
                  <a:lnTo>
                    <a:pt x="49" y="1011"/>
                  </a:lnTo>
                  <a:lnTo>
                    <a:pt x="46" y="1015"/>
                  </a:lnTo>
                  <a:lnTo>
                    <a:pt x="45" y="1020"/>
                  </a:lnTo>
                  <a:lnTo>
                    <a:pt x="44" y="1027"/>
                  </a:lnTo>
                  <a:lnTo>
                    <a:pt x="44" y="1033"/>
                  </a:lnTo>
                  <a:lnTo>
                    <a:pt x="44" y="1040"/>
                  </a:lnTo>
                  <a:lnTo>
                    <a:pt x="61" y="1067"/>
                  </a:lnTo>
                  <a:lnTo>
                    <a:pt x="77" y="1095"/>
                  </a:lnTo>
                  <a:lnTo>
                    <a:pt x="94" y="1123"/>
                  </a:lnTo>
                  <a:lnTo>
                    <a:pt x="111" y="1150"/>
                  </a:lnTo>
                  <a:lnTo>
                    <a:pt x="127" y="1178"/>
                  </a:lnTo>
                  <a:lnTo>
                    <a:pt x="144" y="1205"/>
                  </a:lnTo>
                  <a:lnTo>
                    <a:pt x="161" y="1233"/>
                  </a:lnTo>
                  <a:lnTo>
                    <a:pt x="177" y="1261"/>
                  </a:lnTo>
                  <a:lnTo>
                    <a:pt x="183" y="1271"/>
                  </a:lnTo>
                  <a:lnTo>
                    <a:pt x="216" y="1266"/>
                  </a:lnTo>
                  <a:lnTo>
                    <a:pt x="247" y="1262"/>
                  </a:lnTo>
                  <a:lnTo>
                    <a:pt x="280" y="1257"/>
                  </a:lnTo>
                  <a:lnTo>
                    <a:pt x="312" y="1253"/>
                  </a:lnTo>
                  <a:lnTo>
                    <a:pt x="344" y="1247"/>
                  </a:lnTo>
                  <a:lnTo>
                    <a:pt x="376" y="1243"/>
                  </a:lnTo>
                  <a:lnTo>
                    <a:pt x="409" y="1239"/>
                  </a:lnTo>
                  <a:lnTo>
                    <a:pt x="440" y="1234"/>
                  </a:lnTo>
                  <a:lnTo>
                    <a:pt x="446" y="1230"/>
                  </a:lnTo>
                  <a:lnTo>
                    <a:pt x="451" y="1226"/>
                  </a:lnTo>
                  <a:lnTo>
                    <a:pt x="455" y="1221"/>
                  </a:lnTo>
                  <a:lnTo>
                    <a:pt x="459" y="1217"/>
                  </a:lnTo>
                  <a:lnTo>
                    <a:pt x="461" y="1211"/>
                  </a:lnTo>
                  <a:lnTo>
                    <a:pt x="463" y="1207"/>
                  </a:lnTo>
                  <a:lnTo>
                    <a:pt x="464" y="1203"/>
                  </a:lnTo>
                  <a:lnTo>
                    <a:pt x="464" y="1197"/>
                  </a:lnTo>
                  <a:lnTo>
                    <a:pt x="464" y="1193"/>
                  </a:lnTo>
                  <a:lnTo>
                    <a:pt x="463" y="1188"/>
                  </a:lnTo>
                  <a:lnTo>
                    <a:pt x="461" y="1183"/>
                  </a:lnTo>
                  <a:lnTo>
                    <a:pt x="459" y="1178"/>
                  </a:lnTo>
                  <a:lnTo>
                    <a:pt x="452" y="1168"/>
                  </a:lnTo>
                  <a:lnTo>
                    <a:pt x="445" y="1157"/>
                  </a:lnTo>
                  <a:lnTo>
                    <a:pt x="431" y="1154"/>
                  </a:lnTo>
                  <a:lnTo>
                    <a:pt x="419" y="1151"/>
                  </a:lnTo>
                  <a:lnTo>
                    <a:pt x="514" y="944"/>
                  </a:lnTo>
                  <a:close/>
                  <a:moveTo>
                    <a:pt x="577" y="674"/>
                  </a:moveTo>
                  <a:lnTo>
                    <a:pt x="587" y="675"/>
                  </a:lnTo>
                  <a:lnTo>
                    <a:pt x="597" y="679"/>
                  </a:lnTo>
                  <a:lnTo>
                    <a:pt x="606" y="683"/>
                  </a:lnTo>
                  <a:lnTo>
                    <a:pt x="615" y="690"/>
                  </a:lnTo>
                  <a:lnTo>
                    <a:pt x="621" y="697"/>
                  </a:lnTo>
                  <a:lnTo>
                    <a:pt x="626" y="707"/>
                  </a:lnTo>
                  <a:lnTo>
                    <a:pt x="629" y="717"/>
                  </a:lnTo>
                  <a:lnTo>
                    <a:pt x="630" y="728"/>
                  </a:lnTo>
                  <a:lnTo>
                    <a:pt x="629" y="739"/>
                  </a:lnTo>
                  <a:lnTo>
                    <a:pt x="626" y="749"/>
                  </a:lnTo>
                  <a:lnTo>
                    <a:pt x="621" y="757"/>
                  </a:lnTo>
                  <a:lnTo>
                    <a:pt x="615" y="766"/>
                  </a:lnTo>
                  <a:lnTo>
                    <a:pt x="606" y="773"/>
                  </a:lnTo>
                  <a:lnTo>
                    <a:pt x="597" y="777"/>
                  </a:lnTo>
                  <a:lnTo>
                    <a:pt x="587" y="780"/>
                  </a:lnTo>
                  <a:lnTo>
                    <a:pt x="577" y="781"/>
                  </a:lnTo>
                  <a:lnTo>
                    <a:pt x="566" y="780"/>
                  </a:lnTo>
                  <a:lnTo>
                    <a:pt x="556" y="777"/>
                  </a:lnTo>
                  <a:lnTo>
                    <a:pt x="546" y="773"/>
                  </a:lnTo>
                  <a:lnTo>
                    <a:pt x="538" y="766"/>
                  </a:lnTo>
                  <a:lnTo>
                    <a:pt x="532" y="757"/>
                  </a:lnTo>
                  <a:lnTo>
                    <a:pt x="526" y="749"/>
                  </a:lnTo>
                  <a:lnTo>
                    <a:pt x="524" y="739"/>
                  </a:lnTo>
                  <a:lnTo>
                    <a:pt x="523" y="728"/>
                  </a:lnTo>
                  <a:lnTo>
                    <a:pt x="524" y="717"/>
                  </a:lnTo>
                  <a:lnTo>
                    <a:pt x="526" y="707"/>
                  </a:lnTo>
                  <a:lnTo>
                    <a:pt x="532" y="697"/>
                  </a:lnTo>
                  <a:lnTo>
                    <a:pt x="538" y="690"/>
                  </a:lnTo>
                  <a:lnTo>
                    <a:pt x="546" y="683"/>
                  </a:lnTo>
                  <a:lnTo>
                    <a:pt x="556" y="679"/>
                  </a:lnTo>
                  <a:lnTo>
                    <a:pt x="566" y="675"/>
                  </a:lnTo>
                  <a:lnTo>
                    <a:pt x="577" y="67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800"/>
            </a:p>
          </p:txBody>
        </p:sp>
        <p:sp>
          <p:nvSpPr>
            <p:cNvPr id="86" name="Freeform 8"/>
            <p:cNvSpPr>
              <a:spLocks/>
            </p:cNvSpPr>
            <p:nvPr/>
          </p:nvSpPr>
          <p:spPr bwMode="auto">
            <a:xfrm>
              <a:off x="-2230438" y="4618038"/>
              <a:ext cx="242888" cy="26988"/>
            </a:xfrm>
            <a:custGeom>
              <a:avLst/>
              <a:gdLst>
                <a:gd name="T0" fmla="*/ 1304 w 1380"/>
                <a:gd name="T1" fmla="*/ 0 h 153"/>
                <a:gd name="T2" fmla="*/ 1319 w 1380"/>
                <a:gd name="T3" fmla="*/ 2 h 153"/>
                <a:gd name="T4" fmla="*/ 1333 w 1380"/>
                <a:gd name="T5" fmla="*/ 6 h 153"/>
                <a:gd name="T6" fmla="*/ 1347 w 1380"/>
                <a:gd name="T7" fmla="*/ 13 h 153"/>
                <a:gd name="T8" fmla="*/ 1359 w 1380"/>
                <a:gd name="T9" fmla="*/ 22 h 153"/>
                <a:gd name="T10" fmla="*/ 1367 w 1380"/>
                <a:gd name="T11" fmla="*/ 33 h 153"/>
                <a:gd name="T12" fmla="*/ 1375 w 1380"/>
                <a:gd name="T13" fmla="*/ 46 h 153"/>
                <a:gd name="T14" fmla="*/ 1379 w 1380"/>
                <a:gd name="T15" fmla="*/ 62 h 153"/>
                <a:gd name="T16" fmla="*/ 1380 w 1380"/>
                <a:gd name="T17" fmla="*/ 77 h 153"/>
                <a:gd name="T18" fmla="*/ 1380 w 1380"/>
                <a:gd name="T19" fmla="*/ 85 h 153"/>
                <a:gd name="T20" fmla="*/ 1377 w 1380"/>
                <a:gd name="T21" fmla="*/ 100 h 153"/>
                <a:gd name="T22" fmla="*/ 1372 w 1380"/>
                <a:gd name="T23" fmla="*/ 113 h 153"/>
                <a:gd name="T24" fmla="*/ 1363 w 1380"/>
                <a:gd name="T25" fmla="*/ 125 h 153"/>
                <a:gd name="T26" fmla="*/ 1353 w 1380"/>
                <a:gd name="T27" fmla="*/ 136 h 153"/>
                <a:gd name="T28" fmla="*/ 1340 w 1380"/>
                <a:gd name="T29" fmla="*/ 144 h 153"/>
                <a:gd name="T30" fmla="*/ 1327 w 1380"/>
                <a:gd name="T31" fmla="*/ 150 h 153"/>
                <a:gd name="T32" fmla="*/ 1312 w 1380"/>
                <a:gd name="T33" fmla="*/ 153 h 153"/>
                <a:gd name="T34" fmla="*/ 76 w 1380"/>
                <a:gd name="T35" fmla="*/ 153 h 153"/>
                <a:gd name="T36" fmla="*/ 61 w 1380"/>
                <a:gd name="T37" fmla="*/ 152 h 153"/>
                <a:gd name="T38" fmla="*/ 46 w 1380"/>
                <a:gd name="T39" fmla="*/ 147 h 153"/>
                <a:gd name="T40" fmla="*/ 33 w 1380"/>
                <a:gd name="T41" fmla="*/ 140 h 153"/>
                <a:gd name="T42" fmla="*/ 21 w 1380"/>
                <a:gd name="T43" fmla="*/ 131 h 153"/>
                <a:gd name="T44" fmla="*/ 13 w 1380"/>
                <a:gd name="T45" fmla="*/ 120 h 153"/>
                <a:gd name="T46" fmla="*/ 5 w 1380"/>
                <a:gd name="T47" fmla="*/ 106 h 153"/>
                <a:gd name="T48" fmla="*/ 1 w 1380"/>
                <a:gd name="T49" fmla="*/ 92 h 153"/>
                <a:gd name="T50" fmla="*/ 0 w 1380"/>
                <a:gd name="T51" fmla="*/ 77 h 153"/>
                <a:gd name="T52" fmla="*/ 0 w 1380"/>
                <a:gd name="T53" fmla="*/ 68 h 153"/>
                <a:gd name="T54" fmla="*/ 3 w 1380"/>
                <a:gd name="T55" fmla="*/ 54 h 153"/>
                <a:gd name="T56" fmla="*/ 8 w 1380"/>
                <a:gd name="T57" fmla="*/ 40 h 153"/>
                <a:gd name="T58" fmla="*/ 17 w 1380"/>
                <a:gd name="T59" fmla="*/ 28 h 153"/>
                <a:gd name="T60" fmla="*/ 27 w 1380"/>
                <a:gd name="T61" fmla="*/ 17 h 153"/>
                <a:gd name="T62" fmla="*/ 40 w 1380"/>
                <a:gd name="T63" fmla="*/ 9 h 153"/>
                <a:gd name="T64" fmla="*/ 53 w 1380"/>
                <a:gd name="T65" fmla="*/ 3 h 153"/>
                <a:gd name="T66" fmla="*/ 68 w 1380"/>
                <a:gd name="T67" fmla="*/ 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0" h="153">
                  <a:moveTo>
                    <a:pt x="76" y="0"/>
                  </a:moveTo>
                  <a:lnTo>
                    <a:pt x="1304" y="0"/>
                  </a:lnTo>
                  <a:lnTo>
                    <a:pt x="1312" y="1"/>
                  </a:lnTo>
                  <a:lnTo>
                    <a:pt x="1319" y="2"/>
                  </a:lnTo>
                  <a:lnTo>
                    <a:pt x="1327" y="3"/>
                  </a:lnTo>
                  <a:lnTo>
                    <a:pt x="1333" y="6"/>
                  </a:lnTo>
                  <a:lnTo>
                    <a:pt x="1340" y="9"/>
                  </a:lnTo>
                  <a:lnTo>
                    <a:pt x="1347" y="13"/>
                  </a:lnTo>
                  <a:lnTo>
                    <a:pt x="1353" y="17"/>
                  </a:lnTo>
                  <a:lnTo>
                    <a:pt x="1359" y="22"/>
                  </a:lnTo>
                  <a:lnTo>
                    <a:pt x="1363" y="28"/>
                  </a:lnTo>
                  <a:lnTo>
                    <a:pt x="1367" y="33"/>
                  </a:lnTo>
                  <a:lnTo>
                    <a:pt x="1372" y="40"/>
                  </a:lnTo>
                  <a:lnTo>
                    <a:pt x="1375" y="46"/>
                  </a:lnTo>
                  <a:lnTo>
                    <a:pt x="1377" y="54"/>
                  </a:lnTo>
                  <a:lnTo>
                    <a:pt x="1379" y="62"/>
                  </a:lnTo>
                  <a:lnTo>
                    <a:pt x="1380" y="68"/>
                  </a:lnTo>
                  <a:lnTo>
                    <a:pt x="1380" y="77"/>
                  </a:lnTo>
                  <a:lnTo>
                    <a:pt x="1380" y="77"/>
                  </a:lnTo>
                  <a:lnTo>
                    <a:pt x="1380" y="85"/>
                  </a:lnTo>
                  <a:lnTo>
                    <a:pt x="1379" y="92"/>
                  </a:lnTo>
                  <a:lnTo>
                    <a:pt x="1377" y="100"/>
                  </a:lnTo>
                  <a:lnTo>
                    <a:pt x="1375" y="106"/>
                  </a:lnTo>
                  <a:lnTo>
                    <a:pt x="1372" y="113"/>
                  </a:lnTo>
                  <a:lnTo>
                    <a:pt x="1367" y="120"/>
                  </a:lnTo>
                  <a:lnTo>
                    <a:pt x="1363" y="125"/>
                  </a:lnTo>
                  <a:lnTo>
                    <a:pt x="1359" y="131"/>
                  </a:lnTo>
                  <a:lnTo>
                    <a:pt x="1353" y="136"/>
                  </a:lnTo>
                  <a:lnTo>
                    <a:pt x="1347" y="140"/>
                  </a:lnTo>
                  <a:lnTo>
                    <a:pt x="1340" y="144"/>
                  </a:lnTo>
                  <a:lnTo>
                    <a:pt x="1333" y="147"/>
                  </a:lnTo>
                  <a:lnTo>
                    <a:pt x="1327" y="150"/>
                  </a:lnTo>
                  <a:lnTo>
                    <a:pt x="1319" y="152"/>
                  </a:lnTo>
                  <a:lnTo>
                    <a:pt x="1312" y="153"/>
                  </a:lnTo>
                  <a:lnTo>
                    <a:pt x="1304" y="153"/>
                  </a:lnTo>
                  <a:lnTo>
                    <a:pt x="76" y="153"/>
                  </a:lnTo>
                  <a:lnTo>
                    <a:pt x="68" y="153"/>
                  </a:lnTo>
                  <a:lnTo>
                    <a:pt x="61" y="152"/>
                  </a:lnTo>
                  <a:lnTo>
                    <a:pt x="53" y="150"/>
                  </a:lnTo>
                  <a:lnTo>
                    <a:pt x="46" y="147"/>
                  </a:lnTo>
                  <a:lnTo>
                    <a:pt x="40" y="144"/>
                  </a:lnTo>
                  <a:lnTo>
                    <a:pt x="33" y="140"/>
                  </a:lnTo>
                  <a:lnTo>
                    <a:pt x="27" y="136"/>
                  </a:lnTo>
                  <a:lnTo>
                    <a:pt x="21" y="131"/>
                  </a:lnTo>
                  <a:lnTo>
                    <a:pt x="17" y="125"/>
                  </a:lnTo>
                  <a:lnTo>
                    <a:pt x="13" y="120"/>
                  </a:lnTo>
                  <a:lnTo>
                    <a:pt x="8" y="113"/>
                  </a:lnTo>
                  <a:lnTo>
                    <a:pt x="5" y="106"/>
                  </a:lnTo>
                  <a:lnTo>
                    <a:pt x="3" y="100"/>
                  </a:lnTo>
                  <a:lnTo>
                    <a:pt x="1" y="92"/>
                  </a:lnTo>
                  <a:lnTo>
                    <a:pt x="0" y="85"/>
                  </a:lnTo>
                  <a:lnTo>
                    <a:pt x="0" y="77"/>
                  </a:lnTo>
                  <a:lnTo>
                    <a:pt x="0" y="77"/>
                  </a:lnTo>
                  <a:lnTo>
                    <a:pt x="0" y="68"/>
                  </a:lnTo>
                  <a:lnTo>
                    <a:pt x="1" y="62"/>
                  </a:lnTo>
                  <a:lnTo>
                    <a:pt x="3" y="54"/>
                  </a:lnTo>
                  <a:lnTo>
                    <a:pt x="5" y="46"/>
                  </a:lnTo>
                  <a:lnTo>
                    <a:pt x="8" y="40"/>
                  </a:lnTo>
                  <a:lnTo>
                    <a:pt x="13" y="33"/>
                  </a:lnTo>
                  <a:lnTo>
                    <a:pt x="17" y="28"/>
                  </a:lnTo>
                  <a:lnTo>
                    <a:pt x="21" y="22"/>
                  </a:lnTo>
                  <a:lnTo>
                    <a:pt x="27" y="17"/>
                  </a:lnTo>
                  <a:lnTo>
                    <a:pt x="33" y="13"/>
                  </a:lnTo>
                  <a:lnTo>
                    <a:pt x="40" y="9"/>
                  </a:lnTo>
                  <a:lnTo>
                    <a:pt x="46" y="6"/>
                  </a:lnTo>
                  <a:lnTo>
                    <a:pt x="53" y="3"/>
                  </a:lnTo>
                  <a:lnTo>
                    <a:pt x="61" y="2"/>
                  </a:lnTo>
                  <a:lnTo>
                    <a:pt x="68" y="1"/>
                  </a:lnTo>
                  <a:lnTo>
                    <a:pt x="76"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800"/>
            </a:p>
          </p:txBody>
        </p:sp>
      </p:grpSp>
      <p:cxnSp>
        <p:nvCxnSpPr>
          <p:cNvPr id="88" name="Straight Connector 87"/>
          <p:cNvCxnSpPr>
            <a:stCxn id="9" idx="3"/>
          </p:cNvCxnSpPr>
          <p:nvPr/>
        </p:nvCxnSpPr>
        <p:spPr>
          <a:xfrm rot="16200000" flipH="1">
            <a:off x="4687177" y="5258477"/>
            <a:ext cx="892940" cy="644780"/>
          </a:xfrm>
          <a:prstGeom prst="line">
            <a:avLst/>
          </a:prstGeom>
          <a:ln w="3175">
            <a:solidFill>
              <a:srgbClr val="2A9B18"/>
            </a:solidFill>
          </a:ln>
        </p:spPr>
        <p:style>
          <a:lnRef idx="2">
            <a:schemeClr val="accent1"/>
          </a:lnRef>
          <a:fillRef idx="0">
            <a:schemeClr val="accent1"/>
          </a:fillRef>
          <a:effectRef idx="1">
            <a:schemeClr val="accent1"/>
          </a:effectRef>
          <a:fontRef idx="minor">
            <a:schemeClr val="tx1"/>
          </a:fontRef>
        </p:style>
      </p:cxnSp>
      <p:sp>
        <p:nvSpPr>
          <p:cNvPr id="89" name="TextBox 88"/>
          <p:cNvSpPr txBox="1"/>
          <p:nvPr/>
        </p:nvSpPr>
        <p:spPr>
          <a:xfrm>
            <a:off x="6265340" y="5699601"/>
            <a:ext cx="2633000" cy="369332"/>
          </a:xfrm>
          <a:prstGeom prst="rect">
            <a:avLst/>
          </a:prstGeom>
          <a:noFill/>
        </p:spPr>
        <p:txBody>
          <a:bodyPr wrap="square" rtlCol="0">
            <a:spAutoFit/>
          </a:bodyPr>
          <a:lstStyle/>
          <a:p>
            <a:endParaRPr lang="en-US" b="1" dirty="0"/>
          </a:p>
        </p:txBody>
      </p:sp>
      <p:cxnSp>
        <p:nvCxnSpPr>
          <p:cNvPr id="96" name="Straight Arrow Connector 95"/>
          <p:cNvCxnSpPr/>
          <p:nvPr/>
        </p:nvCxnSpPr>
        <p:spPr>
          <a:xfrm>
            <a:off x="5166920" y="1885976"/>
            <a:ext cx="1874857" cy="1588"/>
          </a:xfrm>
          <a:prstGeom prst="straightConnector1">
            <a:avLst/>
          </a:prstGeom>
          <a:ln w="3175">
            <a:solidFill>
              <a:srgbClr val="F0B71F"/>
            </a:solidFill>
            <a:tailEnd type="arrow"/>
          </a:ln>
        </p:spPr>
        <p:style>
          <a:lnRef idx="2">
            <a:schemeClr val="accent1"/>
          </a:lnRef>
          <a:fillRef idx="0">
            <a:schemeClr val="accent1"/>
          </a:fillRef>
          <a:effectRef idx="1">
            <a:schemeClr val="accent1"/>
          </a:effectRef>
          <a:fontRef idx="minor">
            <a:schemeClr val="tx1"/>
          </a:fontRef>
        </p:style>
      </p:cxnSp>
      <p:sp>
        <p:nvSpPr>
          <p:cNvPr id="87" name="Rectangle 86"/>
          <p:cNvSpPr/>
          <p:nvPr/>
        </p:nvSpPr>
        <p:spPr>
          <a:xfrm>
            <a:off x="5444594" y="1460924"/>
            <a:ext cx="1759008" cy="369332"/>
          </a:xfrm>
          <a:prstGeom prst="rect">
            <a:avLst/>
          </a:prstGeom>
        </p:spPr>
        <p:txBody>
          <a:bodyPr wrap="none">
            <a:spAutoFit/>
          </a:bodyPr>
          <a:lstStyle/>
          <a:p>
            <a:r>
              <a:rPr lang="en-US" b="1" i="1" dirty="0" smtClean="0"/>
              <a:t>Coalition Parties</a:t>
            </a:r>
            <a:endParaRPr lang="en-US" dirty="0"/>
          </a:p>
        </p:txBody>
      </p:sp>
      <p:sp>
        <p:nvSpPr>
          <p:cNvPr id="97" name="Rectangle 96"/>
          <p:cNvSpPr/>
          <p:nvPr/>
        </p:nvSpPr>
        <p:spPr>
          <a:xfrm>
            <a:off x="343596" y="6213986"/>
            <a:ext cx="4572000" cy="369332"/>
          </a:xfrm>
          <a:prstGeom prst="rect">
            <a:avLst/>
          </a:prstGeom>
        </p:spPr>
        <p:txBody>
          <a:bodyPr wrap="square">
            <a:spAutoFit/>
          </a:bodyPr>
          <a:lstStyle/>
          <a:p>
            <a:r>
              <a:rPr lang="en-US" sz="1050" b="1" i="1" dirty="0" smtClean="0"/>
              <a:t>What deters the unveiling of Legislative Process</a:t>
            </a:r>
            <a:r>
              <a:rPr lang="en-US" b="1" i="1" dirty="0" smtClean="0"/>
              <a:t>?</a:t>
            </a:r>
            <a:endParaRPr lang="en-US" dirty="0"/>
          </a:p>
        </p:txBody>
      </p:sp>
      <p:cxnSp>
        <p:nvCxnSpPr>
          <p:cNvPr id="99" name="Straight Arrow Connector 98"/>
          <p:cNvCxnSpPr>
            <a:stCxn id="9" idx="3"/>
          </p:cNvCxnSpPr>
          <p:nvPr/>
        </p:nvCxnSpPr>
        <p:spPr>
          <a:xfrm rot="16200000" flipH="1">
            <a:off x="4679369" y="5266285"/>
            <a:ext cx="908557" cy="644780"/>
          </a:xfrm>
          <a:prstGeom prst="straightConnector1">
            <a:avLst/>
          </a:prstGeom>
          <a:ln>
            <a:solidFill>
              <a:srgbClr val="2A9B18"/>
            </a:solidFill>
            <a:tailEnd type="arrow"/>
          </a:ln>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p:nvCxnSpPr>
        <p:spPr>
          <a:xfrm rot="5400000">
            <a:off x="4594178" y="-1902157"/>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18425192"/>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1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xmlns="" val="3401132682"/>
              </p:ext>
            </p:extLst>
          </p:nvPr>
        </p:nvGraphicFramePr>
        <p:xfrm>
          <a:off x="1588" y="1588"/>
          <a:ext cx="1587" cy="1587"/>
        </p:xfrm>
        <a:graphic>
          <a:graphicData uri="http://schemas.openxmlformats.org/presentationml/2006/ole">
            <p:oleObj spid="_x0000_s4117" name="think-cell Slide" r:id="rId4" imgW="360" imgH="360" progId="">
              <p:embed/>
            </p:oleObj>
          </a:graphicData>
        </a:graphic>
      </p:graphicFrame>
      <p:sp>
        <p:nvSpPr>
          <p:cNvPr id="77" name="TextBox 76"/>
          <p:cNvSpPr txBox="1"/>
          <p:nvPr/>
        </p:nvSpPr>
        <p:spPr>
          <a:xfrm>
            <a:off x="733079" y="374754"/>
            <a:ext cx="7935043" cy="890115"/>
          </a:xfrm>
          <a:prstGeom prst="rect">
            <a:avLst/>
          </a:prstGeom>
          <a:noFill/>
        </p:spPr>
        <p:txBody>
          <a:bodyPr wrap="square" rtlCol="0">
            <a:spAutoFit/>
          </a:bodyPr>
          <a:lstStyle/>
          <a:p>
            <a:pPr algn="ctr">
              <a:lnSpc>
                <a:spcPct val="80000"/>
              </a:lnSpc>
            </a:pPr>
            <a:r>
              <a:rPr lang="en-US" sz="3200" b="1" dirty="0" smtClean="0">
                <a:solidFill>
                  <a:srgbClr val="0070C0"/>
                </a:solidFill>
              </a:rPr>
              <a:t>The Institutional Context:  </a:t>
            </a:r>
          </a:p>
          <a:p>
            <a:pPr algn="ctr">
              <a:lnSpc>
                <a:spcPct val="80000"/>
              </a:lnSpc>
            </a:pPr>
            <a:r>
              <a:rPr lang="en-US" sz="3200" b="1" dirty="0" smtClean="0">
                <a:solidFill>
                  <a:srgbClr val="0070C0"/>
                </a:solidFill>
              </a:rPr>
              <a:t>Bottlenecks</a:t>
            </a:r>
          </a:p>
        </p:txBody>
      </p:sp>
      <p:sp>
        <p:nvSpPr>
          <p:cNvPr id="15" name="Footer Placeholder 14"/>
          <p:cNvSpPr>
            <a:spLocks noGrp="1"/>
          </p:cNvSpPr>
          <p:nvPr>
            <p:ph type="ftr" sz="quarter" idx="11"/>
          </p:nvPr>
        </p:nvSpPr>
        <p:spPr>
          <a:xfrm>
            <a:off x="343595" y="6373735"/>
            <a:ext cx="3711978" cy="295999"/>
          </a:xfrm>
        </p:spPr>
        <p:txBody>
          <a:bodyPr/>
          <a:lstStyle/>
          <a:p>
            <a:pPr algn="l">
              <a:defRPr/>
            </a:pPr>
            <a:r>
              <a:rPr lang="en-US" sz="1050" b="1" i="1" dirty="0" smtClean="0"/>
              <a:t>What deters the unveiling of Legislative Process?</a:t>
            </a:r>
            <a:endParaRPr lang="en-US" sz="1050" b="1" i="1" dirty="0"/>
          </a:p>
        </p:txBody>
      </p:sp>
      <p:sp>
        <p:nvSpPr>
          <p:cNvPr id="16" name="Slide Number Placeholder 15"/>
          <p:cNvSpPr>
            <a:spLocks noGrp="1"/>
          </p:cNvSpPr>
          <p:nvPr>
            <p:ph type="sldNum" sz="quarter" idx="12"/>
          </p:nvPr>
        </p:nvSpPr>
        <p:spPr/>
        <p:txBody>
          <a:bodyPr/>
          <a:lstStyle/>
          <a:p>
            <a:endParaRPr lang="en-US" dirty="0"/>
          </a:p>
        </p:txBody>
      </p:sp>
      <p:sp>
        <p:nvSpPr>
          <p:cNvPr id="123" name="TextBox 122"/>
          <p:cNvSpPr txBox="1"/>
          <p:nvPr/>
        </p:nvSpPr>
        <p:spPr>
          <a:xfrm>
            <a:off x="520072" y="4864010"/>
            <a:ext cx="4060397" cy="276999"/>
          </a:xfrm>
          <a:prstGeom prst="rect">
            <a:avLst/>
          </a:prstGeom>
          <a:noFill/>
        </p:spPr>
        <p:txBody>
          <a:bodyPr wrap="square" rtlCol="0" anchor="ctr">
            <a:spAutoFit/>
          </a:bodyPr>
          <a:lstStyle/>
          <a:p>
            <a:endParaRPr lang="en-US" sz="1200" dirty="0"/>
          </a:p>
        </p:txBody>
      </p:sp>
      <p:sp>
        <p:nvSpPr>
          <p:cNvPr id="129" name="TextBox 128"/>
          <p:cNvSpPr txBox="1"/>
          <p:nvPr/>
        </p:nvSpPr>
        <p:spPr>
          <a:xfrm>
            <a:off x="520071" y="4501405"/>
            <a:ext cx="8194461" cy="369332"/>
          </a:xfrm>
          <a:prstGeom prst="rect">
            <a:avLst/>
          </a:prstGeom>
          <a:noFill/>
        </p:spPr>
        <p:txBody>
          <a:bodyPr wrap="square" rtlCol="0" anchor="t">
            <a:spAutoFit/>
          </a:bodyPr>
          <a:lstStyle/>
          <a:p>
            <a:endParaRPr lang="en-US" b="1" dirty="0"/>
          </a:p>
        </p:txBody>
      </p:sp>
      <p:cxnSp>
        <p:nvCxnSpPr>
          <p:cNvPr id="26" name="Straight Connector 25"/>
          <p:cNvCxnSpPr/>
          <p:nvPr/>
        </p:nvCxnSpPr>
        <p:spPr>
          <a:xfrm>
            <a:off x="8441788" y="4805509"/>
            <a:ext cx="0" cy="970712"/>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20" name="Rectangle 19"/>
          <p:cNvSpPr/>
          <p:nvPr/>
        </p:nvSpPr>
        <p:spPr>
          <a:xfrm>
            <a:off x="465456" y="1368201"/>
            <a:ext cx="4542408" cy="4555093"/>
          </a:xfrm>
          <a:prstGeom prst="rect">
            <a:avLst/>
          </a:prstGeom>
        </p:spPr>
        <p:txBody>
          <a:bodyPr wrap="square">
            <a:spAutoFit/>
          </a:bodyPr>
          <a:lstStyle/>
          <a:p>
            <a:pPr>
              <a:buFont typeface="Wingdings" pitchFamily="2" charset="2"/>
              <a:buChar char="q"/>
            </a:pPr>
            <a:r>
              <a:rPr lang="en-US" sz="2800" b="1" i="1" dirty="0" smtClean="0"/>
              <a:t> Disinterested MP’s </a:t>
            </a:r>
          </a:p>
          <a:p>
            <a:endParaRPr lang="en-US" sz="1600" b="1" i="1" dirty="0" smtClean="0"/>
          </a:p>
          <a:p>
            <a:pPr lvl="1">
              <a:buFont typeface="Wingdings" pitchFamily="2" charset="2"/>
              <a:buChar char="v"/>
            </a:pPr>
            <a:r>
              <a:rPr lang="en-US" dirty="0" smtClean="0"/>
              <a:t>Inadequate recognition of  </a:t>
            </a:r>
          </a:p>
          <a:p>
            <a:pPr lvl="1"/>
            <a:r>
              <a:rPr lang="en-US" dirty="0" smtClean="0"/>
              <a:t>    parliamentary work</a:t>
            </a:r>
          </a:p>
          <a:p>
            <a:pPr lvl="1">
              <a:buFont typeface="Wingdings" pitchFamily="2" charset="2"/>
              <a:buChar char="v"/>
            </a:pPr>
            <a:r>
              <a:rPr lang="en-US" dirty="0" smtClean="0"/>
              <a:t>Low impact on the career prospects</a:t>
            </a:r>
          </a:p>
          <a:p>
            <a:pPr lvl="1">
              <a:buFont typeface="Wingdings" pitchFamily="2" charset="2"/>
              <a:buChar char="v"/>
            </a:pPr>
            <a:r>
              <a:rPr lang="en-US" dirty="0" smtClean="0"/>
              <a:t>Generalist Composition</a:t>
            </a:r>
          </a:p>
          <a:p>
            <a:pPr lvl="1">
              <a:buFont typeface="Wingdings" pitchFamily="2" charset="2"/>
              <a:buChar char="v"/>
            </a:pPr>
            <a:endParaRPr lang="en-US" sz="1600" dirty="0" smtClean="0"/>
          </a:p>
          <a:p>
            <a:pPr>
              <a:buFont typeface="Wingdings" pitchFamily="2" charset="2"/>
              <a:buChar char="q"/>
            </a:pPr>
            <a:r>
              <a:rPr lang="en-US" sz="2800" b="1" i="1" dirty="0" smtClean="0"/>
              <a:t>Insufficient time  </a:t>
            </a:r>
          </a:p>
          <a:p>
            <a:pPr>
              <a:buFont typeface="Wingdings" pitchFamily="2" charset="2"/>
              <a:buChar char="q"/>
            </a:pPr>
            <a:r>
              <a:rPr lang="en-US" sz="2800" b="1" i="1" dirty="0" smtClean="0"/>
              <a:t>Lack of Transparency </a:t>
            </a:r>
          </a:p>
          <a:p>
            <a:pPr>
              <a:buFont typeface="Wingdings" pitchFamily="2" charset="2"/>
              <a:buChar char="q"/>
            </a:pPr>
            <a:r>
              <a:rPr lang="en-US" sz="2800" b="1" i="1" dirty="0" smtClean="0"/>
              <a:t>Inadequate Consultation</a:t>
            </a:r>
          </a:p>
          <a:p>
            <a:pPr>
              <a:buFont typeface="Wingdings" pitchFamily="2" charset="2"/>
              <a:buChar char="q"/>
            </a:pPr>
            <a:r>
              <a:rPr lang="en-US" sz="2800" b="1" i="1" dirty="0" smtClean="0"/>
              <a:t>Disengagement</a:t>
            </a:r>
          </a:p>
          <a:p>
            <a:pPr>
              <a:buFont typeface="Wingdings" pitchFamily="2" charset="2"/>
              <a:buChar char="q"/>
            </a:pPr>
            <a:r>
              <a:rPr lang="en-US" sz="2800" b="1" i="1" dirty="0" smtClean="0"/>
              <a:t>Unclear Party Platforms </a:t>
            </a:r>
          </a:p>
          <a:p>
            <a:pPr>
              <a:buNone/>
            </a:pPr>
            <a:endParaRPr lang="en-US" i="1" dirty="0" smtClean="0"/>
          </a:p>
        </p:txBody>
      </p:sp>
      <p:sp>
        <p:nvSpPr>
          <p:cNvPr id="25" name="TextBox 24"/>
          <p:cNvSpPr txBox="1"/>
          <p:nvPr/>
        </p:nvSpPr>
        <p:spPr>
          <a:xfrm>
            <a:off x="7495082" y="6397401"/>
            <a:ext cx="1471497" cy="369332"/>
          </a:xfrm>
          <a:prstGeom prst="rect">
            <a:avLst/>
          </a:prstGeom>
          <a:solidFill>
            <a:schemeClr val="bg1">
              <a:lumMod val="95000"/>
            </a:schemeClr>
          </a:solidFill>
        </p:spPr>
        <p:txBody>
          <a:bodyPr wrap="square" rtlCol="0">
            <a:spAutoFit/>
          </a:bodyPr>
          <a:lstStyle/>
          <a:p>
            <a:endParaRPr lang="en-US" dirty="0"/>
          </a:p>
        </p:txBody>
      </p:sp>
      <p:pic>
        <p:nvPicPr>
          <p:cNvPr id="23" name="Picture 22" descr="24THANIRUDHA_1766657f.jpg"/>
          <p:cNvPicPr>
            <a:picLocks noChangeAspect="1"/>
          </p:cNvPicPr>
          <p:nvPr/>
        </p:nvPicPr>
        <p:blipFill>
          <a:blip r:embed="rId5"/>
          <a:stretch>
            <a:fillRect/>
          </a:stretch>
        </p:blipFill>
        <p:spPr>
          <a:xfrm>
            <a:off x="5007864" y="1368201"/>
            <a:ext cx="3958715" cy="5029200"/>
          </a:xfrm>
          <a:prstGeom prst="rect">
            <a:avLst/>
          </a:prstGeom>
          <a:solidFill>
            <a:srgbClr val="CCFFCC"/>
          </a:solidFill>
          <a:ln w="28575">
            <a:solidFill>
              <a:srgbClr val="2A9B18"/>
            </a:solidFill>
          </a:ln>
        </p:spPr>
      </p:pic>
      <p:sp>
        <p:nvSpPr>
          <p:cNvPr id="27" name="Rounded Rectangle 55"/>
          <p:cNvSpPr/>
          <p:nvPr/>
        </p:nvSpPr>
        <p:spPr>
          <a:xfrm rot="2633341">
            <a:off x="4112532" y="1572717"/>
            <a:ext cx="126352" cy="215224"/>
          </a:xfrm>
          <a:custGeom>
            <a:avLst/>
            <a:gdLst/>
            <a:ahLst/>
            <a:cxnLst/>
            <a:rect l="l" t="t" r="r" b="b"/>
            <a:pathLst>
              <a:path w="759702" h="1294053">
                <a:moveTo>
                  <a:pt x="443142" y="15934"/>
                </a:moveTo>
                <a:cubicBezTo>
                  <a:pt x="452987" y="6089"/>
                  <a:pt x="466588" y="0"/>
                  <a:pt x="481611" y="0"/>
                </a:cubicBezTo>
                <a:lnTo>
                  <a:pt x="699215" y="0"/>
                </a:lnTo>
                <a:cubicBezTo>
                  <a:pt x="729261" y="0"/>
                  <a:pt x="753618" y="24357"/>
                  <a:pt x="753618" y="54403"/>
                </a:cubicBezTo>
                <a:lnTo>
                  <a:pt x="753618" y="1001974"/>
                </a:lnTo>
                <a:cubicBezTo>
                  <a:pt x="754099" y="1002736"/>
                  <a:pt x="754137" y="1003532"/>
                  <a:pt x="754157" y="1004333"/>
                </a:cubicBezTo>
                <a:lnTo>
                  <a:pt x="759685" y="1221867"/>
                </a:lnTo>
                <a:cubicBezTo>
                  <a:pt x="759987" y="1233747"/>
                  <a:pt x="756458" y="1244833"/>
                  <a:pt x="749414" y="1253391"/>
                </a:cubicBezTo>
                <a:cubicBezTo>
                  <a:pt x="748782" y="1255097"/>
                  <a:pt x="748003" y="1256733"/>
                  <a:pt x="746493" y="1257970"/>
                </a:cubicBezTo>
                <a:cubicBezTo>
                  <a:pt x="746150" y="1259198"/>
                  <a:pt x="745375" y="1260060"/>
                  <a:pt x="744541" y="1260865"/>
                </a:cubicBezTo>
                <a:cubicBezTo>
                  <a:pt x="735754" y="1276749"/>
                  <a:pt x="718678" y="1286970"/>
                  <a:pt x="699215" y="1286970"/>
                </a:cubicBezTo>
                <a:lnTo>
                  <a:pt x="481611" y="1286970"/>
                </a:lnTo>
                <a:lnTo>
                  <a:pt x="465705" y="1283759"/>
                </a:lnTo>
                <a:lnTo>
                  <a:pt x="61314" y="1294036"/>
                </a:lnTo>
                <a:cubicBezTo>
                  <a:pt x="31277" y="1294800"/>
                  <a:pt x="6309" y="1271069"/>
                  <a:pt x="5546" y="1241033"/>
                </a:cubicBezTo>
                <a:lnTo>
                  <a:pt x="17" y="1023499"/>
                </a:lnTo>
                <a:cubicBezTo>
                  <a:pt x="-746" y="993463"/>
                  <a:pt x="22984" y="968495"/>
                  <a:pt x="53021" y="967732"/>
                </a:cubicBezTo>
                <a:lnTo>
                  <a:pt x="427208" y="958222"/>
                </a:lnTo>
                <a:lnTo>
                  <a:pt x="427208" y="54403"/>
                </a:lnTo>
                <a:cubicBezTo>
                  <a:pt x="427208" y="39380"/>
                  <a:pt x="433297" y="25779"/>
                  <a:pt x="443142" y="15934"/>
                </a:cubicBezTo>
                <a:close/>
              </a:path>
            </a:pathLst>
          </a:custGeom>
          <a:solidFill>
            <a:srgbClr val="507B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j-lt"/>
            </a:endParaRPr>
          </a:p>
        </p:txBody>
      </p:sp>
      <p:sp>
        <p:nvSpPr>
          <p:cNvPr id="28" name="Rounded Rectangle 55"/>
          <p:cNvSpPr/>
          <p:nvPr/>
        </p:nvSpPr>
        <p:spPr>
          <a:xfrm rot="2633341">
            <a:off x="3534675" y="3446488"/>
            <a:ext cx="126352" cy="215224"/>
          </a:xfrm>
          <a:custGeom>
            <a:avLst/>
            <a:gdLst/>
            <a:ahLst/>
            <a:cxnLst/>
            <a:rect l="l" t="t" r="r" b="b"/>
            <a:pathLst>
              <a:path w="759702" h="1294053">
                <a:moveTo>
                  <a:pt x="443142" y="15934"/>
                </a:moveTo>
                <a:cubicBezTo>
                  <a:pt x="452987" y="6089"/>
                  <a:pt x="466588" y="0"/>
                  <a:pt x="481611" y="0"/>
                </a:cubicBezTo>
                <a:lnTo>
                  <a:pt x="699215" y="0"/>
                </a:lnTo>
                <a:cubicBezTo>
                  <a:pt x="729261" y="0"/>
                  <a:pt x="753618" y="24357"/>
                  <a:pt x="753618" y="54403"/>
                </a:cubicBezTo>
                <a:lnTo>
                  <a:pt x="753618" y="1001974"/>
                </a:lnTo>
                <a:cubicBezTo>
                  <a:pt x="754099" y="1002736"/>
                  <a:pt x="754137" y="1003532"/>
                  <a:pt x="754157" y="1004333"/>
                </a:cubicBezTo>
                <a:lnTo>
                  <a:pt x="759685" y="1221867"/>
                </a:lnTo>
                <a:cubicBezTo>
                  <a:pt x="759987" y="1233747"/>
                  <a:pt x="756458" y="1244833"/>
                  <a:pt x="749414" y="1253391"/>
                </a:cubicBezTo>
                <a:cubicBezTo>
                  <a:pt x="748782" y="1255097"/>
                  <a:pt x="748003" y="1256733"/>
                  <a:pt x="746493" y="1257970"/>
                </a:cubicBezTo>
                <a:cubicBezTo>
                  <a:pt x="746150" y="1259198"/>
                  <a:pt x="745375" y="1260060"/>
                  <a:pt x="744541" y="1260865"/>
                </a:cubicBezTo>
                <a:cubicBezTo>
                  <a:pt x="735754" y="1276749"/>
                  <a:pt x="718678" y="1286970"/>
                  <a:pt x="699215" y="1286970"/>
                </a:cubicBezTo>
                <a:lnTo>
                  <a:pt x="481611" y="1286970"/>
                </a:lnTo>
                <a:lnTo>
                  <a:pt x="465705" y="1283759"/>
                </a:lnTo>
                <a:lnTo>
                  <a:pt x="61314" y="1294036"/>
                </a:lnTo>
                <a:cubicBezTo>
                  <a:pt x="31277" y="1294800"/>
                  <a:pt x="6309" y="1271069"/>
                  <a:pt x="5546" y="1241033"/>
                </a:cubicBezTo>
                <a:lnTo>
                  <a:pt x="17" y="1023499"/>
                </a:lnTo>
                <a:cubicBezTo>
                  <a:pt x="-746" y="993463"/>
                  <a:pt x="22984" y="968495"/>
                  <a:pt x="53021" y="967732"/>
                </a:cubicBezTo>
                <a:lnTo>
                  <a:pt x="427208" y="958222"/>
                </a:lnTo>
                <a:lnTo>
                  <a:pt x="427208" y="54403"/>
                </a:lnTo>
                <a:cubicBezTo>
                  <a:pt x="427208" y="39380"/>
                  <a:pt x="433297" y="25779"/>
                  <a:pt x="443142" y="15934"/>
                </a:cubicBezTo>
                <a:close/>
              </a:path>
            </a:pathLst>
          </a:custGeom>
          <a:solidFill>
            <a:srgbClr val="507B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j-lt"/>
            </a:endParaRPr>
          </a:p>
        </p:txBody>
      </p:sp>
      <p:sp>
        <p:nvSpPr>
          <p:cNvPr id="29" name="Rounded Rectangle 55"/>
          <p:cNvSpPr/>
          <p:nvPr/>
        </p:nvSpPr>
        <p:spPr>
          <a:xfrm rot="2633341">
            <a:off x="4232664" y="3923311"/>
            <a:ext cx="126352" cy="215224"/>
          </a:xfrm>
          <a:custGeom>
            <a:avLst/>
            <a:gdLst/>
            <a:ahLst/>
            <a:cxnLst/>
            <a:rect l="l" t="t" r="r" b="b"/>
            <a:pathLst>
              <a:path w="759702" h="1294053">
                <a:moveTo>
                  <a:pt x="443142" y="15934"/>
                </a:moveTo>
                <a:cubicBezTo>
                  <a:pt x="452987" y="6089"/>
                  <a:pt x="466588" y="0"/>
                  <a:pt x="481611" y="0"/>
                </a:cubicBezTo>
                <a:lnTo>
                  <a:pt x="699215" y="0"/>
                </a:lnTo>
                <a:cubicBezTo>
                  <a:pt x="729261" y="0"/>
                  <a:pt x="753618" y="24357"/>
                  <a:pt x="753618" y="54403"/>
                </a:cubicBezTo>
                <a:lnTo>
                  <a:pt x="753618" y="1001974"/>
                </a:lnTo>
                <a:cubicBezTo>
                  <a:pt x="754099" y="1002736"/>
                  <a:pt x="754137" y="1003532"/>
                  <a:pt x="754157" y="1004333"/>
                </a:cubicBezTo>
                <a:lnTo>
                  <a:pt x="759685" y="1221867"/>
                </a:lnTo>
                <a:cubicBezTo>
                  <a:pt x="759987" y="1233747"/>
                  <a:pt x="756458" y="1244833"/>
                  <a:pt x="749414" y="1253391"/>
                </a:cubicBezTo>
                <a:cubicBezTo>
                  <a:pt x="748782" y="1255097"/>
                  <a:pt x="748003" y="1256733"/>
                  <a:pt x="746493" y="1257970"/>
                </a:cubicBezTo>
                <a:cubicBezTo>
                  <a:pt x="746150" y="1259198"/>
                  <a:pt x="745375" y="1260060"/>
                  <a:pt x="744541" y="1260865"/>
                </a:cubicBezTo>
                <a:cubicBezTo>
                  <a:pt x="735754" y="1276749"/>
                  <a:pt x="718678" y="1286970"/>
                  <a:pt x="699215" y="1286970"/>
                </a:cubicBezTo>
                <a:lnTo>
                  <a:pt x="481611" y="1286970"/>
                </a:lnTo>
                <a:lnTo>
                  <a:pt x="465705" y="1283759"/>
                </a:lnTo>
                <a:lnTo>
                  <a:pt x="61314" y="1294036"/>
                </a:lnTo>
                <a:cubicBezTo>
                  <a:pt x="31277" y="1294800"/>
                  <a:pt x="6309" y="1271069"/>
                  <a:pt x="5546" y="1241033"/>
                </a:cubicBezTo>
                <a:lnTo>
                  <a:pt x="17" y="1023499"/>
                </a:lnTo>
                <a:cubicBezTo>
                  <a:pt x="-746" y="993463"/>
                  <a:pt x="22984" y="968495"/>
                  <a:pt x="53021" y="967732"/>
                </a:cubicBezTo>
                <a:lnTo>
                  <a:pt x="427208" y="958222"/>
                </a:lnTo>
                <a:lnTo>
                  <a:pt x="427208" y="54403"/>
                </a:lnTo>
                <a:cubicBezTo>
                  <a:pt x="427208" y="39380"/>
                  <a:pt x="433297" y="25779"/>
                  <a:pt x="443142" y="15934"/>
                </a:cubicBezTo>
                <a:close/>
              </a:path>
            </a:pathLst>
          </a:custGeom>
          <a:solidFill>
            <a:srgbClr val="507B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j-lt"/>
            </a:endParaRPr>
          </a:p>
        </p:txBody>
      </p:sp>
      <p:sp>
        <p:nvSpPr>
          <p:cNvPr id="30" name="Rounded Rectangle 55"/>
          <p:cNvSpPr/>
          <p:nvPr/>
        </p:nvSpPr>
        <p:spPr>
          <a:xfrm rot="2633341">
            <a:off x="4637426" y="4393794"/>
            <a:ext cx="126352" cy="215224"/>
          </a:xfrm>
          <a:custGeom>
            <a:avLst/>
            <a:gdLst/>
            <a:ahLst/>
            <a:cxnLst/>
            <a:rect l="l" t="t" r="r" b="b"/>
            <a:pathLst>
              <a:path w="759702" h="1294053">
                <a:moveTo>
                  <a:pt x="443142" y="15934"/>
                </a:moveTo>
                <a:cubicBezTo>
                  <a:pt x="452987" y="6089"/>
                  <a:pt x="466588" y="0"/>
                  <a:pt x="481611" y="0"/>
                </a:cubicBezTo>
                <a:lnTo>
                  <a:pt x="699215" y="0"/>
                </a:lnTo>
                <a:cubicBezTo>
                  <a:pt x="729261" y="0"/>
                  <a:pt x="753618" y="24357"/>
                  <a:pt x="753618" y="54403"/>
                </a:cubicBezTo>
                <a:lnTo>
                  <a:pt x="753618" y="1001974"/>
                </a:lnTo>
                <a:cubicBezTo>
                  <a:pt x="754099" y="1002736"/>
                  <a:pt x="754137" y="1003532"/>
                  <a:pt x="754157" y="1004333"/>
                </a:cubicBezTo>
                <a:lnTo>
                  <a:pt x="759685" y="1221867"/>
                </a:lnTo>
                <a:cubicBezTo>
                  <a:pt x="759987" y="1233747"/>
                  <a:pt x="756458" y="1244833"/>
                  <a:pt x="749414" y="1253391"/>
                </a:cubicBezTo>
                <a:cubicBezTo>
                  <a:pt x="748782" y="1255097"/>
                  <a:pt x="748003" y="1256733"/>
                  <a:pt x="746493" y="1257970"/>
                </a:cubicBezTo>
                <a:cubicBezTo>
                  <a:pt x="746150" y="1259198"/>
                  <a:pt x="745375" y="1260060"/>
                  <a:pt x="744541" y="1260865"/>
                </a:cubicBezTo>
                <a:cubicBezTo>
                  <a:pt x="735754" y="1276749"/>
                  <a:pt x="718678" y="1286970"/>
                  <a:pt x="699215" y="1286970"/>
                </a:cubicBezTo>
                <a:lnTo>
                  <a:pt x="481611" y="1286970"/>
                </a:lnTo>
                <a:lnTo>
                  <a:pt x="465705" y="1283759"/>
                </a:lnTo>
                <a:lnTo>
                  <a:pt x="61314" y="1294036"/>
                </a:lnTo>
                <a:cubicBezTo>
                  <a:pt x="31277" y="1294800"/>
                  <a:pt x="6309" y="1271069"/>
                  <a:pt x="5546" y="1241033"/>
                </a:cubicBezTo>
                <a:lnTo>
                  <a:pt x="17" y="1023499"/>
                </a:lnTo>
                <a:cubicBezTo>
                  <a:pt x="-746" y="993463"/>
                  <a:pt x="22984" y="968495"/>
                  <a:pt x="53021" y="967732"/>
                </a:cubicBezTo>
                <a:lnTo>
                  <a:pt x="427208" y="958222"/>
                </a:lnTo>
                <a:lnTo>
                  <a:pt x="427208" y="54403"/>
                </a:lnTo>
                <a:cubicBezTo>
                  <a:pt x="427208" y="39380"/>
                  <a:pt x="433297" y="25779"/>
                  <a:pt x="443142" y="15934"/>
                </a:cubicBezTo>
                <a:close/>
              </a:path>
            </a:pathLst>
          </a:custGeom>
          <a:solidFill>
            <a:srgbClr val="507B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j-lt"/>
            </a:endParaRPr>
          </a:p>
        </p:txBody>
      </p:sp>
      <p:sp>
        <p:nvSpPr>
          <p:cNvPr id="31" name="Rounded Rectangle 55"/>
          <p:cNvSpPr/>
          <p:nvPr/>
        </p:nvSpPr>
        <p:spPr>
          <a:xfrm rot="2633341">
            <a:off x="3534676" y="4819249"/>
            <a:ext cx="126352" cy="215224"/>
          </a:xfrm>
          <a:custGeom>
            <a:avLst/>
            <a:gdLst/>
            <a:ahLst/>
            <a:cxnLst/>
            <a:rect l="l" t="t" r="r" b="b"/>
            <a:pathLst>
              <a:path w="759702" h="1294053">
                <a:moveTo>
                  <a:pt x="443142" y="15934"/>
                </a:moveTo>
                <a:cubicBezTo>
                  <a:pt x="452987" y="6089"/>
                  <a:pt x="466588" y="0"/>
                  <a:pt x="481611" y="0"/>
                </a:cubicBezTo>
                <a:lnTo>
                  <a:pt x="699215" y="0"/>
                </a:lnTo>
                <a:cubicBezTo>
                  <a:pt x="729261" y="0"/>
                  <a:pt x="753618" y="24357"/>
                  <a:pt x="753618" y="54403"/>
                </a:cubicBezTo>
                <a:lnTo>
                  <a:pt x="753618" y="1001974"/>
                </a:lnTo>
                <a:cubicBezTo>
                  <a:pt x="754099" y="1002736"/>
                  <a:pt x="754137" y="1003532"/>
                  <a:pt x="754157" y="1004333"/>
                </a:cubicBezTo>
                <a:lnTo>
                  <a:pt x="759685" y="1221867"/>
                </a:lnTo>
                <a:cubicBezTo>
                  <a:pt x="759987" y="1233747"/>
                  <a:pt x="756458" y="1244833"/>
                  <a:pt x="749414" y="1253391"/>
                </a:cubicBezTo>
                <a:cubicBezTo>
                  <a:pt x="748782" y="1255097"/>
                  <a:pt x="748003" y="1256733"/>
                  <a:pt x="746493" y="1257970"/>
                </a:cubicBezTo>
                <a:cubicBezTo>
                  <a:pt x="746150" y="1259198"/>
                  <a:pt x="745375" y="1260060"/>
                  <a:pt x="744541" y="1260865"/>
                </a:cubicBezTo>
                <a:cubicBezTo>
                  <a:pt x="735754" y="1276749"/>
                  <a:pt x="718678" y="1286970"/>
                  <a:pt x="699215" y="1286970"/>
                </a:cubicBezTo>
                <a:lnTo>
                  <a:pt x="481611" y="1286970"/>
                </a:lnTo>
                <a:lnTo>
                  <a:pt x="465705" y="1283759"/>
                </a:lnTo>
                <a:lnTo>
                  <a:pt x="61314" y="1294036"/>
                </a:lnTo>
                <a:cubicBezTo>
                  <a:pt x="31277" y="1294800"/>
                  <a:pt x="6309" y="1271069"/>
                  <a:pt x="5546" y="1241033"/>
                </a:cubicBezTo>
                <a:lnTo>
                  <a:pt x="17" y="1023499"/>
                </a:lnTo>
                <a:cubicBezTo>
                  <a:pt x="-746" y="993463"/>
                  <a:pt x="22984" y="968495"/>
                  <a:pt x="53021" y="967732"/>
                </a:cubicBezTo>
                <a:lnTo>
                  <a:pt x="427208" y="958222"/>
                </a:lnTo>
                <a:lnTo>
                  <a:pt x="427208" y="54403"/>
                </a:lnTo>
                <a:cubicBezTo>
                  <a:pt x="427208" y="39380"/>
                  <a:pt x="433297" y="25779"/>
                  <a:pt x="443142" y="15934"/>
                </a:cubicBezTo>
                <a:close/>
              </a:path>
            </a:pathLst>
          </a:custGeom>
          <a:solidFill>
            <a:srgbClr val="507B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j-lt"/>
            </a:endParaRPr>
          </a:p>
        </p:txBody>
      </p:sp>
      <p:sp>
        <p:nvSpPr>
          <p:cNvPr id="32" name="Rounded Rectangle 55"/>
          <p:cNvSpPr/>
          <p:nvPr/>
        </p:nvSpPr>
        <p:spPr>
          <a:xfrm rot="2633341">
            <a:off x="4637424" y="5154750"/>
            <a:ext cx="126352" cy="215224"/>
          </a:xfrm>
          <a:custGeom>
            <a:avLst/>
            <a:gdLst/>
            <a:ahLst/>
            <a:cxnLst/>
            <a:rect l="l" t="t" r="r" b="b"/>
            <a:pathLst>
              <a:path w="759702" h="1294053">
                <a:moveTo>
                  <a:pt x="443142" y="15934"/>
                </a:moveTo>
                <a:cubicBezTo>
                  <a:pt x="452987" y="6089"/>
                  <a:pt x="466588" y="0"/>
                  <a:pt x="481611" y="0"/>
                </a:cubicBezTo>
                <a:lnTo>
                  <a:pt x="699215" y="0"/>
                </a:lnTo>
                <a:cubicBezTo>
                  <a:pt x="729261" y="0"/>
                  <a:pt x="753618" y="24357"/>
                  <a:pt x="753618" y="54403"/>
                </a:cubicBezTo>
                <a:lnTo>
                  <a:pt x="753618" y="1001974"/>
                </a:lnTo>
                <a:cubicBezTo>
                  <a:pt x="754099" y="1002736"/>
                  <a:pt x="754137" y="1003532"/>
                  <a:pt x="754157" y="1004333"/>
                </a:cubicBezTo>
                <a:lnTo>
                  <a:pt x="759685" y="1221867"/>
                </a:lnTo>
                <a:cubicBezTo>
                  <a:pt x="759987" y="1233747"/>
                  <a:pt x="756458" y="1244833"/>
                  <a:pt x="749414" y="1253391"/>
                </a:cubicBezTo>
                <a:cubicBezTo>
                  <a:pt x="748782" y="1255097"/>
                  <a:pt x="748003" y="1256733"/>
                  <a:pt x="746493" y="1257970"/>
                </a:cubicBezTo>
                <a:cubicBezTo>
                  <a:pt x="746150" y="1259198"/>
                  <a:pt x="745375" y="1260060"/>
                  <a:pt x="744541" y="1260865"/>
                </a:cubicBezTo>
                <a:cubicBezTo>
                  <a:pt x="735754" y="1276749"/>
                  <a:pt x="718678" y="1286970"/>
                  <a:pt x="699215" y="1286970"/>
                </a:cubicBezTo>
                <a:lnTo>
                  <a:pt x="481611" y="1286970"/>
                </a:lnTo>
                <a:lnTo>
                  <a:pt x="465705" y="1283759"/>
                </a:lnTo>
                <a:lnTo>
                  <a:pt x="61314" y="1294036"/>
                </a:lnTo>
                <a:cubicBezTo>
                  <a:pt x="31277" y="1294800"/>
                  <a:pt x="6309" y="1271069"/>
                  <a:pt x="5546" y="1241033"/>
                </a:cubicBezTo>
                <a:lnTo>
                  <a:pt x="17" y="1023499"/>
                </a:lnTo>
                <a:cubicBezTo>
                  <a:pt x="-746" y="993463"/>
                  <a:pt x="22984" y="968495"/>
                  <a:pt x="53021" y="967732"/>
                </a:cubicBezTo>
                <a:lnTo>
                  <a:pt x="427208" y="958222"/>
                </a:lnTo>
                <a:lnTo>
                  <a:pt x="427208" y="54403"/>
                </a:lnTo>
                <a:cubicBezTo>
                  <a:pt x="427208" y="39380"/>
                  <a:pt x="433297" y="25779"/>
                  <a:pt x="443142" y="15934"/>
                </a:cubicBezTo>
                <a:close/>
              </a:path>
            </a:pathLst>
          </a:custGeom>
          <a:solidFill>
            <a:srgbClr val="507B0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j-lt"/>
            </a:endParaRPr>
          </a:p>
        </p:txBody>
      </p:sp>
      <p:cxnSp>
        <p:nvCxnSpPr>
          <p:cNvPr id="21" name="Straight Connector 20"/>
          <p:cNvCxnSpPr/>
          <p:nvPr/>
        </p:nvCxnSpPr>
        <p:spPr>
          <a:xfrm rot="5400000">
            <a:off x="4820736" y="-1907668"/>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3728113320"/>
      </p:ext>
    </p:extLst>
  </p:cSld>
  <p:clrMapOvr>
    <a:masterClrMapping/>
  </p:clrMapOvr>
  <p:transition spd="med">
    <p:plus/>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pPr>
              <a:defRPr/>
            </a:pPr>
            <a:r>
              <a:rPr lang="en-US" smtClean="0"/>
              <a:t>What deters the unveiling of Legislative Process?</a:t>
            </a:r>
            <a:endParaRPr lang="en-US" dirty="0"/>
          </a:p>
        </p:txBody>
      </p:sp>
      <p:sp>
        <p:nvSpPr>
          <p:cNvPr id="4" name="Slide Number Placeholder 3"/>
          <p:cNvSpPr>
            <a:spLocks noGrp="1"/>
          </p:cNvSpPr>
          <p:nvPr>
            <p:ph type="sldNum" sz="quarter" idx="12"/>
          </p:nvPr>
        </p:nvSpPr>
        <p:spPr/>
        <p:txBody>
          <a:bodyPr/>
          <a:lstStyle/>
          <a:p>
            <a:fld id="{EA72F2ED-C0F1-A14B-BA46-C5847C658EB2}" type="slidenum">
              <a:rPr lang="en-US" smtClean="0"/>
              <a:pPr/>
              <a:t>15</a:t>
            </a:fld>
            <a:endParaRPr lang="en-US" dirty="0"/>
          </a:p>
        </p:txBody>
      </p:sp>
      <p:graphicFrame>
        <p:nvGraphicFramePr>
          <p:cNvPr id="8" name="Content Placeholder 7"/>
          <p:cNvGraphicFramePr>
            <a:graphicFrameLocks noGrp="1"/>
          </p:cNvGraphicFramePr>
          <p:nvPr>
            <p:ph idx="4294967295"/>
          </p:nvPr>
        </p:nvGraphicFramePr>
        <p:xfrm>
          <a:off x="837127" y="1645561"/>
          <a:ext cx="8078273" cy="4350505"/>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p:cNvSpPr txBox="1"/>
          <p:nvPr/>
        </p:nvSpPr>
        <p:spPr>
          <a:xfrm>
            <a:off x="1957589" y="605307"/>
            <a:ext cx="5486400" cy="830997"/>
          </a:xfrm>
          <a:prstGeom prst="rect">
            <a:avLst/>
          </a:prstGeom>
          <a:noFill/>
        </p:spPr>
        <p:txBody>
          <a:bodyPr wrap="square" rtlCol="0">
            <a:spAutoFit/>
          </a:bodyPr>
          <a:lstStyle/>
          <a:p>
            <a:pPr algn="ctr"/>
            <a:r>
              <a:rPr lang="en-US" sz="2400" b="1" i="1" dirty="0" smtClean="0"/>
              <a:t>Time Spent by Lok Sabha in Different Activities</a:t>
            </a:r>
            <a:endParaRPr lang="en-US" sz="2400" b="1" i="1" dirty="0"/>
          </a:p>
        </p:txBody>
      </p:sp>
      <p:cxnSp>
        <p:nvCxnSpPr>
          <p:cNvPr id="6" name="Straight Connector 5"/>
          <p:cNvCxnSpPr/>
          <p:nvPr/>
        </p:nvCxnSpPr>
        <p:spPr>
          <a:xfrm rot="5400000">
            <a:off x="4594178" y="-1781604"/>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7" name="TextBox 1"/>
          <p:cNvSpPr txBox="1"/>
          <p:nvPr/>
        </p:nvSpPr>
        <p:spPr>
          <a:xfrm>
            <a:off x="5262380" y="6146465"/>
            <a:ext cx="3599434" cy="23434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1200" b="1" i="1" dirty="0" smtClean="0"/>
              <a:t>Source: Lok Sabha Secretariat </a:t>
            </a:r>
            <a:endParaRPr lang="en-US" sz="1200" b="1" i="1" dirty="0"/>
          </a:p>
        </p:txBody>
      </p:sp>
    </p:spTree>
  </p:cSld>
  <p:clrMapOvr>
    <a:masterClrMapping/>
  </p:clrMapOvr>
  <p:transition spd="med">
    <p:plus/>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685800" y="436728"/>
            <a:ext cx="7772400" cy="491318"/>
          </a:xfrm>
        </p:spPr>
        <p:txBody>
          <a:bodyPr/>
          <a:lstStyle/>
          <a:p>
            <a:r>
              <a:rPr lang="en-US" sz="3200" b="1" dirty="0" smtClean="0">
                <a:solidFill>
                  <a:srgbClr val="0070C0"/>
                </a:solidFill>
              </a:rPr>
              <a:t>Report of the National Advisory Committee</a:t>
            </a:r>
            <a:endParaRPr lang="en-US" sz="3200" b="1" dirty="0">
              <a:solidFill>
                <a:srgbClr val="0070C0"/>
              </a:solidFill>
            </a:endParaRPr>
          </a:p>
        </p:txBody>
      </p:sp>
      <p:sp>
        <p:nvSpPr>
          <p:cNvPr id="7" name="Subtitle 6"/>
          <p:cNvSpPr>
            <a:spLocks noGrp="1"/>
          </p:cNvSpPr>
          <p:nvPr>
            <p:ph type="subTitle" idx="1"/>
          </p:nvPr>
        </p:nvSpPr>
        <p:spPr>
          <a:xfrm>
            <a:off x="685800" y="1487607"/>
            <a:ext cx="7772400" cy="5172602"/>
          </a:xfrm>
          <a:solidFill>
            <a:schemeClr val="accent1"/>
          </a:solidFill>
        </p:spPr>
        <p:txBody>
          <a:bodyPr/>
          <a:lstStyle/>
          <a:p>
            <a:pPr algn="just"/>
            <a:r>
              <a:rPr lang="en-GB" sz="2000" b="1" i="1" dirty="0" smtClean="0">
                <a:solidFill>
                  <a:schemeClr val="tx1"/>
                </a:solidFill>
              </a:rPr>
              <a:t>Law-making in India is a process that is becoming increasingly contentious and controversial. A typical Bill is drafted in secret by the concerned government department (sometimes in consultation with other departments, and often with just a few bureaucrats hastily preparing a draft), and this secret draft is approved by the Cabinet for presentation before a House of Parliament (or the State Legislature, as the case may be). Usually, it is only upon its introduction in the House that the contents of the Bill are made public. The attention paid to a typical Bill in Parliament can be deduced”</a:t>
            </a:r>
          </a:p>
          <a:p>
            <a:pPr algn="just"/>
            <a:endParaRPr lang="en-GB" sz="2000" b="1" i="1" dirty="0" smtClean="0">
              <a:solidFill>
                <a:schemeClr val="tx1"/>
              </a:solidFill>
            </a:endParaRPr>
          </a:p>
          <a:p>
            <a:pPr lvl="2" algn="just">
              <a:buFont typeface="Wingdings" pitchFamily="2" charset="2"/>
              <a:buChar char="q"/>
            </a:pPr>
            <a:r>
              <a:rPr lang="en-GB" sz="1800" b="1" i="1" dirty="0" smtClean="0">
                <a:solidFill>
                  <a:schemeClr val="tx1"/>
                </a:solidFill>
              </a:rPr>
              <a:t>In 2009, only 16% of the total Parliamentary time was spent on legislative business. </a:t>
            </a:r>
            <a:endParaRPr lang="en-US" sz="1800" b="1" i="1" dirty="0" smtClean="0">
              <a:solidFill>
                <a:schemeClr val="tx1"/>
              </a:solidFill>
            </a:endParaRPr>
          </a:p>
          <a:p>
            <a:pPr lvl="2" algn="just">
              <a:buFont typeface="Wingdings" pitchFamily="2" charset="2"/>
              <a:buChar char="q"/>
            </a:pPr>
            <a:r>
              <a:rPr lang="en-GB" sz="1800" b="1" i="1" dirty="0" smtClean="0">
                <a:solidFill>
                  <a:schemeClr val="tx1"/>
                </a:solidFill>
              </a:rPr>
              <a:t>27% of the total Bills passed in the year by Lok Sabha were discussed for less than 5 minutes.</a:t>
            </a:r>
            <a:endParaRPr lang="en-US" sz="1800" b="1" i="1" dirty="0" smtClean="0">
              <a:solidFill>
                <a:schemeClr val="tx1"/>
              </a:solidFill>
            </a:endParaRPr>
          </a:p>
          <a:p>
            <a:pPr lvl="2" algn="just">
              <a:buFont typeface="Wingdings" pitchFamily="2" charset="2"/>
              <a:buChar char="q"/>
            </a:pPr>
            <a:r>
              <a:rPr lang="en-GB" sz="1800" b="1" i="1" dirty="0" smtClean="0">
                <a:solidFill>
                  <a:schemeClr val="tx1"/>
                </a:solidFill>
              </a:rPr>
              <a:t>Only five Bills passed by the Lok Sabha in 2009 were debated for more than three hours.</a:t>
            </a:r>
            <a:endParaRPr lang="en-US" sz="1800" b="1" i="1" dirty="0" smtClean="0">
              <a:solidFill>
                <a:schemeClr val="tx1"/>
              </a:solidFill>
            </a:endParaRPr>
          </a:p>
          <a:p>
            <a:endParaRPr lang="en-US" dirty="0"/>
          </a:p>
        </p:txBody>
      </p:sp>
      <p:cxnSp>
        <p:nvCxnSpPr>
          <p:cNvPr id="4" name="Straight Connector 3"/>
          <p:cNvCxnSpPr/>
          <p:nvPr/>
        </p:nvCxnSpPr>
        <p:spPr>
          <a:xfrm rot="10800000">
            <a:off x="2263518" y="928047"/>
            <a:ext cx="4691919" cy="1"/>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spd="med">
    <p:plus/>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xmlns="" val="1220212714"/>
              </p:ext>
            </p:extLst>
          </p:nvPr>
        </p:nvGraphicFramePr>
        <p:xfrm>
          <a:off x="1588" y="1588"/>
          <a:ext cx="1587" cy="1587"/>
        </p:xfrm>
        <a:graphic>
          <a:graphicData uri="http://schemas.openxmlformats.org/presentationml/2006/ole">
            <p:oleObj spid="_x0000_s35842" name="think-cell Slide" r:id="rId4" imgW="360" imgH="360" progId="">
              <p:embed/>
            </p:oleObj>
          </a:graphicData>
        </a:graphic>
      </p:graphicFrame>
      <p:sp>
        <p:nvSpPr>
          <p:cNvPr id="8" name="TextBox 7"/>
          <p:cNvSpPr txBox="1"/>
          <p:nvPr/>
        </p:nvSpPr>
        <p:spPr>
          <a:xfrm>
            <a:off x="373197" y="777922"/>
            <a:ext cx="8543925" cy="984885"/>
          </a:xfrm>
          <a:prstGeom prst="rect">
            <a:avLst/>
          </a:prstGeom>
          <a:noFill/>
        </p:spPr>
        <p:txBody>
          <a:bodyPr wrap="square" lIns="0" tIns="0" rIns="0" bIns="0" rtlCol="0">
            <a:spAutoFit/>
          </a:bodyPr>
          <a:lstStyle/>
          <a:p>
            <a:pPr algn="ctr"/>
            <a:r>
              <a:rPr lang="en-US" sz="3200" dirty="0" smtClean="0"/>
              <a:t/>
            </a:r>
            <a:br>
              <a:rPr lang="en-US" sz="3200" dirty="0" smtClean="0"/>
            </a:br>
            <a:endParaRPr lang="en-US" sz="3200" b="1" dirty="0">
              <a:solidFill>
                <a:srgbClr val="0B538F"/>
              </a:solidFill>
              <a:latin typeface="Neo Sans Std" pitchFamily="34" charset="0"/>
            </a:endParaRPr>
          </a:p>
        </p:txBody>
      </p:sp>
      <p:cxnSp>
        <p:nvCxnSpPr>
          <p:cNvPr id="11" name="Straight Connector 10"/>
          <p:cNvCxnSpPr/>
          <p:nvPr/>
        </p:nvCxnSpPr>
        <p:spPr>
          <a:xfrm rot="5400000">
            <a:off x="4594178" y="-1902157"/>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39" name="Freeform 13"/>
          <p:cNvSpPr>
            <a:spLocks noEditPoints="1"/>
          </p:cNvSpPr>
          <p:nvPr/>
        </p:nvSpPr>
        <p:spPr bwMode="auto">
          <a:xfrm rot="10585247" flipV="1">
            <a:off x="4417312" y="3187267"/>
            <a:ext cx="437938" cy="527565"/>
          </a:xfrm>
          <a:custGeom>
            <a:avLst/>
            <a:gdLst>
              <a:gd name="T0" fmla="*/ 2022 w 2403"/>
              <a:gd name="T1" fmla="*/ 144 h 2897"/>
              <a:gd name="T2" fmla="*/ 1852 w 2403"/>
              <a:gd name="T3" fmla="*/ 57 h 2897"/>
              <a:gd name="T4" fmla="*/ 1632 w 2403"/>
              <a:gd name="T5" fmla="*/ 1 h 2897"/>
              <a:gd name="T6" fmla="*/ 1548 w 2403"/>
              <a:gd name="T7" fmla="*/ 2 h 2897"/>
              <a:gd name="T8" fmla="*/ 1491 w 2403"/>
              <a:gd name="T9" fmla="*/ 23 h 2897"/>
              <a:gd name="T10" fmla="*/ 785 w 2403"/>
              <a:gd name="T11" fmla="*/ 948 h 2897"/>
              <a:gd name="T12" fmla="*/ 48 w 2403"/>
              <a:gd name="T13" fmla="*/ 1933 h 2897"/>
              <a:gd name="T14" fmla="*/ 30 w 2403"/>
              <a:gd name="T15" fmla="*/ 1995 h 2897"/>
              <a:gd name="T16" fmla="*/ 3 w 2403"/>
              <a:gd name="T17" fmla="*/ 2340 h 2897"/>
              <a:gd name="T18" fmla="*/ 7 w 2403"/>
              <a:gd name="T19" fmla="*/ 2732 h 2897"/>
              <a:gd name="T20" fmla="*/ 27 w 2403"/>
              <a:gd name="T21" fmla="*/ 2871 h 2897"/>
              <a:gd name="T22" fmla="*/ 42 w 2403"/>
              <a:gd name="T23" fmla="*/ 2891 h 2897"/>
              <a:gd name="T24" fmla="*/ 118 w 2403"/>
              <a:gd name="T25" fmla="*/ 2896 h 2897"/>
              <a:gd name="T26" fmla="*/ 340 w 2403"/>
              <a:gd name="T27" fmla="*/ 2850 h 2897"/>
              <a:gd name="T28" fmla="*/ 724 w 2403"/>
              <a:gd name="T29" fmla="*/ 2722 h 2897"/>
              <a:gd name="T30" fmla="*/ 926 w 2403"/>
              <a:gd name="T31" fmla="*/ 2628 h 2897"/>
              <a:gd name="T32" fmla="*/ 987 w 2403"/>
              <a:gd name="T33" fmla="*/ 2578 h 2897"/>
              <a:gd name="T34" fmla="*/ 1454 w 2403"/>
              <a:gd name="T35" fmla="*/ 1961 h 2897"/>
              <a:gd name="T36" fmla="*/ 2390 w 2403"/>
              <a:gd name="T37" fmla="*/ 675 h 2897"/>
              <a:gd name="T38" fmla="*/ 2403 w 2403"/>
              <a:gd name="T39" fmla="*/ 631 h 2897"/>
              <a:gd name="T40" fmla="*/ 2392 w 2403"/>
              <a:gd name="T41" fmla="*/ 562 h 2897"/>
              <a:gd name="T42" fmla="*/ 2334 w 2403"/>
              <a:gd name="T43" fmla="*/ 447 h 2897"/>
              <a:gd name="T44" fmla="*/ 2193 w 2403"/>
              <a:gd name="T45" fmla="*/ 279 h 2897"/>
              <a:gd name="T46" fmla="*/ 1398 w 2403"/>
              <a:gd name="T47" fmla="*/ 308 h 2897"/>
              <a:gd name="T48" fmla="*/ 1421 w 2403"/>
              <a:gd name="T49" fmla="*/ 290 h 2897"/>
              <a:gd name="T50" fmla="*/ 1468 w 2403"/>
              <a:gd name="T51" fmla="*/ 287 h 2897"/>
              <a:gd name="T52" fmla="*/ 1528 w 2403"/>
              <a:gd name="T53" fmla="*/ 313 h 2897"/>
              <a:gd name="T54" fmla="*/ 1580 w 2403"/>
              <a:gd name="T55" fmla="*/ 368 h 2897"/>
              <a:gd name="T56" fmla="*/ 1587 w 2403"/>
              <a:gd name="T57" fmla="*/ 409 h 2897"/>
              <a:gd name="T58" fmla="*/ 337 w 2403"/>
              <a:gd name="T59" fmla="*/ 1902 h 2897"/>
              <a:gd name="T60" fmla="*/ 473 w 2403"/>
              <a:gd name="T61" fmla="*/ 2660 h 2897"/>
              <a:gd name="T62" fmla="*/ 364 w 2403"/>
              <a:gd name="T63" fmla="*/ 2709 h 2897"/>
              <a:gd name="T64" fmla="*/ 169 w 2403"/>
              <a:gd name="T65" fmla="*/ 2764 h 2897"/>
              <a:gd name="T66" fmla="*/ 134 w 2403"/>
              <a:gd name="T67" fmla="*/ 2763 h 2897"/>
              <a:gd name="T68" fmla="*/ 125 w 2403"/>
              <a:gd name="T69" fmla="*/ 2643 h 2897"/>
              <a:gd name="T70" fmla="*/ 137 w 2403"/>
              <a:gd name="T71" fmla="*/ 2423 h 2897"/>
              <a:gd name="T72" fmla="*/ 151 w 2403"/>
              <a:gd name="T73" fmla="*/ 2404 h 2897"/>
              <a:gd name="T74" fmla="*/ 206 w 2403"/>
              <a:gd name="T75" fmla="*/ 2409 h 2897"/>
              <a:gd name="T76" fmla="*/ 355 w 2403"/>
              <a:gd name="T77" fmla="*/ 2486 h 2897"/>
              <a:gd name="T78" fmla="*/ 454 w 2403"/>
              <a:gd name="T79" fmla="*/ 2577 h 2897"/>
              <a:gd name="T80" fmla="*/ 480 w 2403"/>
              <a:gd name="T81" fmla="*/ 2630 h 2897"/>
              <a:gd name="T82" fmla="*/ 490 w 2403"/>
              <a:gd name="T83" fmla="*/ 2117 h 2897"/>
              <a:gd name="T84" fmla="*/ 1708 w 2403"/>
              <a:gd name="T85" fmla="*/ 446 h 2897"/>
              <a:gd name="T86" fmla="*/ 1748 w 2403"/>
              <a:gd name="T87" fmla="*/ 445 h 2897"/>
              <a:gd name="T88" fmla="*/ 1821 w 2403"/>
              <a:gd name="T89" fmla="*/ 478 h 2897"/>
              <a:gd name="T90" fmla="*/ 1867 w 2403"/>
              <a:gd name="T91" fmla="*/ 520 h 2897"/>
              <a:gd name="T92" fmla="*/ 1888 w 2403"/>
              <a:gd name="T93" fmla="*/ 565 h 2897"/>
              <a:gd name="T94" fmla="*/ 624 w 2403"/>
              <a:gd name="T95" fmla="*/ 2291 h 2897"/>
              <a:gd name="T96" fmla="*/ 902 w 2403"/>
              <a:gd name="T97" fmla="*/ 2386 h 2897"/>
              <a:gd name="T98" fmla="*/ 1979 w 2403"/>
              <a:gd name="T99" fmla="*/ 672 h 2897"/>
              <a:gd name="T100" fmla="*/ 2014 w 2403"/>
              <a:gd name="T101" fmla="*/ 670 h 2897"/>
              <a:gd name="T102" fmla="*/ 2067 w 2403"/>
              <a:gd name="T103" fmla="*/ 704 h 2897"/>
              <a:gd name="T104" fmla="*/ 2108 w 2403"/>
              <a:gd name="T105" fmla="*/ 754 h 2897"/>
              <a:gd name="T106" fmla="*/ 2123 w 2403"/>
              <a:gd name="T107" fmla="*/ 801 h 2897"/>
              <a:gd name="T108" fmla="*/ 2117 w 2403"/>
              <a:gd name="T109" fmla="*/ 835 h 2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03" h="2897">
                <a:moveTo>
                  <a:pt x="2095" y="193"/>
                </a:moveTo>
                <a:lnTo>
                  <a:pt x="2095" y="193"/>
                </a:lnTo>
                <a:lnTo>
                  <a:pt x="2071" y="176"/>
                </a:lnTo>
                <a:lnTo>
                  <a:pt x="2046" y="159"/>
                </a:lnTo>
                <a:lnTo>
                  <a:pt x="2022" y="144"/>
                </a:lnTo>
                <a:lnTo>
                  <a:pt x="1998" y="129"/>
                </a:lnTo>
                <a:lnTo>
                  <a:pt x="1974" y="115"/>
                </a:lnTo>
                <a:lnTo>
                  <a:pt x="1948" y="101"/>
                </a:lnTo>
                <a:lnTo>
                  <a:pt x="1900" y="78"/>
                </a:lnTo>
                <a:lnTo>
                  <a:pt x="1852" y="57"/>
                </a:lnTo>
                <a:lnTo>
                  <a:pt x="1803" y="40"/>
                </a:lnTo>
                <a:lnTo>
                  <a:pt x="1757" y="25"/>
                </a:lnTo>
                <a:lnTo>
                  <a:pt x="1714" y="14"/>
                </a:lnTo>
                <a:lnTo>
                  <a:pt x="1671" y="6"/>
                </a:lnTo>
                <a:lnTo>
                  <a:pt x="1632" y="1"/>
                </a:lnTo>
                <a:lnTo>
                  <a:pt x="1613" y="0"/>
                </a:lnTo>
                <a:lnTo>
                  <a:pt x="1595" y="0"/>
                </a:lnTo>
                <a:lnTo>
                  <a:pt x="1580" y="0"/>
                </a:lnTo>
                <a:lnTo>
                  <a:pt x="1564" y="1"/>
                </a:lnTo>
                <a:lnTo>
                  <a:pt x="1548" y="2"/>
                </a:lnTo>
                <a:lnTo>
                  <a:pt x="1535" y="5"/>
                </a:lnTo>
                <a:lnTo>
                  <a:pt x="1521" y="8"/>
                </a:lnTo>
                <a:lnTo>
                  <a:pt x="1511" y="12"/>
                </a:lnTo>
                <a:lnTo>
                  <a:pt x="1500" y="17"/>
                </a:lnTo>
                <a:lnTo>
                  <a:pt x="1491" y="23"/>
                </a:lnTo>
                <a:lnTo>
                  <a:pt x="1484" y="29"/>
                </a:lnTo>
                <a:lnTo>
                  <a:pt x="1477" y="36"/>
                </a:lnTo>
                <a:lnTo>
                  <a:pt x="1477" y="36"/>
                </a:lnTo>
                <a:lnTo>
                  <a:pt x="1253" y="331"/>
                </a:lnTo>
                <a:lnTo>
                  <a:pt x="785" y="948"/>
                </a:lnTo>
                <a:lnTo>
                  <a:pt x="532" y="1283"/>
                </a:lnTo>
                <a:lnTo>
                  <a:pt x="304" y="1584"/>
                </a:lnTo>
                <a:lnTo>
                  <a:pt x="134" y="1813"/>
                </a:lnTo>
                <a:lnTo>
                  <a:pt x="78" y="1890"/>
                </a:lnTo>
                <a:lnTo>
                  <a:pt x="48" y="1933"/>
                </a:lnTo>
                <a:lnTo>
                  <a:pt x="48" y="1933"/>
                </a:lnTo>
                <a:lnTo>
                  <a:pt x="43" y="1943"/>
                </a:lnTo>
                <a:lnTo>
                  <a:pt x="38" y="1956"/>
                </a:lnTo>
                <a:lnTo>
                  <a:pt x="33" y="1974"/>
                </a:lnTo>
                <a:lnTo>
                  <a:pt x="30" y="1995"/>
                </a:lnTo>
                <a:lnTo>
                  <a:pt x="23" y="2047"/>
                </a:lnTo>
                <a:lnTo>
                  <a:pt x="15" y="2110"/>
                </a:lnTo>
                <a:lnTo>
                  <a:pt x="10" y="2181"/>
                </a:lnTo>
                <a:lnTo>
                  <a:pt x="6" y="2259"/>
                </a:lnTo>
                <a:lnTo>
                  <a:pt x="3" y="2340"/>
                </a:lnTo>
                <a:lnTo>
                  <a:pt x="1" y="2423"/>
                </a:lnTo>
                <a:lnTo>
                  <a:pt x="0" y="2507"/>
                </a:lnTo>
                <a:lnTo>
                  <a:pt x="1" y="2588"/>
                </a:lnTo>
                <a:lnTo>
                  <a:pt x="3" y="2663"/>
                </a:lnTo>
                <a:lnTo>
                  <a:pt x="7" y="2732"/>
                </a:lnTo>
                <a:lnTo>
                  <a:pt x="12" y="2790"/>
                </a:lnTo>
                <a:lnTo>
                  <a:pt x="15" y="2815"/>
                </a:lnTo>
                <a:lnTo>
                  <a:pt x="19" y="2837"/>
                </a:lnTo>
                <a:lnTo>
                  <a:pt x="23" y="2856"/>
                </a:lnTo>
                <a:lnTo>
                  <a:pt x="27" y="2871"/>
                </a:lnTo>
                <a:lnTo>
                  <a:pt x="32" y="2882"/>
                </a:lnTo>
                <a:lnTo>
                  <a:pt x="35" y="2885"/>
                </a:lnTo>
                <a:lnTo>
                  <a:pt x="37" y="2888"/>
                </a:lnTo>
                <a:lnTo>
                  <a:pt x="37" y="2888"/>
                </a:lnTo>
                <a:lnTo>
                  <a:pt x="42" y="2891"/>
                </a:lnTo>
                <a:lnTo>
                  <a:pt x="47" y="2893"/>
                </a:lnTo>
                <a:lnTo>
                  <a:pt x="60" y="2896"/>
                </a:lnTo>
                <a:lnTo>
                  <a:pt x="76" y="2897"/>
                </a:lnTo>
                <a:lnTo>
                  <a:pt x="95" y="2897"/>
                </a:lnTo>
                <a:lnTo>
                  <a:pt x="118" y="2896"/>
                </a:lnTo>
                <a:lnTo>
                  <a:pt x="144" y="2893"/>
                </a:lnTo>
                <a:lnTo>
                  <a:pt x="171" y="2888"/>
                </a:lnTo>
                <a:lnTo>
                  <a:pt x="202" y="2883"/>
                </a:lnTo>
                <a:lnTo>
                  <a:pt x="267" y="2868"/>
                </a:lnTo>
                <a:lnTo>
                  <a:pt x="340" y="2850"/>
                </a:lnTo>
                <a:lnTo>
                  <a:pt x="416" y="2829"/>
                </a:lnTo>
                <a:lnTo>
                  <a:pt x="494" y="2804"/>
                </a:lnTo>
                <a:lnTo>
                  <a:pt x="573" y="2778"/>
                </a:lnTo>
                <a:lnTo>
                  <a:pt x="650" y="2751"/>
                </a:lnTo>
                <a:lnTo>
                  <a:pt x="724" y="2722"/>
                </a:lnTo>
                <a:lnTo>
                  <a:pt x="793" y="2694"/>
                </a:lnTo>
                <a:lnTo>
                  <a:pt x="854" y="2666"/>
                </a:lnTo>
                <a:lnTo>
                  <a:pt x="880" y="2653"/>
                </a:lnTo>
                <a:lnTo>
                  <a:pt x="904" y="2641"/>
                </a:lnTo>
                <a:lnTo>
                  <a:pt x="926" y="2628"/>
                </a:lnTo>
                <a:lnTo>
                  <a:pt x="946" y="2617"/>
                </a:lnTo>
                <a:lnTo>
                  <a:pt x="960" y="2605"/>
                </a:lnTo>
                <a:lnTo>
                  <a:pt x="972" y="2595"/>
                </a:lnTo>
                <a:lnTo>
                  <a:pt x="972" y="2595"/>
                </a:lnTo>
                <a:lnTo>
                  <a:pt x="987" y="2578"/>
                </a:lnTo>
                <a:lnTo>
                  <a:pt x="1007" y="2554"/>
                </a:lnTo>
                <a:lnTo>
                  <a:pt x="1064" y="2480"/>
                </a:lnTo>
                <a:lnTo>
                  <a:pt x="1142" y="2380"/>
                </a:lnTo>
                <a:lnTo>
                  <a:pt x="1234" y="2257"/>
                </a:lnTo>
                <a:lnTo>
                  <a:pt x="1454" y="1961"/>
                </a:lnTo>
                <a:lnTo>
                  <a:pt x="1697" y="1630"/>
                </a:lnTo>
                <a:lnTo>
                  <a:pt x="1939" y="1298"/>
                </a:lnTo>
                <a:lnTo>
                  <a:pt x="2153" y="1004"/>
                </a:lnTo>
                <a:lnTo>
                  <a:pt x="2311" y="784"/>
                </a:lnTo>
                <a:lnTo>
                  <a:pt x="2390" y="675"/>
                </a:lnTo>
                <a:lnTo>
                  <a:pt x="2390" y="675"/>
                </a:lnTo>
                <a:lnTo>
                  <a:pt x="2395" y="665"/>
                </a:lnTo>
                <a:lnTo>
                  <a:pt x="2400" y="654"/>
                </a:lnTo>
                <a:lnTo>
                  <a:pt x="2402" y="643"/>
                </a:lnTo>
                <a:lnTo>
                  <a:pt x="2403" y="631"/>
                </a:lnTo>
                <a:lnTo>
                  <a:pt x="2403" y="618"/>
                </a:lnTo>
                <a:lnTo>
                  <a:pt x="2403" y="605"/>
                </a:lnTo>
                <a:lnTo>
                  <a:pt x="2401" y="591"/>
                </a:lnTo>
                <a:lnTo>
                  <a:pt x="2397" y="577"/>
                </a:lnTo>
                <a:lnTo>
                  <a:pt x="2392" y="562"/>
                </a:lnTo>
                <a:lnTo>
                  <a:pt x="2386" y="547"/>
                </a:lnTo>
                <a:lnTo>
                  <a:pt x="2380" y="531"/>
                </a:lnTo>
                <a:lnTo>
                  <a:pt x="2373" y="514"/>
                </a:lnTo>
                <a:lnTo>
                  <a:pt x="2355" y="481"/>
                </a:lnTo>
                <a:lnTo>
                  <a:pt x="2334" y="447"/>
                </a:lnTo>
                <a:lnTo>
                  <a:pt x="2310" y="412"/>
                </a:lnTo>
                <a:lnTo>
                  <a:pt x="2284" y="378"/>
                </a:lnTo>
                <a:lnTo>
                  <a:pt x="2255" y="345"/>
                </a:lnTo>
                <a:lnTo>
                  <a:pt x="2226" y="311"/>
                </a:lnTo>
                <a:lnTo>
                  <a:pt x="2193" y="279"/>
                </a:lnTo>
                <a:lnTo>
                  <a:pt x="2161" y="248"/>
                </a:lnTo>
                <a:lnTo>
                  <a:pt x="2128" y="220"/>
                </a:lnTo>
                <a:lnTo>
                  <a:pt x="2095" y="193"/>
                </a:lnTo>
                <a:lnTo>
                  <a:pt x="2095" y="193"/>
                </a:lnTo>
                <a:close/>
                <a:moveTo>
                  <a:pt x="1398" y="308"/>
                </a:moveTo>
                <a:lnTo>
                  <a:pt x="1398" y="308"/>
                </a:lnTo>
                <a:lnTo>
                  <a:pt x="1400" y="306"/>
                </a:lnTo>
                <a:lnTo>
                  <a:pt x="1405" y="300"/>
                </a:lnTo>
                <a:lnTo>
                  <a:pt x="1415" y="294"/>
                </a:lnTo>
                <a:lnTo>
                  <a:pt x="1421" y="290"/>
                </a:lnTo>
                <a:lnTo>
                  <a:pt x="1428" y="288"/>
                </a:lnTo>
                <a:lnTo>
                  <a:pt x="1437" y="285"/>
                </a:lnTo>
                <a:lnTo>
                  <a:pt x="1445" y="284"/>
                </a:lnTo>
                <a:lnTo>
                  <a:pt x="1456" y="284"/>
                </a:lnTo>
                <a:lnTo>
                  <a:pt x="1468" y="287"/>
                </a:lnTo>
                <a:lnTo>
                  <a:pt x="1482" y="290"/>
                </a:lnTo>
                <a:lnTo>
                  <a:pt x="1495" y="295"/>
                </a:lnTo>
                <a:lnTo>
                  <a:pt x="1511" y="303"/>
                </a:lnTo>
                <a:lnTo>
                  <a:pt x="1528" y="313"/>
                </a:lnTo>
                <a:lnTo>
                  <a:pt x="1528" y="313"/>
                </a:lnTo>
                <a:lnTo>
                  <a:pt x="1542" y="325"/>
                </a:lnTo>
                <a:lnTo>
                  <a:pt x="1555" y="336"/>
                </a:lnTo>
                <a:lnTo>
                  <a:pt x="1565" y="347"/>
                </a:lnTo>
                <a:lnTo>
                  <a:pt x="1573" y="357"/>
                </a:lnTo>
                <a:lnTo>
                  <a:pt x="1580" y="368"/>
                </a:lnTo>
                <a:lnTo>
                  <a:pt x="1583" y="376"/>
                </a:lnTo>
                <a:lnTo>
                  <a:pt x="1586" y="386"/>
                </a:lnTo>
                <a:lnTo>
                  <a:pt x="1587" y="394"/>
                </a:lnTo>
                <a:lnTo>
                  <a:pt x="1588" y="401"/>
                </a:lnTo>
                <a:lnTo>
                  <a:pt x="1587" y="409"/>
                </a:lnTo>
                <a:lnTo>
                  <a:pt x="1584" y="420"/>
                </a:lnTo>
                <a:lnTo>
                  <a:pt x="1582" y="427"/>
                </a:lnTo>
                <a:lnTo>
                  <a:pt x="1581" y="429"/>
                </a:lnTo>
                <a:lnTo>
                  <a:pt x="337" y="2076"/>
                </a:lnTo>
                <a:lnTo>
                  <a:pt x="337" y="1902"/>
                </a:lnTo>
                <a:lnTo>
                  <a:pt x="239" y="1865"/>
                </a:lnTo>
                <a:lnTo>
                  <a:pt x="1398" y="308"/>
                </a:lnTo>
                <a:close/>
                <a:moveTo>
                  <a:pt x="475" y="2657"/>
                </a:moveTo>
                <a:lnTo>
                  <a:pt x="475" y="2657"/>
                </a:lnTo>
                <a:lnTo>
                  <a:pt x="473" y="2660"/>
                </a:lnTo>
                <a:lnTo>
                  <a:pt x="469" y="2664"/>
                </a:lnTo>
                <a:lnTo>
                  <a:pt x="456" y="2671"/>
                </a:lnTo>
                <a:lnTo>
                  <a:pt x="439" y="2680"/>
                </a:lnTo>
                <a:lnTo>
                  <a:pt x="417" y="2689"/>
                </a:lnTo>
                <a:lnTo>
                  <a:pt x="364" y="2709"/>
                </a:lnTo>
                <a:lnTo>
                  <a:pt x="304" y="2729"/>
                </a:lnTo>
                <a:lnTo>
                  <a:pt x="244" y="2746"/>
                </a:lnTo>
                <a:lnTo>
                  <a:pt x="216" y="2754"/>
                </a:lnTo>
                <a:lnTo>
                  <a:pt x="191" y="2760"/>
                </a:lnTo>
                <a:lnTo>
                  <a:pt x="169" y="2764"/>
                </a:lnTo>
                <a:lnTo>
                  <a:pt x="152" y="2767"/>
                </a:lnTo>
                <a:lnTo>
                  <a:pt x="140" y="2767"/>
                </a:lnTo>
                <a:lnTo>
                  <a:pt x="135" y="2766"/>
                </a:lnTo>
                <a:lnTo>
                  <a:pt x="134" y="2763"/>
                </a:lnTo>
                <a:lnTo>
                  <a:pt x="134" y="2763"/>
                </a:lnTo>
                <a:lnTo>
                  <a:pt x="130" y="2756"/>
                </a:lnTo>
                <a:lnTo>
                  <a:pt x="129" y="2743"/>
                </a:lnTo>
                <a:lnTo>
                  <a:pt x="127" y="2723"/>
                </a:lnTo>
                <a:lnTo>
                  <a:pt x="127" y="2700"/>
                </a:lnTo>
                <a:lnTo>
                  <a:pt x="125" y="2643"/>
                </a:lnTo>
                <a:lnTo>
                  <a:pt x="127" y="2581"/>
                </a:lnTo>
                <a:lnTo>
                  <a:pt x="129" y="2518"/>
                </a:lnTo>
                <a:lnTo>
                  <a:pt x="133" y="2462"/>
                </a:lnTo>
                <a:lnTo>
                  <a:pt x="135" y="2440"/>
                </a:lnTo>
                <a:lnTo>
                  <a:pt x="137" y="2423"/>
                </a:lnTo>
                <a:lnTo>
                  <a:pt x="140" y="2411"/>
                </a:lnTo>
                <a:lnTo>
                  <a:pt x="141" y="2407"/>
                </a:lnTo>
                <a:lnTo>
                  <a:pt x="142" y="2406"/>
                </a:lnTo>
                <a:lnTo>
                  <a:pt x="142" y="2406"/>
                </a:lnTo>
                <a:lnTo>
                  <a:pt x="151" y="2404"/>
                </a:lnTo>
                <a:lnTo>
                  <a:pt x="159" y="2403"/>
                </a:lnTo>
                <a:lnTo>
                  <a:pt x="170" y="2403"/>
                </a:lnTo>
                <a:lnTo>
                  <a:pt x="181" y="2404"/>
                </a:lnTo>
                <a:lnTo>
                  <a:pt x="193" y="2406"/>
                </a:lnTo>
                <a:lnTo>
                  <a:pt x="206" y="2409"/>
                </a:lnTo>
                <a:lnTo>
                  <a:pt x="234" y="2418"/>
                </a:lnTo>
                <a:lnTo>
                  <a:pt x="263" y="2432"/>
                </a:lnTo>
                <a:lnTo>
                  <a:pt x="295" y="2447"/>
                </a:lnTo>
                <a:lnTo>
                  <a:pt x="325" y="2466"/>
                </a:lnTo>
                <a:lnTo>
                  <a:pt x="355" y="2486"/>
                </a:lnTo>
                <a:lnTo>
                  <a:pt x="384" y="2508"/>
                </a:lnTo>
                <a:lnTo>
                  <a:pt x="411" y="2531"/>
                </a:lnTo>
                <a:lnTo>
                  <a:pt x="435" y="2554"/>
                </a:lnTo>
                <a:lnTo>
                  <a:pt x="445" y="2565"/>
                </a:lnTo>
                <a:lnTo>
                  <a:pt x="454" y="2577"/>
                </a:lnTo>
                <a:lnTo>
                  <a:pt x="462" y="2588"/>
                </a:lnTo>
                <a:lnTo>
                  <a:pt x="469" y="2599"/>
                </a:lnTo>
                <a:lnTo>
                  <a:pt x="474" y="2610"/>
                </a:lnTo>
                <a:lnTo>
                  <a:pt x="477" y="2620"/>
                </a:lnTo>
                <a:lnTo>
                  <a:pt x="480" y="2630"/>
                </a:lnTo>
                <a:lnTo>
                  <a:pt x="480" y="2640"/>
                </a:lnTo>
                <a:lnTo>
                  <a:pt x="479" y="2649"/>
                </a:lnTo>
                <a:lnTo>
                  <a:pt x="475" y="2657"/>
                </a:lnTo>
                <a:lnTo>
                  <a:pt x="475" y="2657"/>
                </a:lnTo>
                <a:close/>
                <a:moveTo>
                  <a:pt x="490" y="2117"/>
                </a:moveTo>
                <a:lnTo>
                  <a:pt x="1692" y="455"/>
                </a:lnTo>
                <a:lnTo>
                  <a:pt x="1692" y="455"/>
                </a:lnTo>
                <a:lnTo>
                  <a:pt x="1694" y="453"/>
                </a:lnTo>
                <a:lnTo>
                  <a:pt x="1699" y="450"/>
                </a:lnTo>
                <a:lnTo>
                  <a:pt x="1708" y="446"/>
                </a:lnTo>
                <a:lnTo>
                  <a:pt x="1713" y="444"/>
                </a:lnTo>
                <a:lnTo>
                  <a:pt x="1720" y="443"/>
                </a:lnTo>
                <a:lnTo>
                  <a:pt x="1728" y="443"/>
                </a:lnTo>
                <a:lnTo>
                  <a:pt x="1737" y="444"/>
                </a:lnTo>
                <a:lnTo>
                  <a:pt x="1748" y="445"/>
                </a:lnTo>
                <a:lnTo>
                  <a:pt x="1760" y="449"/>
                </a:lnTo>
                <a:lnTo>
                  <a:pt x="1773" y="452"/>
                </a:lnTo>
                <a:lnTo>
                  <a:pt x="1788" y="460"/>
                </a:lnTo>
                <a:lnTo>
                  <a:pt x="1803" y="468"/>
                </a:lnTo>
                <a:lnTo>
                  <a:pt x="1821" y="478"/>
                </a:lnTo>
                <a:lnTo>
                  <a:pt x="1821" y="478"/>
                </a:lnTo>
                <a:lnTo>
                  <a:pt x="1836" y="489"/>
                </a:lnTo>
                <a:lnTo>
                  <a:pt x="1849" y="499"/>
                </a:lnTo>
                <a:lnTo>
                  <a:pt x="1859" y="509"/>
                </a:lnTo>
                <a:lnTo>
                  <a:pt x="1867" y="520"/>
                </a:lnTo>
                <a:lnTo>
                  <a:pt x="1875" y="530"/>
                </a:lnTo>
                <a:lnTo>
                  <a:pt x="1880" y="539"/>
                </a:lnTo>
                <a:lnTo>
                  <a:pt x="1883" y="549"/>
                </a:lnTo>
                <a:lnTo>
                  <a:pt x="1887" y="558"/>
                </a:lnTo>
                <a:lnTo>
                  <a:pt x="1888" y="565"/>
                </a:lnTo>
                <a:lnTo>
                  <a:pt x="1888" y="572"/>
                </a:lnTo>
                <a:lnTo>
                  <a:pt x="1888" y="584"/>
                </a:lnTo>
                <a:lnTo>
                  <a:pt x="1887" y="591"/>
                </a:lnTo>
                <a:lnTo>
                  <a:pt x="1886" y="594"/>
                </a:lnTo>
                <a:lnTo>
                  <a:pt x="624" y="2291"/>
                </a:lnTo>
                <a:lnTo>
                  <a:pt x="624" y="2094"/>
                </a:lnTo>
                <a:lnTo>
                  <a:pt x="490" y="2117"/>
                </a:lnTo>
                <a:close/>
                <a:moveTo>
                  <a:pt x="2117" y="835"/>
                </a:moveTo>
                <a:lnTo>
                  <a:pt x="937" y="2462"/>
                </a:lnTo>
                <a:lnTo>
                  <a:pt x="902" y="2386"/>
                </a:lnTo>
                <a:lnTo>
                  <a:pt x="750" y="2359"/>
                </a:lnTo>
                <a:lnTo>
                  <a:pt x="1973" y="677"/>
                </a:lnTo>
                <a:lnTo>
                  <a:pt x="1973" y="677"/>
                </a:lnTo>
                <a:lnTo>
                  <a:pt x="1975" y="676"/>
                </a:lnTo>
                <a:lnTo>
                  <a:pt x="1979" y="672"/>
                </a:lnTo>
                <a:lnTo>
                  <a:pt x="1987" y="669"/>
                </a:lnTo>
                <a:lnTo>
                  <a:pt x="1992" y="669"/>
                </a:lnTo>
                <a:lnTo>
                  <a:pt x="1998" y="668"/>
                </a:lnTo>
                <a:lnTo>
                  <a:pt x="2005" y="669"/>
                </a:lnTo>
                <a:lnTo>
                  <a:pt x="2014" y="670"/>
                </a:lnTo>
                <a:lnTo>
                  <a:pt x="2022" y="674"/>
                </a:lnTo>
                <a:lnTo>
                  <a:pt x="2032" y="679"/>
                </a:lnTo>
                <a:lnTo>
                  <a:pt x="2043" y="685"/>
                </a:lnTo>
                <a:lnTo>
                  <a:pt x="2055" y="693"/>
                </a:lnTo>
                <a:lnTo>
                  <a:pt x="2067" y="704"/>
                </a:lnTo>
                <a:lnTo>
                  <a:pt x="2080" y="718"/>
                </a:lnTo>
                <a:lnTo>
                  <a:pt x="2080" y="718"/>
                </a:lnTo>
                <a:lnTo>
                  <a:pt x="2091" y="731"/>
                </a:lnTo>
                <a:lnTo>
                  <a:pt x="2101" y="741"/>
                </a:lnTo>
                <a:lnTo>
                  <a:pt x="2108" y="754"/>
                </a:lnTo>
                <a:lnTo>
                  <a:pt x="2113" y="764"/>
                </a:lnTo>
                <a:lnTo>
                  <a:pt x="2118" y="774"/>
                </a:lnTo>
                <a:lnTo>
                  <a:pt x="2120" y="784"/>
                </a:lnTo>
                <a:lnTo>
                  <a:pt x="2121" y="793"/>
                </a:lnTo>
                <a:lnTo>
                  <a:pt x="2123" y="801"/>
                </a:lnTo>
                <a:lnTo>
                  <a:pt x="2121" y="815"/>
                </a:lnTo>
                <a:lnTo>
                  <a:pt x="2120" y="826"/>
                </a:lnTo>
                <a:lnTo>
                  <a:pt x="2118" y="832"/>
                </a:lnTo>
                <a:lnTo>
                  <a:pt x="2117" y="835"/>
                </a:lnTo>
                <a:lnTo>
                  <a:pt x="2117" y="835"/>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p>
        </p:txBody>
      </p:sp>
      <p:sp>
        <p:nvSpPr>
          <p:cNvPr id="3" name="Up-Down Arrow 2"/>
          <p:cNvSpPr/>
          <p:nvPr/>
        </p:nvSpPr>
        <p:spPr>
          <a:xfrm rot="16200000">
            <a:off x="2551245" y="3029819"/>
            <a:ext cx="137430" cy="842465"/>
          </a:xfrm>
          <a:prstGeom prst="upDownArrow">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9" name="Oval 8"/>
          <p:cNvSpPr/>
          <p:nvPr/>
        </p:nvSpPr>
        <p:spPr>
          <a:xfrm>
            <a:off x="2525982" y="3347676"/>
            <a:ext cx="187954" cy="206749"/>
          </a:xfrm>
          <a:prstGeom prst="ellipse">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49" name="TextBox 48"/>
          <p:cNvSpPr txBox="1"/>
          <p:nvPr/>
        </p:nvSpPr>
        <p:spPr>
          <a:xfrm>
            <a:off x="682388" y="1937981"/>
            <a:ext cx="7710985" cy="3754874"/>
          </a:xfrm>
          <a:prstGeom prst="rect">
            <a:avLst/>
          </a:prstGeom>
          <a:noFill/>
        </p:spPr>
        <p:txBody>
          <a:bodyPr wrap="square" lIns="0" tIns="0" rIns="0" bIns="0" rtlCol="0">
            <a:spAutoFit/>
          </a:bodyPr>
          <a:lstStyle/>
          <a:p>
            <a:pPr>
              <a:buFont typeface="Wingdings" pitchFamily="2" charset="2"/>
              <a:buChar char="q"/>
            </a:pPr>
            <a:r>
              <a:rPr lang="en-GB" sz="2800" b="1" i="1" dirty="0" smtClean="0"/>
              <a:t>The only opportunity for people to express their opinion before passage of the law is if it is sent to a parliamentary committee</a:t>
            </a:r>
          </a:p>
          <a:p>
            <a:pPr>
              <a:buFont typeface="Wingdings" pitchFamily="2" charset="2"/>
              <a:buChar char="q"/>
            </a:pPr>
            <a:r>
              <a:rPr lang="en-GB" sz="2800" b="1" i="1" dirty="0" smtClean="0"/>
              <a:t>Functioning of these committees is opaque</a:t>
            </a:r>
          </a:p>
          <a:p>
            <a:pPr>
              <a:buFont typeface="Wingdings" pitchFamily="2" charset="2"/>
              <a:buChar char="q"/>
            </a:pPr>
            <a:r>
              <a:rPr lang="en-GB" sz="2800" b="1" i="1" dirty="0" smtClean="0"/>
              <a:t>Making the contents of draft Bills public rests on the magnanimity of the Ministry concerned</a:t>
            </a:r>
          </a:p>
          <a:p>
            <a:pPr>
              <a:buFont typeface="Wingdings" pitchFamily="2" charset="2"/>
              <a:buChar char="q"/>
            </a:pPr>
            <a:r>
              <a:rPr lang="en-GB" sz="2800" b="1" i="1" dirty="0" smtClean="0">
                <a:latin typeface="+mn-lt"/>
              </a:rPr>
              <a:t>Even the main opposition parties are rarely consulted during the drafting process</a:t>
            </a:r>
            <a:endParaRPr lang="en-US" sz="2000" b="1" dirty="0" smtClean="0">
              <a:solidFill>
                <a:schemeClr val="accent1">
                  <a:lumMod val="75000"/>
                </a:schemeClr>
              </a:solidFill>
              <a:latin typeface="Neo Sans Std Medium" pitchFamily="34" charset="0"/>
            </a:endParaRPr>
          </a:p>
          <a:p>
            <a:pPr algn="just">
              <a:buFont typeface="Wingdings" pitchFamily="2" charset="2"/>
              <a:buChar char="Ø"/>
            </a:pPr>
            <a:endParaRPr lang="en-US" sz="2000" b="1" dirty="0">
              <a:solidFill>
                <a:schemeClr val="accent1">
                  <a:lumMod val="75000"/>
                </a:schemeClr>
              </a:solidFill>
              <a:latin typeface="Neo Sans Std Medium" pitchFamily="34" charset="0"/>
            </a:endParaRPr>
          </a:p>
        </p:txBody>
      </p:sp>
      <p:sp>
        <p:nvSpPr>
          <p:cNvPr id="12" name="Rectangle 11"/>
          <p:cNvSpPr/>
          <p:nvPr/>
        </p:nvSpPr>
        <p:spPr>
          <a:xfrm>
            <a:off x="373197" y="6369963"/>
            <a:ext cx="4572000" cy="369332"/>
          </a:xfrm>
          <a:prstGeom prst="rect">
            <a:avLst/>
          </a:prstGeom>
        </p:spPr>
        <p:txBody>
          <a:bodyPr>
            <a:spAutoFit/>
          </a:bodyPr>
          <a:lstStyle/>
          <a:p>
            <a:r>
              <a:rPr lang="en-US" sz="1050" b="1" i="1" dirty="0" smtClean="0"/>
              <a:t>What deters the unveiling of Legislative Process</a:t>
            </a:r>
            <a:r>
              <a:rPr lang="en-US" b="1" i="1" dirty="0" smtClean="0"/>
              <a:t>?</a:t>
            </a:r>
            <a:endParaRPr lang="en-US" dirty="0"/>
          </a:p>
        </p:txBody>
      </p:sp>
      <p:sp>
        <p:nvSpPr>
          <p:cNvPr id="10" name="TextBox 9"/>
          <p:cNvSpPr txBox="1"/>
          <p:nvPr/>
        </p:nvSpPr>
        <p:spPr>
          <a:xfrm>
            <a:off x="373198" y="777922"/>
            <a:ext cx="8543924" cy="584775"/>
          </a:xfrm>
          <a:prstGeom prst="rect">
            <a:avLst/>
          </a:prstGeom>
          <a:noFill/>
        </p:spPr>
        <p:txBody>
          <a:bodyPr wrap="square" rtlCol="0">
            <a:spAutoFit/>
          </a:bodyPr>
          <a:lstStyle/>
          <a:p>
            <a:pPr algn="ctr"/>
            <a:r>
              <a:rPr lang="en-US" sz="3200" b="1" dirty="0" smtClean="0">
                <a:solidFill>
                  <a:srgbClr val="0070C0"/>
                </a:solidFill>
              </a:rPr>
              <a:t>Lack of Transparency &amp;  Inadequate Consultation</a:t>
            </a:r>
            <a:endParaRPr lang="en-US" sz="3200" dirty="0">
              <a:solidFill>
                <a:srgbClr val="0070C0"/>
              </a:solidFill>
            </a:endParaRPr>
          </a:p>
        </p:txBody>
      </p:sp>
    </p:spTree>
    <p:extLst>
      <p:ext uri="{BB962C8B-B14F-4D97-AF65-F5344CB8AC3E}">
        <p14:creationId xmlns:p14="http://schemas.microsoft.com/office/powerpoint/2010/main" xmlns="" val="3796730251"/>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withEffect">
                                  <p:stCondLst>
                                    <p:cond delay="0"/>
                                  </p:stCondLst>
                                  <p:childTnLst>
                                    <p:animRot by="10800000">
                                      <p:cBhvr>
                                        <p:cTn id="6" dur="750" fill="hold"/>
                                        <p:tgtEl>
                                          <p:spTgt spid="3"/>
                                        </p:tgtEl>
                                        <p:attrNameLst>
                                          <p:attrName>r</p:attrName>
                                        </p:attrNameLst>
                                      </p:cBhvr>
                                    </p:animRot>
                                  </p:childTnLst>
                                </p:cTn>
                              </p:par>
                            </p:childTnLst>
                          </p:cTn>
                        </p:par>
                        <p:par>
                          <p:cTn id="7" fill="hold">
                            <p:stCondLst>
                              <p:cond delay="750"/>
                            </p:stCondLst>
                            <p:childTnLst>
                              <p:par>
                                <p:cTn id="8" presetID="32" presetClass="emph" presetSubtype="0" fill="hold" grpId="0" nodeType="afterEffect">
                                  <p:stCondLst>
                                    <p:cond delay="0"/>
                                  </p:stCondLst>
                                  <p:childTnLst>
                                    <p:animRot by="120000">
                                      <p:cBhvr>
                                        <p:cTn id="9" dur="75" fill="hold">
                                          <p:stCondLst>
                                            <p:cond delay="0"/>
                                          </p:stCondLst>
                                        </p:cTn>
                                        <p:tgtEl>
                                          <p:spTgt spid="39"/>
                                        </p:tgtEl>
                                        <p:attrNameLst>
                                          <p:attrName>r</p:attrName>
                                        </p:attrNameLst>
                                      </p:cBhvr>
                                    </p:animRot>
                                    <p:animRot by="-240000">
                                      <p:cBhvr>
                                        <p:cTn id="10" dur="150" fill="hold">
                                          <p:stCondLst>
                                            <p:cond delay="150"/>
                                          </p:stCondLst>
                                        </p:cTn>
                                        <p:tgtEl>
                                          <p:spTgt spid="39"/>
                                        </p:tgtEl>
                                        <p:attrNameLst>
                                          <p:attrName>r</p:attrName>
                                        </p:attrNameLst>
                                      </p:cBhvr>
                                    </p:animRot>
                                    <p:animRot by="240000">
                                      <p:cBhvr>
                                        <p:cTn id="11" dur="150" fill="hold">
                                          <p:stCondLst>
                                            <p:cond delay="300"/>
                                          </p:stCondLst>
                                        </p:cTn>
                                        <p:tgtEl>
                                          <p:spTgt spid="39"/>
                                        </p:tgtEl>
                                        <p:attrNameLst>
                                          <p:attrName>r</p:attrName>
                                        </p:attrNameLst>
                                      </p:cBhvr>
                                    </p:animRot>
                                    <p:animRot by="-240000">
                                      <p:cBhvr>
                                        <p:cTn id="12" dur="150" fill="hold">
                                          <p:stCondLst>
                                            <p:cond delay="450"/>
                                          </p:stCondLst>
                                        </p:cTn>
                                        <p:tgtEl>
                                          <p:spTgt spid="39"/>
                                        </p:tgtEl>
                                        <p:attrNameLst>
                                          <p:attrName>r</p:attrName>
                                        </p:attrNameLst>
                                      </p:cBhvr>
                                    </p:animRot>
                                    <p:animRot by="120000">
                                      <p:cBhvr>
                                        <p:cTn id="13" dur="150" fill="hold">
                                          <p:stCondLst>
                                            <p:cond delay="600"/>
                                          </p:stCondLst>
                                        </p:cTn>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73196" y="6387871"/>
            <a:ext cx="3854029" cy="272338"/>
          </a:xfrm>
        </p:spPr>
        <p:txBody>
          <a:bodyPr/>
          <a:lstStyle/>
          <a:p>
            <a:pPr>
              <a:defRPr/>
            </a:pPr>
            <a:r>
              <a:rPr lang="en-US" sz="1050" dirty="0" smtClean="0"/>
              <a:t>What deters the unveiling of Legislative Process?</a:t>
            </a:r>
            <a:endParaRPr lang="en-US" sz="1050" dirty="0"/>
          </a:p>
        </p:txBody>
      </p:sp>
      <p:sp>
        <p:nvSpPr>
          <p:cNvPr id="4" name="Slide Number Placeholder 3"/>
          <p:cNvSpPr>
            <a:spLocks noGrp="1"/>
          </p:cNvSpPr>
          <p:nvPr>
            <p:ph type="sldNum" sz="quarter" idx="12"/>
          </p:nvPr>
        </p:nvSpPr>
        <p:spPr/>
        <p:txBody>
          <a:bodyPr/>
          <a:lstStyle/>
          <a:p>
            <a:fld id="{EA72F2ED-C0F1-A14B-BA46-C5847C658EB2}" type="slidenum">
              <a:rPr lang="en-US" smtClean="0"/>
              <a:pPr/>
              <a:t>18</a:t>
            </a:fld>
            <a:endParaRPr lang="en-US" dirty="0"/>
          </a:p>
        </p:txBody>
      </p:sp>
      <p:pic>
        <p:nvPicPr>
          <p:cNvPr id="8" name="Picture 7" descr="article-2027831-0D7D3D5100000578-617_634x345.jpg"/>
          <p:cNvPicPr>
            <a:picLocks noChangeAspect="1"/>
          </p:cNvPicPr>
          <p:nvPr/>
        </p:nvPicPr>
        <p:blipFill>
          <a:blip r:embed="rId2"/>
          <a:stretch>
            <a:fillRect/>
          </a:stretch>
        </p:blipFill>
        <p:spPr>
          <a:xfrm>
            <a:off x="314630" y="1230720"/>
            <a:ext cx="8297107" cy="4719704"/>
          </a:xfrm>
          <a:prstGeom prst="rect">
            <a:avLst/>
          </a:prstGeom>
        </p:spPr>
      </p:pic>
      <p:sp>
        <p:nvSpPr>
          <p:cNvPr id="9" name="TextBox 8"/>
          <p:cNvSpPr txBox="1"/>
          <p:nvPr/>
        </p:nvSpPr>
        <p:spPr>
          <a:xfrm>
            <a:off x="373197" y="436728"/>
            <a:ext cx="8238540" cy="830997"/>
          </a:xfrm>
          <a:prstGeom prst="rect">
            <a:avLst/>
          </a:prstGeom>
          <a:noFill/>
        </p:spPr>
        <p:txBody>
          <a:bodyPr wrap="square" rtlCol="0">
            <a:spAutoFit/>
          </a:bodyPr>
          <a:lstStyle/>
          <a:p>
            <a:pPr algn="ctr"/>
            <a:r>
              <a:rPr lang="en-US" sz="2400" b="1" dirty="0" smtClean="0">
                <a:solidFill>
                  <a:srgbClr val="0070C0"/>
                </a:solidFill>
              </a:rPr>
              <a:t>Demanding the Right to Participation in the Law making Process: Demonstrations for the </a:t>
            </a:r>
            <a:r>
              <a:rPr lang="en-US" sz="2400" b="1" dirty="0" err="1" smtClean="0">
                <a:solidFill>
                  <a:srgbClr val="0070C0"/>
                </a:solidFill>
              </a:rPr>
              <a:t>Lokpal</a:t>
            </a:r>
            <a:r>
              <a:rPr lang="en-US" sz="2400" b="1" dirty="0" smtClean="0">
                <a:solidFill>
                  <a:srgbClr val="0070C0"/>
                </a:solidFill>
              </a:rPr>
              <a:t> (Ombudsman) Bill</a:t>
            </a:r>
            <a:endParaRPr lang="en-US" sz="2400" b="1" dirty="0">
              <a:solidFill>
                <a:srgbClr val="0070C0"/>
              </a:solidFill>
            </a:endParaRPr>
          </a:p>
        </p:txBody>
      </p:sp>
    </p:spTree>
  </p:cSld>
  <p:clrMapOvr>
    <a:masterClrMapping/>
  </p:clrMapOvr>
  <p:transition spd="med">
    <p:plus/>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xmlns="" val="1220212714"/>
              </p:ext>
            </p:extLst>
          </p:nvPr>
        </p:nvGraphicFramePr>
        <p:xfrm>
          <a:off x="1588" y="1588"/>
          <a:ext cx="1587" cy="1587"/>
        </p:xfrm>
        <a:graphic>
          <a:graphicData uri="http://schemas.openxmlformats.org/presentationml/2006/ole">
            <p:oleObj spid="_x0000_s34818" name="think-cell Slide" r:id="rId4" imgW="360" imgH="360" progId="">
              <p:embed/>
            </p:oleObj>
          </a:graphicData>
        </a:graphic>
      </p:graphicFrame>
      <p:sp>
        <p:nvSpPr>
          <p:cNvPr id="8" name="TextBox 7"/>
          <p:cNvSpPr txBox="1"/>
          <p:nvPr/>
        </p:nvSpPr>
        <p:spPr>
          <a:xfrm>
            <a:off x="373197" y="777922"/>
            <a:ext cx="8543925" cy="492443"/>
          </a:xfrm>
          <a:prstGeom prst="rect">
            <a:avLst/>
          </a:prstGeom>
          <a:noFill/>
        </p:spPr>
        <p:txBody>
          <a:bodyPr wrap="square" lIns="0" tIns="0" rIns="0" bIns="0" rtlCol="0">
            <a:spAutoFit/>
          </a:bodyPr>
          <a:lstStyle/>
          <a:p>
            <a:pPr algn="ctr"/>
            <a:r>
              <a:rPr lang="en-US" sz="3200" b="1" dirty="0" smtClean="0">
                <a:solidFill>
                  <a:srgbClr val="0D65AC"/>
                </a:solidFill>
              </a:rPr>
              <a:t>Tracking the Law Making Process: Attempts So Far</a:t>
            </a:r>
          </a:p>
        </p:txBody>
      </p:sp>
      <p:cxnSp>
        <p:nvCxnSpPr>
          <p:cNvPr id="11" name="Straight Connector 10"/>
          <p:cNvCxnSpPr/>
          <p:nvPr/>
        </p:nvCxnSpPr>
        <p:spPr>
          <a:xfrm rot="5400000">
            <a:off x="4594178" y="-1902157"/>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39" name="Freeform 13"/>
          <p:cNvSpPr>
            <a:spLocks noEditPoints="1"/>
          </p:cNvSpPr>
          <p:nvPr/>
        </p:nvSpPr>
        <p:spPr bwMode="auto">
          <a:xfrm rot="10585247" flipV="1">
            <a:off x="4417312" y="3187267"/>
            <a:ext cx="437938" cy="527565"/>
          </a:xfrm>
          <a:custGeom>
            <a:avLst/>
            <a:gdLst>
              <a:gd name="T0" fmla="*/ 2022 w 2403"/>
              <a:gd name="T1" fmla="*/ 144 h 2897"/>
              <a:gd name="T2" fmla="*/ 1852 w 2403"/>
              <a:gd name="T3" fmla="*/ 57 h 2897"/>
              <a:gd name="T4" fmla="*/ 1632 w 2403"/>
              <a:gd name="T5" fmla="*/ 1 h 2897"/>
              <a:gd name="T6" fmla="*/ 1548 w 2403"/>
              <a:gd name="T7" fmla="*/ 2 h 2897"/>
              <a:gd name="T8" fmla="*/ 1491 w 2403"/>
              <a:gd name="T9" fmla="*/ 23 h 2897"/>
              <a:gd name="T10" fmla="*/ 785 w 2403"/>
              <a:gd name="T11" fmla="*/ 948 h 2897"/>
              <a:gd name="T12" fmla="*/ 48 w 2403"/>
              <a:gd name="T13" fmla="*/ 1933 h 2897"/>
              <a:gd name="T14" fmla="*/ 30 w 2403"/>
              <a:gd name="T15" fmla="*/ 1995 h 2897"/>
              <a:gd name="T16" fmla="*/ 3 w 2403"/>
              <a:gd name="T17" fmla="*/ 2340 h 2897"/>
              <a:gd name="T18" fmla="*/ 7 w 2403"/>
              <a:gd name="T19" fmla="*/ 2732 h 2897"/>
              <a:gd name="T20" fmla="*/ 27 w 2403"/>
              <a:gd name="T21" fmla="*/ 2871 h 2897"/>
              <a:gd name="T22" fmla="*/ 42 w 2403"/>
              <a:gd name="T23" fmla="*/ 2891 h 2897"/>
              <a:gd name="T24" fmla="*/ 118 w 2403"/>
              <a:gd name="T25" fmla="*/ 2896 h 2897"/>
              <a:gd name="T26" fmla="*/ 340 w 2403"/>
              <a:gd name="T27" fmla="*/ 2850 h 2897"/>
              <a:gd name="T28" fmla="*/ 724 w 2403"/>
              <a:gd name="T29" fmla="*/ 2722 h 2897"/>
              <a:gd name="T30" fmla="*/ 926 w 2403"/>
              <a:gd name="T31" fmla="*/ 2628 h 2897"/>
              <a:gd name="T32" fmla="*/ 987 w 2403"/>
              <a:gd name="T33" fmla="*/ 2578 h 2897"/>
              <a:gd name="T34" fmla="*/ 1454 w 2403"/>
              <a:gd name="T35" fmla="*/ 1961 h 2897"/>
              <a:gd name="T36" fmla="*/ 2390 w 2403"/>
              <a:gd name="T37" fmla="*/ 675 h 2897"/>
              <a:gd name="T38" fmla="*/ 2403 w 2403"/>
              <a:gd name="T39" fmla="*/ 631 h 2897"/>
              <a:gd name="T40" fmla="*/ 2392 w 2403"/>
              <a:gd name="T41" fmla="*/ 562 h 2897"/>
              <a:gd name="T42" fmla="*/ 2334 w 2403"/>
              <a:gd name="T43" fmla="*/ 447 h 2897"/>
              <a:gd name="T44" fmla="*/ 2193 w 2403"/>
              <a:gd name="T45" fmla="*/ 279 h 2897"/>
              <a:gd name="T46" fmla="*/ 1398 w 2403"/>
              <a:gd name="T47" fmla="*/ 308 h 2897"/>
              <a:gd name="T48" fmla="*/ 1421 w 2403"/>
              <a:gd name="T49" fmla="*/ 290 h 2897"/>
              <a:gd name="T50" fmla="*/ 1468 w 2403"/>
              <a:gd name="T51" fmla="*/ 287 h 2897"/>
              <a:gd name="T52" fmla="*/ 1528 w 2403"/>
              <a:gd name="T53" fmla="*/ 313 h 2897"/>
              <a:gd name="T54" fmla="*/ 1580 w 2403"/>
              <a:gd name="T55" fmla="*/ 368 h 2897"/>
              <a:gd name="T56" fmla="*/ 1587 w 2403"/>
              <a:gd name="T57" fmla="*/ 409 h 2897"/>
              <a:gd name="T58" fmla="*/ 337 w 2403"/>
              <a:gd name="T59" fmla="*/ 1902 h 2897"/>
              <a:gd name="T60" fmla="*/ 473 w 2403"/>
              <a:gd name="T61" fmla="*/ 2660 h 2897"/>
              <a:gd name="T62" fmla="*/ 364 w 2403"/>
              <a:gd name="T63" fmla="*/ 2709 h 2897"/>
              <a:gd name="T64" fmla="*/ 169 w 2403"/>
              <a:gd name="T65" fmla="*/ 2764 h 2897"/>
              <a:gd name="T66" fmla="*/ 134 w 2403"/>
              <a:gd name="T67" fmla="*/ 2763 h 2897"/>
              <a:gd name="T68" fmla="*/ 125 w 2403"/>
              <a:gd name="T69" fmla="*/ 2643 h 2897"/>
              <a:gd name="T70" fmla="*/ 137 w 2403"/>
              <a:gd name="T71" fmla="*/ 2423 h 2897"/>
              <a:gd name="T72" fmla="*/ 151 w 2403"/>
              <a:gd name="T73" fmla="*/ 2404 h 2897"/>
              <a:gd name="T74" fmla="*/ 206 w 2403"/>
              <a:gd name="T75" fmla="*/ 2409 h 2897"/>
              <a:gd name="T76" fmla="*/ 355 w 2403"/>
              <a:gd name="T77" fmla="*/ 2486 h 2897"/>
              <a:gd name="T78" fmla="*/ 454 w 2403"/>
              <a:gd name="T79" fmla="*/ 2577 h 2897"/>
              <a:gd name="T80" fmla="*/ 480 w 2403"/>
              <a:gd name="T81" fmla="*/ 2630 h 2897"/>
              <a:gd name="T82" fmla="*/ 490 w 2403"/>
              <a:gd name="T83" fmla="*/ 2117 h 2897"/>
              <a:gd name="T84" fmla="*/ 1708 w 2403"/>
              <a:gd name="T85" fmla="*/ 446 h 2897"/>
              <a:gd name="T86" fmla="*/ 1748 w 2403"/>
              <a:gd name="T87" fmla="*/ 445 h 2897"/>
              <a:gd name="T88" fmla="*/ 1821 w 2403"/>
              <a:gd name="T89" fmla="*/ 478 h 2897"/>
              <a:gd name="T90" fmla="*/ 1867 w 2403"/>
              <a:gd name="T91" fmla="*/ 520 h 2897"/>
              <a:gd name="T92" fmla="*/ 1888 w 2403"/>
              <a:gd name="T93" fmla="*/ 565 h 2897"/>
              <a:gd name="T94" fmla="*/ 624 w 2403"/>
              <a:gd name="T95" fmla="*/ 2291 h 2897"/>
              <a:gd name="T96" fmla="*/ 902 w 2403"/>
              <a:gd name="T97" fmla="*/ 2386 h 2897"/>
              <a:gd name="T98" fmla="*/ 1979 w 2403"/>
              <a:gd name="T99" fmla="*/ 672 h 2897"/>
              <a:gd name="T100" fmla="*/ 2014 w 2403"/>
              <a:gd name="T101" fmla="*/ 670 h 2897"/>
              <a:gd name="T102" fmla="*/ 2067 w 2403"/>
              <a:gd name="T103" fmla="*/ 704 h 2897"/>
              <a:gd name="T104" fmla="*/ 2108 w 2403"/>
              <a:gd name="T105" fmla="*/ 754 h 2897"/>
              <a:gd name="T106" fmla="*/ 2123 w 2403"/>
              <a:gd name="T107" fmla="*/ 801 h 2897"/>
              <a:gd name="T108" fmla="*/ 2117 w 2403"/>
              <a:gd name="T109" fmla="*/ 835 h 2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03" h="2897">
                <a:moveTo>
                  <a:pt x="2095" y="193"/>
                </a:moveTo>
                <a:lnTo>
                  <a:pt x="2095" y="193"/>
                </a:lnTo>
                <a:lnTo>
                  <a:pt x="2071" y="176"/>
                </a:lnTo>
                <a:lnTo>
                  <a:pt x="2046" y="159"/>
                </a:lnTo>
                <a:lnTo>
                  <a:pt x="2022" y="144"/>
                </a:lnTo>
                <a:lnTo>
                  <a:pt x="1998" y="129"/>
                </a:lnTo>
                <a:lnTo>
                  <a:pt x="1974" y="115"/>
                </a:lnTo>
                <a:lnTo>
                  <a:pt x="1948" y="101"/>
                </a:lnTo>
                <a:lnTo>
                  <a:pt x="1900" y="78"/>
                </a:lnTo>
                <a:lnTo>
                  <a:pt x="1852" y="57"/>
                </a:lnTo>
                <a:lnTo>
                  <a:pt x="1803" y="40"/>
                </a:lnTo>
                <a:lnTo>
                  <a:pt x="1757" y="25"/>
                </a:lnTo>
                <a:lnTo>
                  <a:pt x="1714" y="14"/>
                </a:lnTo>
                <a:lnTo>
                  <a:pt x="1671" y="6"/>
                </a:lnTo>
                <a:lnTo>
                  <a:pt x="1632" y="1"/>
                </a:lnTo>
                <a:lnTo>
                  <a:pt x="1613" y="0"/>
                </a:lnTo>
                <a:lnTo>
                  <a:pt x="1595" y="0"/>
                </a:lnTo>
                <a:lnTo>
                  <a:pt x="1580" y="0"/>
                </a:lnTo>
                <a:lnTo>
                  <a:pt x="1564" y="1"/>
                </a:lnTo>
                <a:lnTo>
                  <a:pt x="1548" y="2"/>
                </a:lnTo>
                <a:lnTo>
                  <a:pt x="1535" y="5"/>
                </a:lnTo>
                <a:lnTo>
                  <a:pt x="1521" y="8"/>
                </a:lnTo>
                <a:lnTo>
                  <a:pt x="1511" y="12"/>
                </a:lnTo>
                <a:lnTo>
                  <a:pt x="1500" y="17"/>
                </a:lnTo>
                <a:lnTo>
                  <a:pt x="1491" y="23"/>
                </a:lnTo>
                <a:lnTo>
                  <a:pt x="1484" y="29"/>
                </a:lnTo>
                <a:lnTo>
                  <a:pt x="1477" y="36"/>
                </a:lnTo>
                <a:lnTo>
                  <a:pt x="1477" y="36"/>
                </a:lnTo>
                <a:lnTo>
                  <a:pt x="1253" y="331"/>
                </a:lnTo>
                <a:lnTo>
                  <a:pt x="785" y="948"/>
                </a:lnTo>
                <a:lnTo>
                  <a:pt x="532" y="1283"/>
                </a:lnTo>
                <a:lnTo>
                  <a:pt x="304" y="1584"/>
                </a:lnTo>
                <a:lnTo>
                  <a:pt x="134" y="1813"/>
                </a:lnTo>
                <a:lnTo>
                  <a:pt x="78" y="1890"/>
                </a:lnTo>
                <a:lnTo>
                  <a:pt x="48" y="1933"/>
                </a:lnTo>
                <a:lnTo>
                  <a:pt x="48" y="1933"/>
                </a:lnTo>
                <a:lnTo>
                  <a:pt x="43" y="1943"/>
                </a:lnTo>
                <a:lnTo>
                  <a:pt x="38" y="1956"/>
                </a:lnTo>
                <a:lnTo>
                  <a:pt x="33" y="1974"/>
                </a:lnTo>
                <a:lnTo>
                  <a:pt x="30" y="1995"/>
                </a:lnTo>
                <a:lnTo>
                  <a:pt x="23" y="2047"/>
                </a:lnTo>
                <a:lnTo>
                  <a:pt x="15" y="2110"/>
                </a:lnTo>
                <a:lnTo>
                  <a:pt x="10" y="2181"/>
                </a:lnTo>
                <a:lnTo>
                  <a:pt x="6" y="2259"/>
                </a:lnTo>
                <a:lnTo>
                  <a:pt x="3" y="2340"/>
                </a:lnTo>
                <a:lnTo>
                  <a:pt x="1" y="2423"/>
                </a:lnTo>
                <a:lnTo>
                  <a:pt x="0" y="2507"/>
                </a:lnTo>
                <a:lnTo>
                  <a:pt x="1" y="2588"/>
                </a:lnTo>
                <a:lnTo>
                  <a:pt x="3" y="2663"/>
                </a:lnTo>
                <a:lnTo>
                  <a:pt x="7" y="2732"/>
                </a:lnTo>
                <a:lnTo>
                  <a:pt x="12" y="2790"/>
                </a:lnTo>
                <a:lnTo>
                  <a:pt x="15" y="2815"/>
                </a:lnTo>
                <a:lnTo>
                  <a:pt x="19" y="2837"/>
                </a:lnTo>
                <a:lnTo>
                  <a:pt x="23" y="2856"/>
                </a:lnTo>
                <a:lnTo>
                  <a:pt x="27" y="2871"/>
                </a:lnTo>
                <a:lnTo>
                  <a:pt x="32" y="2882"/>
                </a:lnTo>
                <a:lnTo>
                  <a:pt x="35" y="2885"/>
                </a:lnTo>
                <a:lnTo>
                  <a:pt x="37" y="2888"/>
                </a:lnTo>
                <a:lnTo>
                  <a:pt x="37" y="2888"/>
                </a:lnTo>
                <a:lnTo>
                  <a:pt x="42" y="2891"/>
                </a:lnTo>
                <a:lnTo>
                  <a:pt x="47" y="2893"/>
                </a:lnTo>
                <a:lnTo>
                  <a:pt x="60" y="2896"/>
                </a:lnTo>
                <a:lnTo>
                  <a:pt x="76" y="2897"/>
                </a:lnTo>
                <a:lnTo>
                  <a:pt x="95" y="2897"/>
                </a:lnTo>
                <a:lnTo>
                  <a:pt x="118" y="2896"/>
                </a:lnTo>
                <a:lnTo>
                  <a:pt x="144" y="2893"/>
                </a:lnTo>
                <a:lnTo>
                  <a:pt x="171" y="2888"/>
                </a:lnTo>
                <a:lnTo>
                  <a:pt x="202" y="2883"/>
                </a:lnTo>
                <a:lnTo>
                  <a:pt x="267" y="2868"/>
                </a:lnTo>
                <a:lnTo>
                  <a:pt x="340" y="2850"/>
                </a:lnTo>
                <a:lnTo>
                  <a:pt x="416" y="2829"/>
                </a:lnTo>
                <a:lnTo>
                  <a:pt x="494" y="2804"/>
                </a:lnTo>
                <a:lnTo>
                  <a:pt x="573" y="2778"/>
                </a:lnTo>
                <a:lnTo>
                  <a:pt x="650" y="2751"/>
                </a:lnTo>
                <a:lnTo>
                  <a:pt x="724" y="2722"/>
                </a:lnTo>
                <a:lnTo>
                  <a:pt x="793" y="2694"/>
                </a:lnTo>
                <a:lnTo>
                  <a:pt x="854" y="2666"/>
                </a:lnTo>
                <a:lnTo>
                  <a:pt x="880" y="2653"/>
                </a:lnTo>
                <a:lnTo>
                  <a:pt x="904" y="2641"/>
                </a:lnTo>
                <a:lnTo>
                  <a:pt x="926" y="2628"/>
                </a:lnTo>
                <a:lnTo>
                  <a:pt x="946" y="2617"/>
                </a:lnTo>
                <a:lnTo>
                  <a:pt x="960" y="2605"/>
                </a:lnTo>
                <a:lnTo>
                  <a:pt x="972" y="2595"/>
                </a:lnTo>
                <a:lnTo>
                  <a:pt x="972" y="2595"/>
                </a:lnTo>
                <a:lnTo>
                  <a:pt x="987" y="2578"/>
                </a:lnTo>
                <a:lnTo>
                  <a:pt x="1007" y="2554"/>
                </a:lnTo>
                <a:lnTo>
                  <a:pt x="1064" y="2480"/>
                </a:lnTo>
                <a:lnTo>
                  <a:pt x="1142" y="2380"/>
                </a:lnTo>
                <a:lnTo>
                  <a:pt x="1234" y="2257"/>
                </a:lnTo>
                <a:lnTo>
                  <a:pt x="1454" y="1961"/>
                </a:lnTo>
                <a:lnTo>
                  <a:pt x="1697" y="1630"/>
                </a:lnTo>
                <a:lnTo>
                  <a:pt x="1939" y="1298"/>
                </a:lnTo>
                <a:lnTo>
                  <a:pt x="2153" y="1004"/>
                </a:lnTo>
                <a:lnTo>
                  <a:pt x="2311" y="784"/>
                </a:lnTo>
                <a:lnTo>
                  <a:pt x="2390" y="675"/>
                </a:lnTo>
                <a:lnTo>
                  <a:pt x="2390" y="675"/>
                </a:lnTo>
                <a:lnTo>
                  <a:pt x="2395" y="665"/>
                </a:lnTo>
                <a:lnTo>
                  <a:pt x="2400" y="654"/>
                </a:lnTo>
                <a:lnTo>
                  <a:pt x="2402" y="643"/>
                </a:lnTo>
                <a:lnTo>
                  <a:pt x="2403" y="631"/>
                </a:lnTo>
                <a:lnTo>
                  <a:pt x="2403" y="618"/>
                </a:lnTo>
                <a:lnTo>
                  <a:pt x="2403" y="605"/>
                </a:lnTo>
                <a:lnTo>
                  <a:pt x="2401" y="591"/>
                </a:lnTo>
                <a:lnTo>
                  <a:pt x="2397" y="577"/>
                </a:lnTo>
                <a:lnTo>
                  <a:pt x="2392" y="562"/>
                </a:lnTo>
                <a:lnTo>
                  <a:pt x="2386" y="547"/>
                </a:lnTo>
                <a:lnTo>
                  <a:pt x="2380" y="531"/>
                </a:lnTo>
                <a:lnTo>
                  <a:pt x="2373" y="514"/>
                </a:lnTo>
                <a:lnTo>
                  <a:pt x="2355" y="481"/>
                </a:lnTo>
                <a:lnTo>
                  <a:pt x="2334" y="447"/>
                </a:lnTo>
                <a:lnTo>
                  <a:pt x="2310" y="412"/>
                </a:lnTo>
                <a:lnTo>
                  <a:pt x="2284" y="378"/>
                </a:lnTo>
                <a:lnTo>
                  <a:pt x="2255" y="345"/>
                </a:lnTo>
                <a:lnTo>
                  <a:pt x="2226" y="311"/>
                </a:lnTo>
                <a:lnTo>
                  <a:pt x="2193" y="279"/>
                </a:lnTo>
                <a:lnTo>
                  <a:pt x="2161" y="248"/>
                </a:lnTo>
                <a:lnTo>
                  <a:pt x="2128" y="220"/>
                </a:lnTo>
                <a:lnTo>
                  <a:pt x="2095" y="193"/>
                </a:lnTo>
                <a:lnTo>
                  <a:pt x="2095" y="193"/>
                </a:lnTo>
                <a:close/>
                <a:moveTo>
                  <a:pt x="1398" y="308"/>
                </a:moveTo>
                <a:lnTo>
                  <a:pt x="1398" y="308"/>
                </a:lnTo>
                <a:lnTo>
                  <a:pt x="1400" y="306"/>
                </a:lnTo>
                <a:lnTo>
                  <a:pt x="1405" y="300"/>
                </a:lnTo>
                <a:lnTo>
                  <a:pt x="1415" y="294"/>
                </a:lnTo>
                <a:lnTo>
                  <a:pt x="1421" y="290"/>
                </a:lnTo>
                <a:lnTo>
                  <a:pt x="1428" y="288"/>
                </a:lnTo>
                <a:lnTo>
                  <a:pt x="1437" y="285"/>
                </a:lnTo>
                <a:lnTo>
                  <a:pt x="1445" y="284"/>
                </a:lnTo>
                <a:lnTo>
                  <a:pt x="1456" y="284"/>
                </a:lnTo>
                <a:lnTo>
                  <a:pt x="1468" y="287"/>
                </a:lnTo>
                <a:lnTo>
                  <a:pt x="1482" y="290"/>
                </a:lnTo>
                <a:lnTo>
                  <a:pt x="1495" y="295"/>
                </a:lnTo>
                <a:lnTo>
                  <a:pt x="1511" y="303"/>
                </a:lnTo>
                <a:lnTo>
                  <a:pt x="1528" y="313"/>
                </a:lnTo>
                <a:lnTo>
                  <a:pt x="1528" y="313"/>
                </a:lnTo>
                <a:lnTo>
                  <a:pt x="1542" y="325"/>
                </a:lnTo>
                <a:lnTo>
                  <a:pt x="1555" y="336"/>
                </a:lnTo>
                <a:lnTo>
                  <a:pt x="1565" y="347"/>
                </a:lnTo>
                <a:lnTo>
                  <a:pt x="1573" y="357"/>
                </a:lnTo>
                <a:lnTo>
                  <a:pt x="1580" y="368"/>
                </a:lnTo>
                <a:lnTo>
                  <a:pt x="1583" y="376"/>
                </a:lnTo>
                <a:lnTo>
                  <a:pt x="1586" y="386"/>
                </a:lnTo>
                <a:lnTo>
                  <a:pt x="1587" y="394"/>
                </a:lnTo>
                <a:lnTo>
                  <a:pt x="1588" y="401"/>
                </a:lnTo>
                <a:lnTo>
                  <a:pt x="1587" y="409"/>
                </a:lnTo>
                <a:lnTo>
                  <a:pt x="1584" y="420"/>
                </a:lnTo>
                <a:lnTo>
                  <a:pt x="1582" y="427"/>
                </a:lnTo>
                <a:lnTo>
                  <a:pt x="1581" y="429"/>
                </a:lnTo>
                <a:lnTo>
                  <a:pt x="337" y="2076"/>
                </a:lnTo>
                <a:lnTo>
                  <a:pt x="337" y="1902"/>
                </a:lnTo>
                <a:lnTo>
                  <a:pt x="239" y="1865"/>
                </a:lnTo>
                <a:lnTo>
                  <a:pt x="1398" y="308"/>
                </a:lnTo>
                <a:close/>
                <a:moveTo>
                  <a:pt x="475" y="2657"/>
                </a:moveTo>
                <a:lnTo>
                  <a:pt x="475" y="2657"/>
                </a:lnTo>
                <a:lnTo>
                  <a:pt x="473" y="2660"/>
                </a:lnTo>
                <a:lnTo>
                  <a:pt x="469" y="2664"/>
                </a:lnTo>
                <a:lnTo>
                  <a:pt x="456" y="2671"/>
                </a:lnTo>
                <a:lnTo>
                  <a:pt x="439" y="2680"/>
                </a:lnTo>
                <a:lnTo>
                  <a:pt x="417" y="2689"/>
                </a:lnTo>
                <a:lnTo>
                  <a:pt x="364" y="2709"/>
                </a:lnTo>
                <a:lnTo>
                  <a:pt x="304" y="2729"/>
                </a:lnTo>
                <a:lnTo>
                  <a:pt x="244" y="2746"/>
                </a:lnTo>
                <a:lnTo>
                  <a:pt x="216" y="2754"/>
                </a:lnTo>
                <a:lnTo>
                  <a:pt x="191" y="2760"/>
                </a:lnTo>
                <a:lnTo>
                  <a:pt x="169" y="2764"/>
                </a:lnTo>
                <a:lnTo>
                  <a:pt x="152" y="2767"/>
                </a:lnTo>
                <a:lnTo>
                  <a:pt x="140" y="2767"/>
                </a:lnTo>
                <a:lnTo>
                  <a:pt x="135" y="2766"/>
                </a:lnTo>
                <a:lnTo>
                  <a:pt x="134" y="2763"/>
                </a:lnTo>
                <a:lnTo>
                  <a:pt x="134" y="2763"/>
                </a:lnTo>
                <a:lnTo>
                  <a:pt x="130" y="2756"/>
                </a:lnTo>
                <a:lnTo>
                  <a:pt x="129" y="2743"/>
                </a:lnTo>
                <a:lnTo>
                  <a:pt x="127" y="2723"/>
                </a:lnTo>
                <a:lnTo>
                  <a:pt x="127" y="2700"/>
                </a:lnTo>
                <a:lnTo>
                  <a:pt x="125" y="2643"/>
                </a:lnTo>
                <a:lnTo>
                  <a:pt x="127" y="2581"/>
                </a:lnTo>
                <a:lnTo>
                  <a:pt x="129" y="2518"/>
                </a:lnTo>
                <a:lnTo>
                  <a:pt x="133" y="2462"/>
                </a:lnTo>
                <a:lnTo>
                  <a:pt x="135" y="2440"/>
                </a:lnTo>
                <a:lnTo>
                  <a:pt x="137" y="2423"/>
                </a:lnTo>
                <a:lnTo>
                  <a:pt x="140" y="2411"/>
                </a:lnTo>
                <a:lnTo>
                  <a:pt x="141" y="2407"/>
                </a:lnTo>
                <a:lnTo>
                  <a:pt x="142" y="2406"/>
                </a:lnTo>
                <a:lnTo>
                  <a:pt x="142" y="2406"/>
                </a:lnTo>
                <a:lnTo>
                  <a:pt x="151" y="2404"/>
                </a:lnTo>
                <a:lnTo>
                  <a:pt x="159" y="2403"/>
                </a:lnTo>
                <a:lnTo>
                  <a:pt x="170" y="2403"/>
                </a:lnTo>
                <a:lnTo>
                  <a:pt x="181" y="2404"/>
                </a:lnTo>
                <a:lnTo>
                  <a:pt x="193" y="2406"/>
                </a:lnTo>
                <a:lnTo>
                  <a:pt x="206" y="2409"/>
                </a:lnTo>
                <a:lnTo>
                  <a:pt x="234" y="2418"/>
                </a:lnTo>
                <a:lnTo>
                  <a:pt x="263" y="2432"/>
                </a:lnTo>
                <a:lnTo>
                  <a:pt x="295" y="2447"/>
                </a:lnTo>
                <a:lnTo>
                  <a:pt x="325" y="2466"/>
                </a:lnTo>
                <a:lnTo>
                  <a:pt x="355" y="2486"/>
                </a:lnTo>
                <a:lnTo>
                  <a:pt x="384" y="2508"/>
                </a:lnTo>
                <a:lnTo>
                  <a:pt x="411" y="2531"/>
                </a:lnTo>
                <a:lnTo>
                  <a:pt x="435" y="2554"/>
                </a:lnTo>
                <a:lnTo>
                  <a:pt x="445" y="2565"/>
                </a:lnTo>
                <a:lnTo>
                  <a:pt x="454" y="2577"/>
                </a:lnTo>
                <a:lnTo>
                  <a:pt x="462" y="2588"/>
                </a:lnTo>
                <a:lnTo>
                  <a:pt x="469" y="2599"/>
                </a:lnTo>
                <a:lnTo>
                  <a:pt x="474" y="2610"/>
                </a:lnTo>
                <a:lnTo>
                  <a:pt x="477" y="2620"/>
                </a:lnTo>
                <a:lnTo>
                  <a:pt x="480" y="2630"/>
                </a:lnTo>
                <a:lnTo>
                  <a:pt x="480" y="2640"/>
                </a:lnTo>
                <a:lnTo>
                  <a:pt x="479" y="2649"/>
                </a:lnTo>
                <a:lnTo>
                  <a:pt x="475" y="2657"/>
                </a:lnTo>
                <a:lnTo>
                  <a:pt x="475" y="2657"/>
                </a:lnTo>
                <a:close/>
                <a:moveTo>
                  <a:pt x="490" y="2117"/>
                </a:moveTo>
                <a:lnTo>
                  <a:pt x="1692" y="455"/>
                </a:lnTo>
                <a:lnTo>
                  <a:pt x="1692" y="455"/>
                </a:lnTo>
                <a:lnTo>
                  <a:pt x="1694" y="453"/>
                </a:lnTo>
                <a:lnTo>
                  <a:pt x="1699" y="450"/>
                </a:lnTo>
                <a:lnTo>
                  <a:pt x="1708" y="446"/>
                </a:lnTo>
                <a:lnTo>
                  <a:pt x="1713" y="444"/>
                </a:lnTo>
                <a:lnTo>
                  <a:pt x="1720" y="443"/>
                </a:lnTo>
                <a:lnTo>
                  <a:pt x="1728" y="443"/>
                </a:lnTo>
                <a:lnTo>
                  <a:pt x="1737" y="444"/>
                </a:lnTo>
                <a:lnTo>
                  <a:pt x="1748" y="445"/>
                </a:lnTo>
                <a:lnTo>
                  <a:pt x="1760" y="449"/>
                </a:lnTo>
                <a:lnTo>
                  <a:pt x="1773" y="452"/>
                </a:lnTo>
                <a:lnTo>
                  <a:pt x="1788" y="460"/>
                </a:lnTo>
                <a:lnTo>
                  <a:pt x="1803" y="468"/>
                </a:lnTo>
                <a:lnTo>
                  <a:pt x="1821" y="478"/>
                </a:lnTo>
                <a:lnTo>
                  <a:pt x="1821" y="478"/>
                </a:lnTo>
                <a:lnTo>
                  <a:pt x="1836" y="489"/>
                </a:lnTo>
                <a:lnTo>
                  <a:pt x="1849" y="499"/>
                </a:lnTo>
                <a:lnTo>
                  <a:pt x="1859" y="509"/>
                </a:lnTo>
                <a:lnTo>
                  <a:pt x="1867" y="520"/>
                </a:lnTo>
                <a:lnTo>
                  <a:pt x="1875" y="530"/>
                </a:lnTo>
                <a:lnTo>
                  <a:pt x="1880" y="539"/>
                </a:lnTo>
                <a:lnTo>
                  <a:pt x="1883" y="549"/>
                </a:lnTo>
                <a:lnTo>
                  <a:pt x="1887" y="558"/>
                </a:lnTo>
                <a:lnTo>
                  <a:pt x="1888" y="565"/>
                </a:lnTo>
                <a:lnTo>
                  <a:pt x="1888" y="572"/>
                </a:lnTo>
                <a:lnTo>
                  <a:pt x="1888" y="584"/>
                </a:lnTo>
                <a:lnTo>
                  <a:pt x="1887" y="591"/>
                </a:lnTo>
                <a:lnTo>
                  <a:pt x="1886" y="594"/>
                </a:lnTo>
                <a:lnTo>
                  <a:pt x="624" y="2291"/>
                </a:lnTo>
                <a:lnTo>
                  <a:pt x="624" y="2094"/>
                </a:lnTo>
                <a:lnTo>
                  <a:pt x="490" y="2117"/>
                </a:lnTo>
                <a:close/>
                <a:moveTo>
                  <a:pt x="2117" y="835"/>
                </a:moveTo>
                <a:lnTo>
                  <a:pt x="937" y="2462"/>
                </a:lnTo>
                <a:lnTo>
                  <a:pt x="902" y="2386"/>
                </a:lnTo>
                <a:lnTo>
                  <a:pt x="750" y="2359"/>
                </a:lnTo>
                <a:lnTo>
                  <a:pt x="1973" y="677"/>
                </a:lnTo>
                <a:lnTo>
                  <a:pt x="1973" y="677"/>
                </a:lnTo>
                <a:lnTo>
                  <a:pt x="1975" y="676"/>
                </a:lnTo>
                <a:lnTo>
                  <a:pt x="1979" y="672"/>
                </a:lnTo>
                <a:lnTo>
                  <a:pt x="1987" y="669"/>
                </a:lnTo>
                <a:lnTo>
                  <a:pt x="1992" y="669"/>
                </a:lnTo>
                <a:lnTo>
                  <a:pt x="1998" y="668"/>
                </a:lnTo>
                <a:lnTo>
                  <a:pt x="2005" y="669"/>
                </a:lnTo>
                <a:lnTo>
                  <a:pt x="2014" y="670"/>
                </a:lnTo>
                <a:lnTo>
                  <a:pt x="2022" y="674"/>
                </a:lnTo>
                <a:lnTo>
                  <a:pt x="2032" y="679"/>
                </a:lnTo>
                <a:lnTo>
                  <a:pt x="2043" y="685"/>
                </a:lnTo>
                <a:lnTo>
                  <a:pt x="2055" y="693"/>
                </a:lnTo>
                <a:lnTo>
                  <a:pt x="2067" y="704"/>
                </a:lnTo>
                <a:lnTo>
                  <a:pt x="2080" y="718"/>
                </a:lnTo>
                <a:lnTo>
                  <a:pt x="2080" y="718"/>
                </a:lnTo>
                <a:lnTo>
                  <a:pt x="2091" y="731"/>
                </a:lnTo>
                <a:lnTo>
                  <a:pt x="2101" y="741"/>
                </a:lnTo>
                <a:lnTo>
                  <a:pt x="2108" y="754"/>
                </a:lnTo>
                <a:lnTo>
                  <a:pt x="2113" y="764"/>
                </a:lnTo>
                <a:lnTo>
                  <a:pt x="2118" y="774"/>
                </a:lnTo>
                <a:lnTo>
                  <a:pt x="2120" y="784"/>
                </a:lnTo>
                <a:lnTo>
                  <a:pt x="2121" y="793"/>
                </a:lnTo>
                <a:lnTo>
                  <a:pt x="2123" y="801"/>
                </a:lnTo>
                <a:lnTo>
                  <a:pt x="2121" y="815"/>
                </a:lnTo>
                <a:lnTo>
                  <a:pt x="2120" y="826"/>
                </a:lnTo>
                <a:lnTo>
                  <a:pt x="2118" y="832"/>
                </a:lnTo>
                <a:lnTo>
                  <a:pt x="2117" y="835"/>
                </a:lnTo>
                <a:lnTo>
                  <a:pt x="2117" y="835"/>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p>
        </p:txBody>
      </p:sp>
      <p:sp>
        <p:nvSpPr>
          <p:cNvPr id="3" name="Up-Down Arrow 2"/>
          <p:cNvSpPr/>
          <p:nvPr/>
        </p:nvSpPr>
        <p:spPr>
          <a:xfrm rot="16200000">
            <a:off x="2551245" y="3029819"/>
            <a:ext cx="137430" cy="842465"/>
          </a:xfrm>
          <a:prstGeom prst="upDownArrow">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9" name="Oval 8"/>
          <p:cNvSpPr/>
          <p:nvPr/>
        </p:nvSpPr>
        <p:spPr>
          <a:xfrm>
            <a:off x="2525982" y="3347676"/>
            <a:ext cx="187954" cy="206749"/>
          </a:xfrm>
          <a:prstGeom prst="ellipse">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49" name="TextBox 48"/>
          <p:cNvSpPr txBox="1"/>
          <p:nvPr/>
        </p:nvSpPr>
        <p:spPr>
          <a:xfrm>
            <a:off x="348526" y="1937981"/>
            <a:ext cx="3582029" cy="4333494"/>
          </a:xfrm>
          <a:prstGeom prst="rect">
            <a:avLst/>
          </a:prstGeom>
          <a:noFill/>
        </p:spPr>
        <p:txBody>
          <a:bodyPr wrap="square" lIns="0" tIns="0" rIns="0" bIns="0" rtlCol="0">
            <a:spAutoFit/>
          </a:bodyPr>
          <a:lstStyle/>
          <a:p>
            <a:pPr marL="342900" lvl="0" indent="-342900" defTabSz="914400" fontAlgn="auto">
              <a:spcBef>
                <a:spcPct val="20000"/>
              </a:spcBef>
              <a:spcAft>
                <a:spcPts val="0"/>
              </a:spcAft>
              <a:buClr>
                <a:srgbClr val="4F81BD"/>
              </a:buClr>
              <a:buSzPct val="70000"/>
              <a:buFont typeface="Wingdings 2"/>
              <a:buChar char=""/>
            </a:pPr>
            <a:r>
              <a:rPr lang="en-US" sz="3200" b="1" i="1" dirty="0" smtClean="0">
                <a:latin typeface="Franklin Gothic Book"/>
                <a:ea typeface="+mn-ea"/>
                <a:cs typeface="+mn-cs"/>
              </a:rPr>
              <a:t>Digitization</a:t>
            </a:r>
          </a:p>
          <a:p>
            <a:pPr marL="342900" lvl="0" indent="-342900" defTabSz="914400" fontAlgn="auto">
              <a:spcBef>
                <a:spcPct val="20000"/>
              </a:spcBef>
              <a:spcAft>
                <a:spcPts val="0"/>
              </a:spcAft>
              <a:buClr>
                <a:srgbClr val="4F81BD"/>
              </a:buClr>
              <a:buSzPct val="70000"/>
              <a:buFont typeface="Wingdings 2"/>
              <a:buChar char=""/>
            </a:pPr>
            <a:r>
              <a:rPr lang="en-US" sz="3200" b="1" i="1" dirty="0" smtClean="0">
                <a:latin typeface="Franklin Gothic Book"/>
                <a:ea typeface="+mn-ea"/>
                <a:cs typeface="+mn-cs"/>
              </a:rPr>
              <a:t>Television Coverage </a:t>
            </a:r>
          </a:p>
          <a:p>
            <a:pPr marL="342900" lvl="0" indent="-342900" defTabSz="914400" fontAlgn="auto">
              <a:spcBef>
                <a:spcPct val="20000"/>
              </a:spcBef>
              <a:spcAft>
                <a:spcPts val="0"/>
              </a:spcAft>
              <a:buClr>
                <a:srgbClr val="4F81BD"/>
              </a:buClr>
              <a:buSzPct val="70000"/>
              <a:buFont typeface="Wingdings 2"/>
              <a:buChar char=""/>
            </a:pPr>
            <a:r>
              <a:rPr lang="en-US" sz="3200" b="1" i="1" dirty="0" smtClean="0">
                <a:latin typeface="Franklin Gothic Book"/>
                <a:ea typeface="+mn-ea"/>
                <a:cs typeface="+mn-cs"/>
              </a:rPr>
              <a:t>Media Initiatives</a:t>
            </a:r>
          </a:p>
          <a:p>
            <a:pPr marL="342900" lvl="0" indent="-342900" defTabSz="914400" fontAlgn="auto">
              <a:spcBef>
                <a:spcPct val="20000"/>
              </a:spcBef>
              <a:spcAft>
                <a:spcPts val="0"/>
              </a:spcAft>
              <a:buClr>
                <a:srgbClr val="4F81BD"/>
              </a:buClr>
              <a:buSzPct val="70000"/>
              <a:buFont typeface="Wingdings 2"/>
              <a:buChar char=""/>
            </a:pPr>
            <a:r>
              <a:rPr lang="en-US" sz="3200" b="1" i="1" dirty="0" smtClean="0">
                <a:latin typeface="Franklin Gothic Book"/>
                <a:ea typeface="+mn-ea"/>
                <a:cs typeface="+mn-cs"/>
              </a:rPr>
              <a:t>Right to Information Bill</a:t>
            </a:r>
          </a:p>
          <a:p>
            <a:pPr marL="342900" lvl="0" indent="-342900" defTabSz="914400" fontAlgn="auto">
              <a:spcBef>
                <a:spcPct val="20000"/>
              </a:spcBef>
              <a:spcAft>
                <a:spcPts val="0"/>
              </a:spcAft>
              <a:buClr>
                <a:srgbClr val="4F81BD"/>
              </a:buClr>
              <a:buSzPct val="70000"/>
              <a:buFont typeface="Wingdings 2"/>
              <a:buChar char=""/>
            </a:pPr>
            <a:r>
              <a:rPr lang="en-US" sz="3200" b="1" i="1" dirty="0" smtClean="0">
                <a:latin typeface="Franklin Gothic Book"/>
                <a:ea typeface="+mn-ea"/>
                <a:cs typeface="+mn-cs"/>
              </a:rPr>
              <a:t>Pre Legislative Process bill</a:t>
            </a:r>
          </a:p>
        </p:txBody>
      </p:sp>
      <p:pic>
        <p:nvPicPr>
          <p:cNvPr id="12" name="Picture 11" descr="0.jpg"/>
          <p:cNvPicPr>
            <a:picLocks noChangeAspect="1"/>
          </p:cNvPicPr>
          <p:nvPr/>
        </p:nvPicPr>
        <p:blipFill>
          <a:blip r:embed="rId5"/>
          <a:stretch>
            <a:fillRect/>
          </a:stretch>
        </p:blipFill>
        <p:spPr>
          <a:xfrm>
            <a:off x="3766782" y="1762806"/>
            <a:ext cx="5148618" cy="4942793"/>
          </a:xfrm>
          <a:prstGeom prst="rect">
            <a:avLst/>
          </a:prstGeom>
        </p:spPr>
      </p:pic>
      <p:sp>
        <p:nvSpPr>
          <p:cNvPr id="13" name="Rectangle 12"/>
          <p:cNvSpPr/>
          <p:nvPr/>
        </p:nvSpPr>
        <p:spPr>
          <a:xfrm>
            <a:off x="427936" y="6451683"/>
            <a:ext cx="3161425" cy="253916"/>
          </a:xfrm>
          <a:prstGeom prst="rect">
            <a:avLst/>
          </a:prstGeom>
        </p:spPr>
        <p:txBody>
          <a:bodyPr wrap="square">
            <a:spAutoFit/>
          </a:bodyPr>
          <a:lstStyle/>
          <a:p>
            <a:r>
              <a:rPr lang="en-US" sz="1050" b="1" i="1" dirty="0" smtClean="0"/>
              <a:t>What deters the unveiling of Legislative Process?</a:t>
            </a:r>
            <a:endParaRPr lang="en-US" sz="1050" dirty="0"/>
          </a:p>
        </p:txBody>
      </p:sp>
    </p:spTree>
    <p:extLst>
      <p:ext uri="{BB962C8B-B14F-4D97-AF65-F5344CB8AC3E}">
        <p14:creationId xmlns:p14="http://schemas.microsoft.com/office/powerpoint/2010/main" xmlns="" val="3796730251"/>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withEffect">
                                  <p:stCondLst>
                                    <p:cond delay="0"/>
                                  </p:stCondLst>
                                  <p:childTnLst>
                                    <p:animRot by="10800000">
                                      <p:cBhvr>
                                        <p:cTn id="6" dur="750" fill="hold"/>
                                        <p:tgtEl>
                                          <p:spTgt spid="3"/>
                                        </p:tgtEl>
                                        <p:attrNameLst>
                                          <p:attrName>r</p:attrName>
                                        </p:attrNameLst>
                                      </p:cBhvr>
                                    </p:animRot>
                                  </p:childTnLst>
                                </p:cTn>
                              </p:par>
                            </p:childTnLst>
                          </p:cTn>
                        </p:par>
                        <p:par>
                          <p:cTn id="7" fill="hold">
                            <p:stCondLst>
                              <p:cond delay="750"/>
                            </p:stCondLst>
                            <p:childTnLst>
                              <p:par>
                                <p:cTn id="8" presetID="32" presetClass="emph" presetSubtype="0" fill="hold" grpId="0" nodeType="afterEffect">
                                  <p:stCondLst>
                                    <p:cond delay="0"/>
                                  </p:stCondLst>
                                  <p:childTnLst>
                                    <p:animRot by="120000">
                                      <p:cBhvr>
                                        <p:cTn id="9" dur="75" fill="hold">
                                          <p:stCondLst>
                                            <p:cond delay="0"/>
                                          </p:stCondLst>
                                        </p:cTn>
                                        <p:tgtEl>
                                          <p:spTgt spid="39"/>
                                        </p:tgtEl>
                                        <p:attrNameLst>
                                          <p:attrName>r</p:attrName>
                                        </p:attrNameLst>
                                      </p:cBhvr>
                                    </p:animRot>
                                    <p:animRot by="-240000">
                                      <p:cBhvr>
                                        <p:cTn id="10" dur="150" fill="hold">
                                          <p:stCondLst>
                                            <p:cond delay="150"/>
                                          </p:stCondLst>
                                        </p:cTn>
                                        <p:tgtEl>
                                          <p:spTgt spid="39"/>
                                        </p:tgtEl>
                                        <p:attrNameLst>
                                          <p:attrName>r</p:attrName>
                                        </p:attrNameLst>
                                      </p:cBhvr>
                                    </p:animRot>
                                    <p:animRot by="240000">
                                      <p:cBhvr>
                                        <p:cTn id="11" dur="150" fill="hold">
                                          <p:stCondLst>
                                            <p:cond delay="300"/>
                                          </p:stCondLst>
                                        </p:cTn>
                                        <p:tgtEl>
                                          <p:spTgt spid="39"/>
                                        </p:tgtEl>
                                        <p:attrNameLst>
                                          <p:attrName>r</p:attrName>
                                        </p:attrNameLst>
                                      </p:cBhvr>
                                    </p:animRot>
                                    <p:animRot by="-240000">
                                      <p:cBhvr>
                                        <p:cTn id="12" dur="150" fill="hold">
                                          <p:stCondLst>
                                            <p:cond delay="450"/>
                                          </p:stCondLst>
                                        </p:cTn>
                                        <p:tgtEl>
                                          <p:spTgt spid="39"/>
                                        </p:tgtEl>
                                        <p:attrNameLst>
                                          <p:attrName>r</p:attrName>
                                        </p:attrNameLst>
                                      </p:cBhvr>
                                    </p:animRot>
                                    <p:animRot by="120000">
                                      <p:cBhvr>
                                        <p:cTn id="13" dur="150" fill="hold">
                                          <p:stCondLst>
                                            <p:cond delay="600"/>
                                          </p:stCondLst>
                                        </p:cTn>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660401"/>
            <a:ext cx="7772400" cy="756276"/>
          </a:xfrm>
        </p:spPr>
        <p:txBody>
          <a:bodyPr/>
          <a:lstStyle/>
          <a:p>
            <a:r>
              <a:rPr lang="en-US" sz="3600" dirty="0" smtClean="0"/>
              <a:t/>
            </a:r>
            <a:br>
              <a:rPr lang="en-US" sz="3600" dirty="0" smtClean="0"/>
            </a:br>
            <a:r>
              <a:rPr lang="en-US" sz="3600" dirty="0" smtClean="0"/>
              <a:t/>
            </a:r>
            <a:br>
              <a:rPr lang="en-US" sz="3600" dirty="0" smtClean="0"/>
            </a:br>
            <a:r>
              <a:rPr lang="en-US" sz="3600" dirty="0" smtClean="0">
                <a:solidFill>
                  <a:srgbClr val="0D65AC"/>
                </a:solidFill>
              </a:rPr>
              <a:t>Problem</a:t>
            </a:r>
            <a:br>
              <a:rPr lang="en-US" sz="3600" dirty="0" smtClean="0">
                <a:solidFill>
                  <a:srgbClr val="0D65AC"/>
                </a:solidFill>
              </a:rPr>
            </a:br>
            <a:r>
              <a:rPr lang="en-US" sz="3600" dirty="0" smtClean="0"/>
              <a:t/>
            </a:r>
            <a:br>
              <a:rPr lang="en-US" sz="3600" dirty="0" smtClean="0"/>
            </a:br>
            <a:endParaRPr lang="en-US" sz="3600" dirty="0"/>
          </a:p>
        </p:txBody>
      </p:sp>
      <p:sp>
        <p:nvSpPr>
          <p:cNvPr id="4" name="TextBox 3"/>
          <p:cNvSpPr txBox="1"/>
          <p:nvPr/>
        </p:nvSpPr>
        <p:spPr>
          <a:xfrm>
            <a:off x="685800" y="1712890"/>
            <a:ext cx="7772400" cy="4154984"/>
          </a:xfrm>
          <a:prstGeom prst="rect">
            <a:avLst/>
          </a:prstGeom>
          <a:noFill/>
        </p:spPr>
        <p:txBody>
          <a:bodyPr wrap="square" rtlCol="0">
            <a:spAutoFit/>
          </a:bodyPr>
          <a:lstStyle/>
          <a:p>
            <a:pPr marL="342900" indent="-342900" algn="just"/>
            <a:r>
              <a:rPr lang="en-US" sz="2400" dirty="0" smtClean="0"/>
              <a:t>Transparency in the Law making Process in developing but highly democratic  countries like India is limited by :</a:t>
            </a:r>
          </a:p>
          <a:p>
            <a:pPr marL="342900" indent="-342900" algn="just"/>
            <a:endParaRPr lang="en-US" sz="2400" dirty="0" smtClean="0"/>
          </a:p>
          <a:p>
            <a:pPr marL="800100" lvl="1" indent="-342900" algn="just">
              <a:buFont typeface="+mj-lt"/>
              <a:buAutoNum type="arabicPeriod"/>
            </a:pPr>
            <a:r>
              <a:rPr lang="en-US" sz="2400" dirty="0" smtClean="0"/>
              <a:t>Difficulties of locating the process of law making</a:t>
            </a:r>
          </a:p>
          <a:p>
            <a:pPr marL="800100" lvl="1" indent="-342900" algn="just">
              <a:buFont typeface="+mj-lt"/>
              <a:buAutoNum type="arabicPeriod"/>
            </a:pPr>
            <a:r>
              <a:rPr lang="en-US" sz="2400" dirty="0" smtClean="0"/>
              <a:t>Locating the actors</a:t>
            </a:r>
          </a:p>
          <a:p>
            <a:pPr marL="800100" lvl="1" indent="-342900" algn="just">
              <a:buFont typeface="+mj-lt"/>
              <a:buAutoNum type="arabicPeriod"/>
            </a:pPr>
            <a:r>
              <a:rPr lang="en-US" sz="2400" dirty="0" smtClean="0"/>
              <a:t>Defining  Law making</a:t>
            </a:r>
          </a:p>
          <a:p>
            <a:pPr marL="800100" lvl="1" indent="-342900" algn="just">
              <a:buFont typeface="+mj-lt"/>
              <a:buAutoNum type="arabicPeriod"/>
            </a:pPr>
            <a:r>
              <a:rPr lang="en-US" sz="2400" dirty="0" smtClean="0"/>
              <a:t>Primary function of the Legislature : Lawmaking Vs. Representation</a:t>
            </a:r>
          </a:p>
          <a:p>
            <a:pPr marL="800100" lvl="1" indent="-342900" algn="just">
              <a:buFont typeface="+mj-lt"/>
              <a:buAutoNum type="arabicPeriod"/>
            </a:pPr>
            <a:r>
              <a:rPr lang="en-US" sz="2400" dirty="0" smtClean="0"/>
              <a:t>Apathy of Actors ( MP’s and citizens) to law making functions</a:t>
            </a:r>
          </a:p>
          <a:p>
            <a:pPr marL="800100" lvl="1" indent="-342900" algn="just">
              <a:buFont typeface="+mj-lt"/>
              <a:buAutoNum type="arabicPeriod"/>
            </a:pPr>
            <a:r>
              <a:rPr lang="en-US" sz="2400" dirty="0" smtClean="0"/>
              <a:t>Institutional Bottlenecks</a:t>
            </a:r>
            <a:endParaRPr lang="en-US" sz="2400" dirty="0"/>
          </a:p>
        </p:txBody>
      </p:sp>
      <p:cxnSp>
        <p:nvCxnSpPr>
          <p:cNvPr id="5" name="Straight Connector 4"/>
          <p:cNvCxnSpPr/>
          <p:nvPr/>
        </p:nvCxnSpPr>
        <p:spPr>
          <a:xfrm rot="5400000">
            <a:off x="4594178" y="-1902157"/>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spd="med">
    <p:plus/>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pPr algn="l">
              <a:defRPr/>
            </a:pPr>
            <a:r>
              <a:rPr lang="en-US" b="1" i="1" dirty="0" smtClean="0"/>
              <a:t>What deters the unveiling of Legislative Process?</a:t>
            </a:r>
            <a:endParaRPr lang="en-US" b="1" i="1" dirty="0"/>
          </a:p>
        </p:txBody>
      </p:sp>
      <p:sp>
        <p:nvSpPr>
          <p:cNvPr id="4" name="Slide Number Placeholder 3"/>
          <p:cNvSpPr>
            <a:spLocks noGrp="1"/>
          </p:cNvSpPr>
          <p:nvPr>
            <p:ph type="sldNum" sz="quarter" idx="12"/>
          </p:nvPr>
        </p:nvSpPr>
        <p:spPr/>
        <p:txBody>
          <a:bodyPr/>
          <a:lstStyle/>
          <a:p>
            <a:fld id="{EA72F2ED-C0F1-A14B-BA46-C5847C658EB2}" type="slidenum">
              <a:rPr lang="en-US" smtClean="0"/>
              <a:pPr/>
              <a:t>20</a:t>
            </a:fld>
            <a:endParaRPr lang="en-US" dirty="0"/>
          </a:p>
        </p:txBody>
      </p:sp>
      <p:pic>
        <p:nvPicPr>
          <p:cNvPr id="10" name="Content Placeholder 9" descr="IMG_20140521_115813507.JPG"/>
          <p:cNvPicPr>
            <a:picLocks noGrp="1" noChangeAspect="1"/>
          </p:cNvPicPr>
          <p:nvPr>
            <p:ph idx="4294967295"/>
          </p:nvPr>
        </p:nvPicPr>
        <p:blipFill>
          <a:blip r:embed="rId3"/>
          <a:stretch>
            <a:fillRect/>
          </a:stretch>
        </p:blipFill>
        <p:spPr>
          <a:xfrm>
            <a:off x="316582" y="1057872"/>
            <a:ext cx="4958681" cy="4899639"/>
          </a:xfrm>
          <a:scene3d>
            <a:camera prst="perspectiveAbove"/>
            <a:lightRig rig="threePt" dir="t"/>
          </a:scene3d>
        </p:spPr>
      </p:pic>
      <p:sp>
        <p:nvSpPr>
          <p:cNvPr id="11" name="TextBox 10"/>
          <p:cNvSpPr txBox="1"/>
          <p:nvPr/>
        </p:nvSpPr>
        <p:spPr>
          <a:xfrm>
            <a:off x="6130978" y="6380807"/>
            <a:ext cx="2773180" cy="276999"/>
          </a:xfrm>
          <a:prstGeom prst="rect">
            <a:avLst/>
          </a:prstGeom>
          <a:solidFill>
            <a:schemeClr val="accent2">
              <a:lumMod val="20000"/>
              <a:lumOff val="80000"/>
            </a:schemeClr>
          </a:solidFill>
        </p:spPr>
        <p:txBody>
          <a:bodyPr wrap="square" rtlCol="0">
            <a:spAutoFit/>
          </a:bodyPr>
          <a:lstStyle/>
          <a:p>
            <a:r>
              <a:rPr lang="en-US" sz="1200" b="1" i="1" dirty="0" smtClean="0"/>
              <a:t>Source</a:t>
            </a:r>
            <a:r>
              <a:rPr lang="en-US" sz="1200" b="1" i="1" u="sng" dirty="0" smtClean="0">
                <a:solidFill>
                  <a:schemeClr val="bg2">
                    <a:lumMod val="75000"/>
                  </a:schemeClr>
                </a:solidFill>
              </a:rPr>
              <a:t>: </a:t>
            </a:r>
            <a:r>
              <a:rPr lang="en-US" sz="1200" b="1" i="1" u="sng" dirty="0" smtClean="0"/>
              <a:t>www.parliament of India.nic.in</a:t>
            </a:r>
            <a:endParaRPr lang="en-US" sz="1200" b="1" i="1" u="sng" dirty="0"/>
          </a:p>
        </p:txBody>
      </p:sp>
      <p:pic>
        <p:nvPicPr>
          <p:cNvPr id="12" name="Picture 11" descr="2.JPG"/>
          <p:cNvPicPr>
            <a:picLocks noChangeAspect="1"/>
          </p:cNvPicPr>
          <p:nvPr/>
        </p:nvPicPr>
        <p:blipFill>
          <a:blip r:embed="rId4"/>
          <a:stretch>
            <a:fillRect/>
          </a:stretch>
        </p:blipFill>
        <p:spPr>
          <a:xfrm>
            <a:off x="5006715" y="1057873"/>
            <a:ext cx="3897442" cy="4899639"/>
          </a:xfrm>
          <a:prstGeom prst="rect">
            <a:avLst/>
          </a:prstGeom>
          <a:scene3d>
            <a:camera prst="perspectiveFront"/>
            <a:lightRig rig="threePt" dir="t"/>
          </a:scene3d>
        </p:spPr>
      </p:pic>
      <p:sp>
        <p:nvSpPr>
          <p:cNvPr id="15" name="TextBox 14"/>
          <p:cNvSpPr txBox="1"/>
          <p:nvPr/>
        </p:nvSpPr>
        <p:spPr>
          <a:xfrm>
            <a:off x="3268797" y="344774"/>
            <a:ext cx="3207895" cy="523220"/>
          </a:xfrm>
          <a:prstGeom prst="rect">
            <a:avLst/>
          </a:prstGeom>
          <a:noFill/>
        </p:spPr>
        <p:txBody>
          <a:bodyPr wrap="square" rtlCol="0">
            <a:spAutoFit/>
          </a:bodyPr>
          <a:lstStyle/>
          <a:p>
            <a:pPr algn="ctr"/>
            <a:r>
              <a:rPr lang="en-US" sz="2800" b="1" dirty="0" smtClean="0">
                <a:solidFill>
                  <a:srgbClr val="0070C0"/>
                </a:solidFill>
              </a:rPr>
              <a:t>Digitization</a:t>
            </a:r>
            <a:endParaRPr lang="en-US" sz="2800" b="1" dirty="0">
              <a:solidFill>
                <a:srgbClr val="0070C0"/>
              </a:solidFill>
            </a:endParaRPr>
          </a:p>
        </p:txBody>
      </p:sp>
      <p:cxnSp>
        <p:nvCxnSpPr>
          <p:cNvPr id="8" name="Straight Connector 7"/>
          <p:cNvCxnSpPr/>
          <p:nvPr/>
        </p:nvCxnSpPr>
        <p:spPr>
          <a:xfrm rot="10800000">
            <a:off x="3268800" y="867994"/>
            <a:ext cx="3207893" cy="1"/>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spd="med">
    <p:plus/>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xmlns="" val="1220212714"/>
              </p:ext>
            </p:extLst>
          </p:nvPr>
        </p:nvGraphicFramePr>
        <p:xfrm>
          <a:off x="1588" y="1588"/>
          <a:ext cx="1587" cy="1587"/>
        </p:xfrm>
        <a:graphic>
          <a:graphicData uri="http://schemas.openxmlformats.org/presentationml/2006/ole">
            <p:oleObj spid="_x0000_s38914" name="think-cell Slide" r:id="rId4" imgW="360" imgH="360" progId="">
              <p:embed/>
            </p:oleObj>
          </a:graphicData>
        </a:graphic>
      </p:graphicFrame>
      <p:sp>
        <p:nvSpPr>
          <p:cNvPr id="8" name="TextBox 7"/>
          <p:cNvSpPr txBox="1"/>
          <p:nvPr/>
        </p:nvSpPr>
        <p:spPr>
          <a:xfrm>
            <a:off x="373197" y="777922"/>
            <a:ext cx="8543925" cy="492443"/>
          </a:xfrm>
          <a:prstGeom prst="rect">
            <a:avLst/>
          </a:prstGeom>
          <a:noFill/>
        </p:spPr>
        <p:txBody>
          <a:bodyPr wrap="square" lIns="0" tIns="0" rIns="0" bIns="0" rtlCol="0">
            <a:spAutoFit/>
          </a:bodyPr>
          <a:lstStyle/>
          <a:p>
            <a:pPr algn="ctr"/>
            <a:r>
              <a:rPr lang="en-US" sz="3200" b="1" dirty="0" smtClean="0">
                <a:solidFill>
                  <a:srgbClr val="0B538F"/>
                </a:solidFill>
                <a:latin typeface="+mj-lt"/>
              </a:rPr>
              <a:t>Right to Information Act</a:t>
            </a:r>
            <a:endParaRPr lang="en-US" sz="3200" b="1" dirty="0">
              <a:solidFill>
                <a:srgbClr val="0B538F"/>
              </a:solidFill>
              <a:latin typeface="+mj-lt"/>
            </a:endParaRPr>
          </a:p>
        </p:txBody>
      </p:sp>
      <p:cxnSp>
        <p:nvCxnSpPr>
          <p:cNvPr id="11" name="Straight Connector 10"/>
          <p:cNvCxnSpPr/>
          <p:nvPr/>
        </p:nvCxnSpPr>
        <p:spPr>
          <a:xfrm rot="5400000">
            <a:off x="4594178" y="-1902157"/>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39" name="Freeform 13"/>
          <p:cNvSpPr>
            <a:spLocks noEditPoints="1"/>
          </p:cNvSpPr>
          <p:nvPr/>
        </p:nvSpPr>
        <p:spPr bwMode="auto">
          <a:xfrm rot="10585247" flipV="1">
            <a:off x="4417312" y="3187267"/>
            <a:ext cx="437938" cy="527565"/>
          </a:xfrm>
          <a:custGeom>
            <a:avLst/>
            <a:gdLst>
              <a:gd name="T0" fmla="*/ 2022 w 2403"/>
              <a:gd name="T1" fmla="*/ 144 h 2897"/>
              <a:gd name="T2" fmla="*/ 1852 w 2403"/>
              <a:gd name="T3" fmla="*/ 57 h 2897"/>
              <a:gd name="T4" fmla="*/ 1632 w 2403"/>
              <a:gd name="T5" fmla="*/ 1 h 2897"/>
              <a:gd name="T6" fmla="*/ 1548 w 2403"/>
              <a:gd name="T7" fmla="*/ 2 h 2897"/>
              <a:gd name="T8" fmla="*/ 1491 w 2403"/>
              <a:gd name="T9" fmla="*/ 23 h 2897"/>
              <a:gd name="T10" fmla="*/ 785 w 2403"/>
              <a:gd name="T11" fmla="*/ 948 h 2897"/>
              <a:gd name="T12" fmla="*/ 48 w 2403"/>
              <a:gd name="T13" fmla="*/ 1933 h 2897"/>
              <a:gd name="T14" fmla="*/ 30 w 2403"/>
              <a:gd name="T15" fmla="*/ 1995 h 2897"/>
              <a:gd name="T16" fmla="*/ 3 w 2403"/>
              <a:gd name="T17" fmla="*/ 2340 h 2897"/>
              <a:gd name="T18" fmla="*/ 7 w 2403"/>
              <a:gd name="T19" fmla="*/ 2732 h 2897"/>
              <a:gd name="T20" fmla="*/ 27 w 2403"/>
              <a:gd name="T21" fmla="*/ 2871 h 2897"/>
              <a:gd name="T22" fmla="*/ 42 w 2403"/>
              <a:gd name="T23" fmla="*/ 2891 h 2897"/>
              <a:gd name="T24" fmla="*/ 118 w 2403"/>
              <a:gd name="T25" fmla="*/ 2896 h 2897"/>
              <a:gd name="T26" fmla="*/ 340 w 2403"/>
              <a:gd name="T27" fmla="*/ 2850 h 2897"/>
              <a:gd name="T28" fmla="*/ 724 w 2403"/>
              <a:gd name="T29" fmla="*/ 2722 h 2897"/>
              <a:gd name="T30" fmla="*/ 926 w 2403"/>
              <a:gd name="T31" fmla="*/ 2628 h 2897"/>
              <a:gd name="T32" fmla="*/ 987 w 2403"/>
              <a:gd name="T33" fmla="*/ 2578 h 2897"/>
              <a:gd name="T34" fmla="*/ 1454 w 2403"/>
              <a:gd name="T35" fmla="*/ 1961 h 2897"/>
              <a:gd name="T36" fmla="*/ 2390 w 2403"/>
              <a:gd name="T37" fmla="*/ 675 h 2897"/>
              <a:gd name="T38" fmla="*/ 2403 w 2403"/>
              <a:gd name="T39" fmla="*/ 631 h 2897"/>
              <a:gd name="T40" fmla="*/ 2392 w 2403"/>
              <a:gd name="T41" fmla="*/ 562 h 2897"/>
              <a:gd name="T42" fmla="*/ 2334 w 2403"/>
              <a:gd name="T43" fmla="*/ 447 h 2897"/>
              <a:gd name="T44" fmla="*/ 2193 w 2403"/>
              <a:gd name="T45" fmla="*/ 279 h 2897"/>
              <a:gd name="T46" fmla="*/ 1398 w 2403"/>
              <a:gd name="T47" fmla="*/ 308 h 2897"/>
              <a:gd name="T48" fmla="*/ 1421 w 2403"/>
              <a:gd name="T49" fmla="*/ 290 h 2897"/>
              <a:gd name="T50" fmla="*/ 1468 w 2403"/>
              <a:gd name="T51" fmla="*/ 287 h 2897"/>
              <a:gd name="T52" fmla="*/ 1528 w 2403"/>
              <a:gd name="T53" fmla="*/ 313 h 2897"/>
              <a:gd name="T54" fmla="*/ 1580 w 2403"/>
              <a:gd name="T55" fmla="*/ 368 h 2897"/>
              <a:gd name="T56" fmla="*/ 1587 w 2403"/>
              <a:gd name="T57" fmla="*/ 409 h 2897"/>
              <a:gd name="T58" fmla="*/ 337 w 2403"/>
              <a:gd name="T59" fmla="*/ 1902 h 2897"/>
              <a:gd name="T60" fmla="*/ 473 w 2403"/>
              <a:gd name="T61" fmla="*/ 2660 h 2897"/>
              <a:gd name="T62" fmla="*/ 364 w 2403"/>
              <a:gd name="T63" fmla="*/ 2709 h 2897"/>
              <a:gd name="T64" fmla="*/ 169 w 2403"/>
              <a:gd name="T65" fmla="*/ 2764 h 2897"/>
              <a:gd name="T66" fmla="*/ 134 w 2403"/>
              <a:gd name="T67" fmla="*/ 2763 h 2897"/>
              <a:gd name="T68" fmla="*/ 125 w 2403"/>
              <a:gd name="T69" fmla="*/ 2643 h 2897"/>
              <a:gd name="T70" fmla="*/ 137 w 2403"/>
              <a:gd name="T71" fmla="*/ 2423 h 2897"/>
              <a:gd name="T72" fmla="*/ 151 w 2403"/>
              <a:gd name="T73" fmla="*/ 2404 h 2897"/>
              <a:gd name="T74" fmla="*/ 206 w 2403"/>
              <a:gd name="T75" fmla="*/ 2409 h 2897"/>
              <a:gd name="T76" fmla="*/ 355 w 2403"/>
              <a:gd name="T77" fmla="*/ 2486 h 2897"/>
              <a:gd name="T78" fmla="*/ 454 w 2403"/>
              <a:gd name="T79" fmla="*/ 2577 h 2897"/>
              <a:gd name="T80" fmla="*/ 480 w 2403"/>
              <a:gd name="T81" fmla="*/ 2630 h 2897"/>
              <a:gd name="T82" fmla="*/ 490 w 2403"/>
              <a:gd name="T83" fmla="*/ 2117 h 2897"/>
              <a:gd name="T84" fmla="*/ 1708 w 2403"/>
              <a:gd name="T85" fmla="*/ 446 h 2897"/>
              <a:gd name="T86" fmla="*/ 1748 w 2403"/>
              <a:gd name="T87" fmla="*/ 445 h 2897"/>
              <a:gd name="T88" fmla="*/ 1821 w 2403"/>
              <a:gd name="T89" fmla="*/ 478 h 2897"/>
              <a:gd name="T90" fmla="*/ 1867 w 2403"/>
              <a:gd name="T91" fmla="*/ 520 h 2897"/>
              <a:gd name="T92" fmla="*/ 1888 w 2403"/>
              <a:gd name="T93" fmla="*/ 565 h 2897"/>
              <a:gd name="T94" fmla="*/ 624 w 2403"/>
              <a:gd name="T95" fmla="*/ 2291 h 2897"/>
              <a:gd name="T96" fmla="*/ 902 w 2403"/>
              <a:gd name="T97" fmla="*/ 2386 h 2897"/>
              <a:gd name="T98" fmla="*/ 1979 w 2403"/>
              <a:gd name="T99" fmla="*/ 672 h 2897"/>
              <a:gd name="T100" fmla="*/ 2014 w 2403"/>
              <a:gd name="T101" fmla="*/ 670 h 2897"/>
              <a:gd name="T102" fmla="*/ 2067 w 2403"/>
              <a:gd name="T103" fmla="*/ 704 h 2897"/>
              <a:gd name="T104" fmla="*/ 2108 w 2403"/>
              <a:gd name="T105" fmla="*/ 754 h 2897"/>
              <a:gd name="T106" fmla="*/ 2123 w 2403"/>
              <a:gd name="T107" fmla="*/ 801 h 2897"/>
              <a:gd name="T108" fmla="*/ 2117 w 2403"/>
              <a:gd name="T109" fmla="*/ 835 h 2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03" h="2897">
                <a:moveTo>
                  <a:pt x="2095" y="193"/>
                </a:moveTo>
                <a:lnTo>
                  <a:pt x="2095" y="193"/>
                </a:lnTo>
                <a:lnTo>
                  <a:pt x="2071" y="176"/>
                </a:lnTo>
                <a:lnTo>
                  <a:pt x="2046" y="159"/>
                </a:lnTo>
                <a:lnTo>
                  <a:pt x="2022" y="144"/>
                </a:lnTo>
                <a:lnTo>
                  <a:pt x="1998" y="129"/>
                </a:lnTo>
                <a:lnTo>
                  <a:pt x="1974" y="115"/>
                </a:lnTo>
                <a:lnTo>
                  <a:pt x="1948" y="101"/>
                </a:lnTo>
                <a:lnTo>
                  <a:pt x="1900" y="78"/>
                </a:lnTo>
                <a:lnTo>
                  <a:pt x="1852" y="57"/>
                </a:lnTo>
                <a:lnTo>
                  <a:pt x="1803" y="40"/>
                </a:lnTo>
                <a:lnTo>
                  <a:pt x="1757" y="25"/>
                </a:lnTo>
                <a:lnTo>
                  <a:pt x="1714" y="14"/>
                </a:lnTo>
                <a:lnTo>
                  <a:pt x="1671" y="6"/>
                </a:lnTo>
                <a:lnTo>
                  <a:pt x="1632" y="1"/>
                </a:lnTo>
                <a:lnTo>
                  <a:pt x="1613" y="0"/>
                </a:lnTo>
                <a:lnTo>
                  <a:pt x="1595" y="0"/>
                </a:lnTo>
                <a:lnTo>
                  <a:pt x="1580" y="0"/>
                </a:lnTo>
                <a:lnTo>
                  <a:pt x="1564" y="1"/>
                </a:lnTo>
                <a:lnTo>
                  <a:pt x="1548" y="2"/>
                </a:lnTo>
                <a:lnTo>
                  <a:pt x="1535" y="5"/>
                </a:lnTo>
                <a:lnTo>
                  <a:pt x="1521" y="8"/>
                </a:lnTo>
                <a:lnTo>
                  <a:pt x="1511" y="12"/>
                </a:lnTo>
                <a:lnTo>
                  <a:pt x="1500" y="17"/>
                </a:lnTo>
                <a:lnTo>
                  <a:pt x="1491" y="23"/>
                </a:lnTo>
                <a:lnTo>
                  <a:pt x="1484" y="29"/>
                </a:lnTo>
                <a:lnTo>
                  <a:pt x="1477" y="36"/>
                </a:lnTo>
                <a:lnTo>
                  <a:pt x="1477" y="36"/>
                </a:lnTo>
                <a:lnTo>
                  <a:pt x="1253" y="331"/>
                </a:lnTo>
                <a:lnTo>
                  <a:pt x="785" y="948"/>
                </a:lnTo>
                <a:lnTo>
                  <a:pt x="532" y="1283"/>
                </a:lnTo>
                <a:lnTo>
                  <a:pt x="304" y="1584"/>
                </a:lnTo>
                <a:lnTo>
                  <a:pt x="134" y="1813"/>
                </a:lnTo>
                <a:lnTo>
                  <a:pt x="78" y="1890"/>
                </a:lnTo>
                <a:lnTo>
                  <a:pt x="48" y="1933"/>
                </a:lnTo>
                <a:lnTo>
                  <a:pt x="48" y="1933"/>
                </a:lnTo>
                <a:lnTo>
                  <a:pt x="43" y="1943"/>
                </a:lnTo>
                <a:lnTo>
                  <a:pt x="38" y="1956"/>
                </a:lnTo>
                <a:lnTo>
                  <a:pt x="33" y="1974"/>
                </a:lnTo>
                <a:lnTo>
                  <a:pt x="30" y="1995"/>
                </a:lnTo>
                <a:lnTo>
                  <a:pt x="23" y="2047"/>
                </a:lnTo>
                <a:lnTo>
                  <a:pt x="15" y="2110"/>
                </a:lnTo>
                <a:lnTo>
                  <a:pt x="10" y="2181"/>
                </a:lnTo>
                <a:lnTo>
                  <a:pt x="6" y="2259"/>
                </a:lnTo>
                <a:lnTo>
                  <a:pt x="3" y="2340"/>
                </a:lnTo>
                <a:lnTo>
                  <a:pt x="1" y="2423"/>
                </a:lnTo>
                <a:lnTo>
                  <a:pt x="0" y="2507"/>
                </a:lnTo>
                <a:lnTo>
                  <a:pt x="1" y="2588"/>
                </a:lnTo>
                <a:lnTo>
                  <a:pt x="3" y="2663"/>
                </a:lnTo>
                <a:lnTo>
                  <a:pt x="7" y="2732"/>
                </a:lnTo>
                <a:lnTo>
                  <a:pt x="12" y="2790"/>
                </a:lnTo>
                <a:lnTo>
                  <a:pt x="15" y="2815"/>
                </a:lnTo>
                <a:lnTo>
                  <a:pt x="19" y="2837"/>
                </a:lnTo>
                <a:lnTo>
                  <a:pt x="23" y="2856"/>
                </a:lnTo>
                <a:lnTo>
                  <a:pt x="27" y="2871"/>
                </a:lnTo>
                <a:lnTo>
                  <a:pt x="32" y="2882"/>
                </a:lnTo>
                <a:lnTo>
                  <a:pt x="35" y="2885"/>
                </a:lnTo>
                <a:lnTo>
                  <a:pt x="37" y="2888"/>
                </a:lnTo>
                <a:lnTo>
                  <a:pt x="37" y="2888"/>
                </a:lnTo>
                <a:lnTo>
                  <a:pt x="42" y="2891"/>
                </a:lnTo>
                <a:lnTo>
                  <a:pt x="47" y="2893"/>
                </a:lnTo>
                <a:lnTo>
                  <a:pt x="60" y="2896"/>
                </a:lnTo>
                <a:lnTo>
                  <a:pt x="76" y="2897"/>
                </a:lnTo>
                <a:lnTo>
                  <a:pt x="95" y="2897"/>
                </a:lnTo>
                <a:lnTo>
                  <a:pt x="118" y="2896"/>
                </a:lnTo>
                <a:lnTo>
                  <a:pt x="144" y="2893"/>
                </a:lnTo>
                <a:lnTo>
                  <a:pt x="171" y="2888"/>
                </a:lnTo>
                <a:lnTo>
                  <a:pt x="202" y="2883"/>
                </a:lnTo>
                <a:lnTo>
                  <a:pt x="267" y="2868"/>
                </a:lnTo>
                <a:lnTo>
                  <a:pt x="340" y="2850"/>
                </a:lnTo>
                <a:lnTo>
                  <a:pt x="416" y="2829"/>
                </a:lnTo>
                <a:lnTo>
                  <a:pt x="494" y="2804"/>
                </a:lnTo>
                <a:lnTo>
                  <a:pt x="573" y="2778"/>
                </a:lnTo>
                <a:lnTo>
                  <a:pt x="650" y="2751"/>
                </a:lnTo>
                <a:lnTo>
                  <a:pt x="724" y="2722"/>
                </a:lnTo>
                <a:lnTo>
                  <a:pt x="793" y="2694"/>
                </a:lnTo>
                <a:lnTo>
                  <a:pt x="854" y="2666"/>
                </a:lnTo>
                <a:lnTo>
                  <a:pt x="880" y="2653"/>
                </a:lnTo>
                <a:lnTo>
                  <a:pt x="904" y="2641"/>
                </a:lnTo>
                <a:lnTo>
                  <a:pt x="926" y="2628"/>
                </a:lnTo>
                <a:lnTo>
                  <a:pt x="946" y="2617"/>
                </a:lnTo>
                <a:lnTo>
                  <a:pt x="960" y="2605"/>
                </a:lnTo>
                <a:lnTo>
                  <a:pt x="972" y="2595"/>
                </a:lnTo>
                <a:lnTo>
                  <a:pt x="972" y="2595"/>
                </a:lnTo>
                <a:lnTo>
                  <a:pt x="987" y="2578"/>
                </a:lnTo>
                <a:lnTo>
                  <a:pt x="1007" y="2554"/>
                </a:lnTo>
                <a:lnTo>
                  <a:pt x="1064" y="2480"/>
                </a:lnTo>
                <a:lnTo>
                  <a:pt x="1142" y="2380"/>
                </a:lnTo>
                <a:lnTo>
                  <a:pt x="1234" y="2257"/>
                </a:lnTo>
                <a:lnTo>
                  <a:pt x="1454" y="1961"/>
                </a:lnTo>
                <a:lnTo>
                  <a:pt x="1697" y="1630"/>
                </a:lnTo>
                <a:lnTo>
                  <a:pt x="1939" y="1298"/>
                </a:lnTo>
                <a:lnTo>
                  <a:pt x="2153" y="1004"/>
                </a:lnTo>
                <a:lnTo>
                  <a:pt x="2311" y="784"/>
                </a:lnTo>
                <a:lnTo>
                  <a:pt x="2390" y="675"/>
                </a:lnTo>
                <a:lnTo>
                  <a:pt x="2390" y="675"/>
                </a:lnTo>
                <a:lnTo>
                  <a:pt x="2395" y="665"/>
                </a:lnTo>
                <a:lnTo>
                  <a:pt x="2400" y="654"/>
                </a:lnTo>
                <a:lnTo>
                  <a:pt x="2402" y="643"/>
                </a:lnTo>
                <a:lnTo>
                  <a:pt x="2403" y="631"/>
                </a:lnTo>
                <a:lnTo>
                  <a:pt x="2403" y="618"/>
                </a:lnTo>
                <a:lnTo>
                  <a:pt x="2403" y="605"/>
                </a:lnTo>
                <a:lnTo>
                  <a:pt x="2401" y="591"/>
                </a:lnTo>
                <a:lnTo>
                  <a:pt x="2397" y="577"/>
                </a:lnTo>
                <a:lnTo>
                  <a:pt x="2392" y="562"/>
                </a:lnTo>
                <a:lnTo>
                  <a:pt x="2386" y="547"/>
                </a:lnTo>
                <a:lnTo>
                  <a:pt x="2380" y="531"/>
                </a:lnTo>
                <a:lnTo>
                  <a:pt x="2373" y="514"/>
                </a:lnTo>
                <a:lnTo>
                  <a:pt x="2355" y="481"/>
                </a:lnTo>
                <a:lnTo>
                  <a:pt x="2334" y="447"/>
                </a:lnTo>
                <a:lnTo>
                  <a:pt x="2310" y="412"/>
                </a:lnTo>
                <a:lnTo>
                  <a:pt x="2284" y="378"/>
                </a:lnTo>
                <a:lnTo>
                  <a:pt x="2255" y="345"/>
                </a:lnTo>
                <a:lnTo>
                  <a:pt x="2226" y="311"/>
                </a:lnTo>
                <a:lnTo>
                  <a:pt x="2193" y="279"/>
                </a:lnTo>
                <a:lnTo>
                  <a:pt x="2161" y="248"/>
                </a:lnTo>
                <a:lnTo>
                  <a:pt x="2128" y="220"/>
                </a:lnTo>
                <a:lnTo>
                  <a:pt x="2095" y="193"/>
                </a:lnTo>
                <a:lnTo>
                  <a:pt x="2095" y="193"/>
                </a:lnTo>
                <a:close/>
                <a:moveTo>
                  <a:pt x="1398" y="308"/>
                </a:moveTo>
                <a:lnTo>
                  <a:pt x="1398" y="308"/>
                </a:lnTo>
                <a:lnTo>
                  <a:pt x="1400" y="306"/>
                </a:lnTo>
                <a:lnTo>
                  <a:pt x="1405" y="300"/>
                </a:lnTo>
                <a:lnTo>
                  <a:pt x="1415" y="294"/>
                </a:lnTo>
                <a:lnTo>
                  <a:pt x="1421" y="290"/>
                </a:lnTo>
                <a:lnTo>
                  <a:pt x="1428" y="288"/>
                </a:lnTo>
                <a:lnTo>
                  <a:pt x="1437" y="285"/>
                </a:lnTo>
                <a:lnTo>
                  <a:pt x="1445" y="284"/>
                </a:lnTo>
                <a:lnTo>
                  <a:pt x="1456" y="284"/>
                </a:lnTo>
                <a:lnTo>
                  <a:pt x="1468" y="287"/>
                </a:lnTo>
                <a:lnTo>
                  <a:pt x="1482" y="290"/>
                </a:lnTo>
                <a:lnTo>
                  <a:pt x="1495" y="295"/>
                </a:lnTo>
                <a:lnTo>
                  <a:pt x="1511" y="303"/>
                </a:lnTo>
                <a:lnTo>
                  <a:pt x="1528" y="313"/>
                </a:lnTo>
                <a:lnTo>
                  <a:pt x="1528" y="313"/>
                </a:lnTo>
                <a:lnTo>
                  <a:pt x="1542" y="325"/>
                </a:lnTo>
                <a:lnTo>
                  <a:pt x="1555" y="336"/>
                </a:lnTo>
                <a:lnTo>
                  <a:pt x="1565" y="347"/>
                </a:lnTo>
                <a:lnTo>
                  <a:pt x="1573" y="357"/>
                </a:lnTo>
                <a:lnTo>
                  <a:pt x="1580" y="368"/>
                </a:lnTo>
                <a:lnTo>
                  <a:pt x="1583" y="376"/>
                </a:lnTo>
                <a:lnTo>
                  <a:pt x="1586" y="386"/>
                </a:lnTo>
                <a:lnTo>
                  <a:pt x="1587" y="394"/>
                </a:lnTo>
                <a:lnTo>
                  <a:pt x="1588" y="401"/>
                </a:lnTo>
                <a:lnTo>
                  <a:pt x="1587" y="409"/>
                </a:lnTo>
                <a:lnTo>
                  <a:pt x="1584" y="420"/>
                </a:lnTo>
                <a:lnTo>
                  <a:pt x="1582" y="427"/>
                </a:lnTo>
                <a:lnTo>
                  <a:pt x="1581" y="429"/>
                </a:lnTo>
                <a:lnTo>
                  <a:pt x="337" y="2076"/>
                </a:lnTo>
                <a:lnTo>
                  <a:pt x="337" y="1902"/>
                </a:lnTo>
                <a:lnTo>
                  <a:pt x="239" y="1865"/>
                </a:lnTo>
                <a:lnTo>
                  <a:pt x="1398" y="308"/>
                </a:lnTo>
                <a:close/>
                <a:moveTo>
                  <a:pt x="475" y="2657"/>
                </a:moveTo>
                <a:lnTo>
                  <a:pt x="475" y="2657"/>
                </a:lnTo>
                <a:lnTo>
                  <a:pt x="473" y="2660"/>
                </a:lnTo>
                <a:lnTo>
                  <a:pt x="469" y="2664"/>
                </a:lnTo>
                <a:lnTo>
                  <a:pt x="456" y="2671"/>
                </a:lnTo>
                <a:lnTo>
                  <a:pt x="439" y="2680"/>
                </a:lnTo>
                <a:lnTo>
                  <a:pt x="417" y="2689"/>
                </a:lnTo>
                <a:lnTo>
                  <a:pt x="364" y="2709"/>
                </a:lnTo>
                <a:lnTo>
                  <a:pt x="304" y="2729"/>
                </a:lnTo>
                <a:lnTo>
                  <a:pt x="244" y="2746"/>
                </a:lnTo>
                <a:lnTo>
                  <a:pt x="216" y="2754"/>
                </a:lnTo>
                <a:lnTo>
                  <a:pt x="191" y="2760"/>
                </a:lnTo>
                <a:lnTo>
                  <a:pt x="169" y="2764"/>
                </a:lnTo>
                <a:lnTo>
                  <a:pt x="152" y="2767"/>
                </a:lnTo>
                <a:lnTo>
                  <a:pt x="140" y="2767"/>
                </a:lnTo>
                <a:lnTo>
                  <a:pt x="135" y="2766"/>
                </a:lnTo>
                <a:lnTo>
                  <a:pt x="134" y="2763"/>
                </a:lnTo>
                <a:lnTo>
                  <a:pt x="134" y="2763"/>
                </a:lnTo>
                <a:lnTo>
                  <a:pt x="130" y="2756"/>
                </a:lnTo>
                <a:lnTo>
                  <a:pt x="129" y="2743"/>
                </a:lnTo>
                <a:lnTo>
                  <a:pt x="127" y="2723"/>
                </a:lnTo>
                <a:lnTo>
                  <a:pt x="127" y="2700"/>
                </a:lnTo>
                <a:lnTo>
                  <a:pt x="125" y="2643"/>
                </a:lnTo>
                <a:lnTo>
                  <a:pt x="127" y="2581"/>
                </a:lnTo>
                <a:lnTo>
                  <a:pt x="129" y="2518"/>
                </a:lnTo>
                <a:lnTo>
                  <a:pt x="133" y="2462"/>
                </a:lnTo>
                <a:lnTo>
                  <a:pt x="135" y="2440"/>
                </a:lnTo>
                <a:lnTo>
                  <a:pt x="137" y="2423"/>
                </a:lnTo>
                <a:lnTo>
                  <a:pt x="140" y="2411"/>
                </a:lnTo>
                <a:lnTo>
                  <a:pt x="141" y="2407"/>
                </a:lnTo>
                <a:lnTo>
                  <a:pt x="142" y="2406"/>
                </a:lnTo>
                <a:lnTo>
                  <a:pt x="142" y="2406"/>
                </a:lnTo>
                <a:lnTo>
                  <a:pt x="151" y="2404"/>
                </a:lnTo>
                <a:lnTo>
                  <a:pt x="159" y="2403"/>
                </a:lnTo>
                <a:lnTo>
                  <a:pt x="170" y="2403"/>
                </a:lnTo>
                <a:lnTo>
                  <a:pt x="181" y="2404"/>
                </a:lnTo>
                <a:lnTo>
                  <a:pt x="193" y="2406"/>
                </a:lnTo>
                <a:lnTo>
                  <a:pt x="206" y="2409"/>
                </a:lnTo>
                <a:lnTo>
                  <a:pt x="234" y="2418"/>
                </a:lnTo>
                <a:lnTo>
                  <a:pt x="263" y="2432"/>
                </a:lnTo>
                <a:lnTo>
                  <a:pt x="295" y="2447"/>
                </a:lnTo>
                <a:lnTo>
                  <a:pt x="325" y="2466"/>
                </a:lnTo>
                <a:lnTo>
                  <a:pt x="355" y="2486"/>
                </a:lnTo>
                <a:lnTo>
                  <a:pt x="384" y="2508"/>
                </a:lnTo>
                <a:lnTo>
                  <a:pt x="411" y="2531"/>
                </a:lnTo>
                <a:lnTo>
                  <a:pt x="435" y="2554"/>
                </a:lnTo>
                <a:lnTo>
                  <a:pt x="445" y="2565"/>
                </a:lnTo>
                <a:lnTo>
                  <a:pt x="454" y="2577"/>
                </a:lnTo>
                <a:lnTo>
                  <a:pt x="462" y="2588"/>
                </a:lnTo>
                <a:lnTo>
                  <a:pt x="469" y="2599"/>
                </a:lnTo>
                <a:lnTo>
                  <a:pt x="474" y="2610"/>
                </a:lnTo>
                <a:lnTo>
                  <a:pt x="477" y="2620"/>
                </a:lnTo>
                <a:lnTo>
                  <a:pt x="480" y="2630"/>
                </a:lnTo>
                <a:lnTo>
                  <a:pt x="480" y="2640"/>
                </a:lnTo>
                <a:lnTo>
                  <a:pt x="479" y="2649"/>
                </a:lnTo>
                <a:lnTo>
                  <a:pt x="475" y="2657"/>
                </a:lnTo>
                <a:lnTo>
                  <a:pt x="475" y="2657"/>
                </a:lnTo>
                <a:close/>
                <a:moveTo>
                  <a:pt x="490" y="2117"/>
                </a:moveTo>
                <a:lnTo>
                  <a:pt x="1692" y="455"/>
                </a:lnTo>
                <a:lnTo>
                  <a:pt x="1692" y="455"/>
                </a:lnTo>
                <a:lnTo>
                  <a:pt x="1694" y="453"/>
                </a:lnTo>
                <a:lnTo>
                  <a:pt x="1699" y="450"/>
                </a:lnTo>
                <a:lnTo>
                  <a:pt x="1708" y="446"/>
                </a:lnTo>
                <a:lnTo>
                  <a:pt x="1713" y="444"/>
                </a:lnTo>
                <a:lnTo>
                  <a:pt x="1720" y="443"/>
                </a:lnTo>
                <a:lnTo>
                  <a:pt x="1728" y="443"/>
                </a:lnTo>
                <a:lnTo>
                  <a:pt x="1737" y="444"/>
                </a:lnTo>
                <a:lnTo>
                  <a:pt x="1748" y="445"/>
                </a:lnTo>
                <a:lnTo>
                  <a:pt x="1760" y="449"/>
                </a:lnTo>
                <a:lnTo>
                  <a:pt x="1773" y="452"/>
                </a:lnTo>
                <a:lnTo>
                  <a:pt x="1788" y="460"/>
                </a:lnTo>
                <a:lnTo>
                  <a:pt x="1803" y="468"/>
                </a:lnTo>
                <a:lnTo>
                  <a:pt x="1821" y="478"/>
                </a:lnTo>
                <a:lnTo>
                  <a:pt x="1821" y="478"/>
                </a:lnTo>
                <a:lnTo>
                  <a:pt x="1836" y="489"/>
                </a:lnTo>
                <a:lnTo>
                  <a:pt x="1849" y="499"/>
                </a:lnTo>
                <a:lnTo>
                  <a:pt x="1859" y="509"/>
                </a:lnTo>
                <a:lnTo>
                  <a:pt x="1867" y="520"/>
                </a:lnTo>
                <a:lnTo>
                  <a:pt x="1875" y="530"/>
                </a:lnTo>
                <a:lnTo>
                  <a:pt x="1880" y="539"/>
                </a:lnTo>
                <a:lnTo>
                  <a:pt x="1883" y="549"/>
                </a:lnTo>
                <a:lnTo>
                  <a:pt x="1887" y="558"/>
                </a:lnTo>
                <a:lnTo>
                  <a:pt x="1888" y="565"/>
                </a:lnTo>
                <a:lnTo>
                  <a:pt x="1888" y="572"/>
                </a:lnTo>
                <a:lnTo>
                  <a:pt x="1888" y="584"/>
                </a:lnTo>
                <a:lnTo>
                  <a:pt x="1887" y="591"/>
                </a:lnTo>
                <a:lnTo>
                  <a:pt x="1886" y="594"/>
                </a:lnTo>
                <a:lnTo>
                  <a:pt x="624" y="2291"/>
                </a:lnTo>
                <a:lnTo>
                  <a:pt x="624" y="2094"/>
                </a:lnTo>
                <a:lnTo>
                  <a:pt x="490" y="2117"/>
                </a:lnTo>
                <a:close/>
                <a:moveTo>
                  <a:pt x="2117" y="835"/>
                </a:moveTo>
                <a:lnTo>
                  <a:pt x="937" y="2462"/>
                </a:lnTo>
                <a:lnTo>
                  <a:pt x="902" y="2386"/>
                </a:lnTo>
                <a:lnTo>
                  <a:pt x="750" y="2359"/>
                </a:lnTo>
                <a:lnTo>
                  <a:pt x="1973" y="677"/>
                </a:lnTo>
                <a:lnTo>
                  <a:pt x="1973" y="677"/>
                </a:lnTo>
                <a:lnTo>
                  <a:pt x="1975" y="676"/>
                </a:lnTo>
                <a:lnTo>
                  <a:pt x="1979" y="672"/>
                </a:lnTo>
                <a:lnTo>
                  <a:pt x="1987" y="669"/>
                </a:lnTo>
                <a:lnTo>
                  <a:pt x="1992" y="669"/>
                </a:lnTo>
                <a:lnTo>
                  <a:pt x="1998" y="668"/>
                </a:lnTo>
                <a:lnTo>
                  <a:pt x="2005" y="669"/>
                </a:lnTo>
                <a:lnTo>
                  <a:pt x="2014" y="670"/>
                </a:lnTo>
                <a:lnTo>
                  <a:pt x="2022" y="674"/>
                </a:lnTo>
                <a:lnTo>
                  <a:pt x="2032" y="679"/>
                </a:lnTo>
                <a:lnTo>
                  <a:pt x="2043" y="685"/>
                </a:lnTo>
                <a:lnTo>
                  <a:pt x="2055" y="693"/>
                </a:lnTo>
                <a:lnTo>
                  <a:pt x="2067" y="704"/>
                </a:lnTo>
                <a:lnTo>
                  <a:pt x="2080" y="718"/>
                </a:lnTo>
                <a:lnTo>
                  <a:pt x="2080" y="718"/>
                </a:lnTo>
                <a:lnTo>
                  <a:pt x="2091" y="731"/>
                </a:lnTo>
                <a:lnTo>
                  <a:pt x="2101" y="741"/>
                </a:lnTo>
                <a:lnTo>
                  <a:pt x="2108" y="754"/>
                </a:lnTo>
                <a:lnTo>
                  <a:pt x="2113" y="764"/>
                </a:lnTo>
                <a:lnTo>
                  <a:pt x="2118" y="774"/>
                </a:lnTo>
                <a:lnTo>
                  <a:pt x="2120" y="784"/>
                </a:lnTo>
                <a:lnTo>
                  <a:pt x="2121" y="793"/>
                </a:lnTo>
                <a:lnTo>
                  <a:pt x="2123" y="801"/>
                </a:lnTo>
                <a:lnTo>
                  <a:pt x="2121" y="815"/>
                </a:lnTo>
                <a:lnTo>
                  <a:pt x="2120" y="826"/>
                </a:lnTo>
                <a:lnTo>
                  <a:pt x="2118" y="832"/>
                </a:lnTo>
                <a:lnTo>
                  <a:pt x="2117" y="835"/>
                </a:lnTo>
                <a:lnTo>
                  <a:pt x="2117" y="835"/>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p>
        </p:txBody>
      </p:sp>
      <p:sp>
        <p:nvSpPr>
          <p:cNvPr id="3" name="Up-Down Arrow 2"/>
          <p:cNvSpPr/>
          <p:nvPr/>
        </p:nvSpPr>
        <p:spPr>
          <a:xfrm rot="16200000">
            <a:off x="2551245" y="3029819"/>
            <a:ext cx="137430" cy="842465"/>
          </a:xfrm>
          <a:prstGeom prst="upDownArrow">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9" name="Oval 8"/>
          <p:cNvSpPr/>
          <p:nvPr/>
        </p:nvSpPr>
        <p:spPr>
          <a:xfrm>
            <a:off x="2525982" y="3347676"/>
            <a:ext cx="187954" cy="206749"/>
          </a:xfrm>
          <a:prstGeom prst="ellipse">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49" name="TextBox 48"/>
          <p:cNvSpPr txBox="1"/>
          <p:nvPr/>
        </p:nvSpPr>
        <p:spPr>
          <a:xfrm>
            <a:off x="640263" y="1446663"/>
            <a:ext cx="8276859" cy="2585323"/>
          </a:xfrm>
          <a:prstGeom prst="rect">
            <a:avLst/>
          </a:prstGeom>
          <a:noFill/>
        </p:spPr>
        <p:txBody>
          <a:bodyPr wrap="square" lIns="0" tIns="0" rIns="0" bIns="0" rtlCol="0">
            <a:spAutoFit/>
          </a:bodyPr>
          <a:lstStyle/>
          <a:p>
            <a:pPr algn="just">
              <a:buFont typeface="Wingdings" pitchFamily="2" charset="2"/>
              <a:buChar char="q"/>
            </a:pPr>
            <a:r>
              <a:rPr lang="en-US" sz="2400" b="1" i="1" dirty="0" smtClean="0"/>
              <a:t>The Right to Information Act, came into force on 12 October 2005. </a:t>
            </a:r>
          </a:p>
          <a:p>
            <a:pPr algn="just">
              <a:buFont typeface="Wingdings" pitchFamily="2" charset="2"/>
              <a:buChar char="q"/>
            </a:pPr>
            <a:r>
              <a:rPr lang="en-US" sz="2400" b="1" i="1" dirty="0" smtClean="0"/>
              <a:t>The Act empowers Indian citizens to seek information from a Public Authority, thus making the Government and its functionaries more accountable and responsible.</a:t>
            </a:r>
          </a:p>
          <a:p>
            <a:pPr algn="just">
              <a:buFont typeface="Wingdings" pitchFamily="2" charset="2"/>
              <a:buChar char="q"/>
            </a:pPr>
            <a:r>
              <a:rPr lang="en-US" sz="2400" b="1" i="1" dirty="0" smtClean="0"/>
              <a:t> The Act has now been in operation for over three years and has benefited many</a:t>
            </a:r>
            <a:endParaRPr lang="en-US" sz="2400" b="1" i="1" dirty="0" smtClean="0">
              <a:solidFill>
                <a:srgbClr val="1F497D"/>
              </a:solidFill>
              <a:latin typeface="Franklin Gothic Book"/>
              <a:ea typeface="+mn-ea"/>
              <a:cs typeface="+mn-cs"/>
            </a:endParaRPr>
          </a:p>
        </p:txBody>
      </p:sp>
      <p:sp>
        <p:nvSpPr>
          <p:cNvPr id="13" name="Rectangle 12"/>
          <p:cNvSpPr/>
          <p:nvPr/>
        </p:nvSpPr>
        <p:spPr>
          <a:xfrm>
            <a:off x="990600" y="4031986"/>
            <a:ext cx="7675728" cy="2368814"/>
          </a:xfrm>
          <a:prstGeom prst="rect">
            <a:avLst/>
          </a:prstGeom>
          <a:solidFill>
            <a:srgbClr val="4F81BD"/>
          </a:solidFill>
          <a:ln w="25400" cap="flat" cmpd="sng" algn="ctr">
            <a:solidFill>
              <a:srgbClr val="4F81BD">
                <a:shade val="50000"/>
              </a:srgbClr>
            </a:solidFill>
            <a:prstDash val="solid"/>
          </a:ln>
          <a:effectLst/>
        </p:spPr>
        <p:txBody>
          <a:bodyPr rtlCol="0" anchor="ctr"/>
          <a:lstStyle/>
          <a:p>
            <a:pPr marL="0" marR="0" lvl="1" indent="0" algn="just" defTabSz="914400" eaLnBrk="1" fontAlgn="auto" latinLnBrk="0" hangingPunct="1">
              <a:lnSpc>
                <a:spcPct val="100000"/>
              </a:lnSpc>
              <a:spcBef>
                <a:spcPts val="0"/>
              </a:spcBef>
              <a:spcAft>
                <a:spcPts val="0"/>
              </a:spcAft>
              <a:buClrTx/>
              <a:buSzTx/>
              <a:buFont typeface="Wingdings" pitchFamily="2" charset="2"/>
              <a:buChar char="Ø"/>
              <a:tabLst/>
              <a:defRPr/>
            </a:pPr>
            <a:r>
              <a:rPr kumimoji="0" lang="en-US" sz="2000" b="1" i="1" u="none" strike="noStrike" kern="0" cap="none" spc="0" normalizeH="0" baseline="0" noProof="0" dirty="0" smtClean="0">
                <a:ln>
                  <a:noFill/>
                </a:ln>
                <a:solidFill>
                  <a:sysClr val="window" lastClr="FFFFFF"/>
                </a:solidFill>
                <a:effectLst/>
                <a:uLnTx/>
                <a:uFillTx/>
                <a:latin typeface="Franklin Gothic Book"/>
                <a:ea typeface="+mn-ea"/>
                <a:cs typeface="+mn-cs"/>
              </a:rPr>
              <a:t>Only 26% Men and 12 % women, 13 % Rural and 33% Urban population Know about RTI,</a:t>
            </a:r>
          </a:p>
          <a:p>
            <a:pPr marL="0" marR="0" lvl="1" indent="0" algn="just" defTabSz="914400" eaLnBrk="1" fontAlgn="auto" latinLnBrk="0" hangingPunct="1">
              <a:lnSpc>
                <a:spcPct val="100000"/>
              </a:lnSpc>
              <a:spcBef>
                <a:spcPts val="0"/>
              </a:spcBef>
              <a:spcAft>
                <a:spcPts val="0"/>
              </a:spcAft>
              <a:buClrTx/>
              <a:buSzTx/>
              <a:buFont typeface="Wingdings" pitchFamily="2" charset="2"/>
              <a:buChar char="Ø"/>
              <a:tabLst/>
              <a:defRPr/>
            </a:pPr>
            <a:r>
              <a:rPr kumimoji="0" lang="en-US" sz="2000" b="1" i="1" u="none" strike="noStrike" kern="0" cap="none" spc="0" normalizeH="0" baseline="0" noProof="0" dirty="0" smtClean="0">
                <a:ln>
                  <a:noFill/>
                </a:ln>
                <a:solidFill>
                  <a:sysClr val="window" lastClr="FFFFFF"/>
                </a:solidFill>
                <a:effectLst/>
                <a:uLnTx/>
                <a:uFillTx/>
                <a:latin typeface="Franklin Gothic Book"/>
                <a:ea typeface="+mn-ea"/>
                <a:cs typeface="+mn-cs"/>
              </a:rPr>
              <a:t>over 26% of the citizens had to pay more than three visits to submit applications forms for RTI . </a:t>
            </a:r>
          </a:p>
          <a:p>
            <a:pPr marL="0" marR="0" lvl="1" indent="0" algn="just" defTabSz="914400" eaLnBrk="1" fontAlgn="auto" latinLnBrk="0" hangingPunct="1">
              <a:lnSpc>
                <a:spcPct val="100000"/>
              </a:lnSpc>
              <a:spcBef>
                <a:spcPts val="0"/>
              </a:spcBef>
              <a:spcAft>
                <a:spcPts val="0"/>
              </a:spcAft>
              <a:buClrTx/>
              <a:buSzTx/>
              <a:buFont typeface="Wingdings" pitchFamily="2" charset="2"/>
              <a:buChar char="Ø"/>
              <a:tabLst/>
              <a:defRPr/>
            </a:pPr>
            <a:r>
              <a:rPr kumimoji="0" lang="en-US" sz="2000" b="1" i="1" u="none" strike="noStrike" kern="0" cap="none" spc="0" normalizeH="0" baseline="0" noProof="0" dirty="0" smtClean="0">
                <a:ln>
                  <a:noFill/>
                </a:ln>
                <a:solidFill>
                  <a:sysClr val="window" lastClr="FFFFFF"/>
                </a:solidFill>
                <a:effectLst/>
                <a:uLnTx/>
                <a:uFillTx/>
                <a:latin typeface="Franklin Gothic Book"/>
                <a:ea typeface="+mn-ea"/>
                <a:cs typeface="+mn-cs"/>
              </a:rPr>
              <a:t>Approximately 89% of the PIOs were not using the provision of inspection of records by citizens</a:t>
            </a:r>
          </a:p>
          <a:p>
            <a:pPr marL="0" marR="0" lvl="1" indent="0" algn="just" defTabSz="914400" eaLnBrk="1" fontAlgn="auto" latinLnBrk="0" hangingPunct="1">
              <a:lnSpc>
                <a:spcPct val="100000"/>
              </a:lnSpc>
              <a:spcBef>
                <a:spcPts val="0"/>
              </a:spcBef>
              <a:spcAft>
                <a:spcPts val="0"/>
              </a:spcAft>
              <a:buClrTx/>
              <a:buSzTx/>
              <a:buFont typeface="Wingdings" pitchFamily="2" charset="2"/>
              <a:buChar char="Ø"/>
              <a:tabLst/>
              <a:defRPr/>
            </a:pPr>
            <a:r>
              <a:rPr kumimoji="0" lang="en-US" sz="2000" b="1" i="1" u="none" strike="noStrike" kern="0" cap="none" spc="0" normalizeH="0" baseline="0" noProof="0" dirty="0" smtClean="0">
                <a:ln>
                  <a:noFill/>
                </a:ln>
                <a:solidFill>
                  <a:sysClr val="window" lastClr="FFFFFF"/>
                </a:solidFill>
                <a:effectLst/>
                <a:uLnTx/>
                <a:uFillTx/>
                <a:latin typeface="Franklin Gothic Book"/>
                <a:ea typeface="+mn-ea"/>
                <a:cs typeface="+mn-cs"/>
              </a:rPr>
              <a:t>Over 75% of the information seekers were dissatisfied with the quality of information provided</a:t>
            </a:r>
          </a:p>
        </p:txBody>
      </p:sp>
      <p:sp>
        <p:nvSpPr>
          <p:cNvPr id="14" name="Rectangle 13"/>
          <p:cNvSpPr/>
          <p:nvPr/>
        </p:nvSpPr>
        <p:spPr>
          <a:xfrm>
            <a:off x="427936" y="6400800"/>
            <a:ext cx="4572000" cy="253916"/>
          </a:xfrm>
          <a:prstGeom prst="rect">
            <a:avLst/>
          </a:prstGeom>
        </p:spPr>
        <p:txBody>
          <a:bodyPr wrap="square">
            <a:spAutoFit/>
          </a:bodyPr>
          <a:lstStyle/>
          <a:p>
            <a:r>
              <a:rPr lang="en-US" sz="1050" b="1" i="1" dirty="0" smtClean="0"/>
              <a:t>What deters the unveiling of Legislative Process?</a:t>
            </a:r>
            <a:endParaRPr lang="en-US" sz="1050" dirty="0"/>
          </a:p>
        </p:txBody>
      </p:sp>
    </p:spTree>
    <p:extLst>
      <p:ext uri="{BB962C8B-B14F-4D97-AF65-F5344CB8AC3E}">
        <p14:creationId xmlns:p14="http://schemas.microsoft.com/office/powerpoint/2010/main" xmlns="" val="3796730251"/>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withEffect">
                                  <p:stCondLst>
                                    <p:cond delay="0"/>
                                  </p:stCondLst>
                                  <p:childTnLst>
                                    <p:animRot by="10800000">
                                      <p:cBhvr>
                                        <p:cTn id="6" dur="750" fill="hold"/>
                                        <p:tgtEl>
                                          <p:spTgt spid="3"/>
                                        </p:tgtEl>
                                        <p:attrNameLst>
                                          <p:attrName>r</p:attrName>
                                        </p:attrNameLst>
                                      </p:cBhvr>
                                    </p:animRot>
                                  </p:childTnLst>
                                </p:cTn>
                              </p:par>
                            </p:childTnLst>
                          </p:cTn>
                        </p:par>
                        <p:par>
                          <p:cTn id="7" fill="hold">
                            <p:stCondLst>
                              <p:cond delay="750"/>
                            </p:stCondLst>
                            <p:childTnLst>
                              <p:par>
                                <p:cTn id="8" presetID="32" presetClass="emph" presetSubtype="0" fill="hold" grpId="0" nodeType="afterEffect">
                                  <p:stCondLst>
                                    <p:cond delay="0"/>
                                  </p:stCondLst>
                                  <p:childTnLst>
                                    <p:animRot by="120000">
                                      <p:cBhvr>
                                        <p:cTn id="9" dur="75" fill="hold">
                                          <p:stCondLst>
                                            <p:cond delay="0"/>
                                          </p:stCondLst>
                                        </p:cTn>
                                        <p:tgtEl>
                                          <p:spTgt spid="39"/>
                                        </p:tgtEl>
                                        <p:attrNameLst>
                                          <p:attrName>r</p:attrName>
                                        </p:attrNameLst>
                                      </p:cBhvr>
                                    </p:animRot>
                                    <p:animRot by="-240000">
                                      <p:cBhvr>
                                        <p:cTn id="10" dur="150" fill="hold">
                                          <p:stCondLst>
                                            <p:cond delay="150"/>
                                          </p:stCondLst>
                                        </p:cTn>
                                        <p:tgtEl>
                                          <p:spTgt spid="39"/>
                                        </p:tgtEl>
                                        <p:attrNameLst>
                                          <p:attrName>r</p:attrName>
                                        </p:attrNameLst>
                                      </p:cBhvr>
                                    </p:animRot>
                                    <p:animRot by="240000">
                                      <p:cBhvr>
                                        <p:cTn id="11" dur="150" fill="hold">
                                          <p:stCondLst>
                                            <p:cond delay="300"/>
                                          </p:stCondLst>
                                        </p:cTn>
                                        <p:tgtEl>
                                          <p:spTgt spid="39"/>
                                        </p:tgtEl>
                                        <p:attrNameLst>
                                          <p:attrName>r</p:attrName>
                                        </p:attrNameLst>
                                      </p:cBhvr>
                                    </p:animRot>
                                    <p:animRot by="-240000">
                                      <p:cBhvr>
                                        <p:cTn id="12" dur="150" fill="hold">
                                          <p:stCondLst>
                                            <p:cond delay="450"/>
                                          </p:stCondLst>
                                        </p:cTn>
                                        <p:tgtEl>
                                          <p:spTgt spid="39"/>
                                        </p:tgtEl>
                                        <p:attrNameLst>
                                          <p:attrName>r</p:attrName>
                                        </p:attrNameLst>
                                      </p:cBhvr>
                                    </p:animRot>
                                    <p:animRot by="120000">
                                      <p:cBhvr>
                                        <p:cTn id="13" dur="150" fill="hold">
                                          <p:stCondLst>
                                            <p:cond delay="600"/>
                                          </p:stCondLst>
                                        </p:cTn>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xmlns="" val="1220212714"/>
              </p:ext>
            </p:extLst>
          </p:nvPr>
        </p:nvGraphicFramePr>
        <p:xfrm>
          <a:off x="1588" y="1588"/>
          <a:ext cx="1587" cy="1587"/>
        </p:xfrm>
        <a:graphic>
          <a:graphicData uri="http://schemas.openxmlformats.org/presentationml/2006/ole">
            <p:oleObj spid="_x0000_s37890" name="think-cell Slide" r:id="rId4" imgW="360" imgH="360" progId="">
              <p:embed/>
            </p:oleObj>
          </a:graphicData>
        </a:graphic>
      </p:graphicFrame>
      <p:sp>
        <p:nvSpPr>
          <p:cNvPr id="8" name="TextBox 7"/>
          <p:cNvSpPr txBox="1"/>
          <p:nvPr/>
        </p:nvSpPr>
        <p:spPr>
          <a:xfrm>
            <a:off x="373197" y="777922"/>
            <a:ext cx="8543925" cy="984885"/>
          </a:xfrm>
          <a:prstGeom prst="rect">
            <a:avLst/>
          </a:prstGeom>
          <a:noFill/>
        </p:spPr>
        <p:txBody>
          <a:bodyPr wrap="square" lIns="0" tIns="0" rIns="0" bIns="0" rtlCol="0">
            <a:spAutoFit/>
          </a:bodyPr>
          <a:lstStyle/>
          <a:p>
            <a:pPr algn="ctr"/>
            <a:r>
              <a:rPr lang="en-US" sz="3200" dirty="0" smtClean="0"/>
              <a:t/>
            </a:r>
            <a:br>
              <a:rPr lang="en-US" sz="3200" dirty="0" smtClean="0"/>
            </a:br>
            <a:endParaRPr lang="en-US" sz="3200" b="1" dirty="0">
              <a:solidFill>
                <a:srgbClr val="0B538F"/>
              </a:solidFill>
              <a:latin typeface="Neo Sans Std" pitchFamily="34" charset="0"/>
            </a:endParaRPr>
          </a:p>
        </p:txBody>
      </p:sp>
      <p:cxnSp>
        <p:nvCxnSpPr>
          <p:cNvPr id="11" name="Straight Connector 10"/>
          <p:cNvCxnSpPr/>
          <p:nvPr/>
        </p:nvCxnSpPr>
        <p:spPr>
          <a:xfrm rot="5400000">
            <a:off x="4594178" y="-1902157"/>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39" name="Freeform 13"/>
          <p:cNvSpPr>
            <a:spLocks noEditPoints="1"/>
          </p:cNvSpPr>
          <p:nvPr/>
        </p:nvSpPr>
        <p:spPr bwMode="auto">
          <a:xfrm rot="10585247" flipV="1">
            <a:off x="4417312" y="3187267"/>
            <a:ext cx="437938" cy="527565"/>
          </a:xfrm>
          <a:custGeom>
            <a:avLst/>
            <a:gdLst>
              <a:gd name="T0" fmla="*/ 2022 w 2403"/>
              <a:gd name="T1" fmla="*/ 144 h 2897"/>
              <a:gd name="T2" fmla="*/ 1852 w 2403"/>
              <a:gd name="T3" fmla="*/ 57 h 2897"/>
              <a:gd name="T4" fmla="*/ 1632 w 2403"/>
              <a:gd name="T5" fmla="*/ 1 h 2897"/>
              <a:gd name="T6" fmla="*/ 1548 w 2403"/>
              <a:gd name="T7" fmla="*/ 2 h 2897"/>
              <a:gd name="T8" fmla="*/ 1491 w 2403"/>
              <a:gd name="T9" fmla="*/ 23 h 2897"/>
              <a:gd name="T10" fmla="*/ 785 w 2403"/>
              <a:gd name="T11" fmla="*/ 948 h 2897"/>
              <a:gd name="T12" fmla="*/ 48 w 2403"/>
              <a:gd name="T13" fmla="*/ 1933 h 2897"/>
              <a:gd name="T14" fmla="*/ 30 w 2403"/>
              <a:gd name="T15" fmla="*/ 1995 h 2897"/>
              <a:gd name="T16" fmla="*/ 3 w 2403"/>
              <a:gd name="T17" fmla="*/ 2340 h 2897"/>
              <a:gd name="T18" fmla="*/ 7 w 2403"/>
              <a:gd name="T19" fmla="*/ 2732 h 2897"/>
              <a:gd name="T20" fmla="*/ 27 w 2403"/>
              <a:gd name="T21" fmla="*/ 2871 h 2897"/>
              <a:gd name="T22" fmla="*/ 42 w 2403"/>
              <a:gd name="T23" fmla="*/ 2891 h 2897"/>
              <a:gd name="T24" fmla="*/ 118 w 2403"/>
              <a:gd name="T25" fmla="*/ 2896 h 2897"/>
              <a:gd name="T26" fmla="*/ 340 w 2403"/>
              <a:gd name="T27" fmla="*/ 2850 h 2897"/>
              <a:gd name="T28" fmla="*/ 724 w 2403"/>
              <a:gd name="T29" fmla="*/ 2722 h 2897"/>
              <a:gd name="T30" fmla="*/ 926 w 2403"/>
              <a:gd name="T31" fmla="*/ 2628 h 2897"/>
              <a:gd name="T32" fmla="*/ 987 w 2403"/>
              <a:gd name="T33" fmla="*/ 2578 h 2897"/>
              <a:gd name="T34" fmla="*/ 1454 w 2403"/>
              <a:gd name="T35" fmla="*/ 1961 h 2897"/>
              <a:gd name="T36" fmla="*/ 2390 w 2403"/>
              <a:gd name="T37" fmla="*/ 675 h 2897"/>
              <a:gd name="T38" fmla="*/ 2403 w 2403"/>
              <a:gd name="T39" fmla="*/ 631 h 2897"/>
              <a:gd name="T40" fmla="*/ 2392 w 2403"/>
              <a:gd name="T41" fmla="*/ 562 h 2897"/>
              <a:gd name="T42" fmla="*/ 2334 w 2403"/>
              <a:gd name="T43" fmla="*/ 447 h 2897"/>
              <a:gd name="T44" fmla="*/ 2193 w 2403"/>
              <a:gd name="T45" fmla="*/ 279 h 2897"/>
              <a:gd name="T46" fmla="*/ 1398 w 2403"/>
              <a:gd name="T47" fmla="*/ 308 h 2897"/>
              <a:gd name="T48" fmla="*/ 1421 w 2403"/>
              <a:gd name="T49" fmla="*/ 290 h 2897"/>
              <a:gd name="T50" fmla="*/ 1468 w 2403"/>
              <a:gd name="T51" fmla="*/ 287 h 2897"/>
              <a:gd name="T52" fmla="*/ 1528 w 2403"/>
              <a:gd name="T53" fmla="*/ 313 h 2897"/>
              <a:gd name="T54" fmla="*/ 1580 w 2403"/>
              <a:gd name="T55" fmla="*/ 368 h 2897"/>
              <a:gd name="T56" fmla="*/ 1587 w 2403"/>
              <a:gd name="T57" fmla="*/ 409 h 2897"/>
              <a:gd name="T58" fmla="*/ 337 w 2403"/>
              <a:gd name="T59" fmla="*/ 1902 h 2897"/>
              <a:gd name="T60" fmla="*/ 473 w 2403"/>
              <a:gd name="T61" fmla="*/ 2660 h 2897"/>
              <a:gd name="T62" fmla="*/ 364 w 2403"/>
              <a:gd name="T63" fmla="*/ 2709 h 2897"/>
              <a:gd name="T64" fmla="*/ 169 w 2403"/>
              <a:gd name="T65" fmla="*/ 2764 h 2897"/>
              <a:gd name="T66" fmla="*/ 134 w 2403"/>
              <a:gd name="T67" fmla="*/ 2763 h 2897"/>
              <a:gd name="T68" fmla="*/ 125 w 2403"/>
              <a:gd name="T69" fmla="*/ 2643 h 2897"/>
              <a:gd name="T70" fmla="*/ 137 w 2403"/>
              <a:gd name="T71" fmla="*/ 2423 h 2897"/>
              <a:gd name="T72" fmla="*/ 151 w 2403"/>
              <a:gd name="T73" fmla="*/ 2404 h 2897"/>
              <a:gd name="T74" fmla="*/ 206 w 2403"/>
              <a:gd name="T75" fmla="*/ 2409 h 2897"/>
              <a:gd name="T76" fmla="*/ 355 w 2403"/>
              <a:gd name="T77" fmla="*/ 2486 h 2897"/>
              <a:gd name="T78" fmla="*/ 454 w 2403"/>
              <a:gd name="T79" fmla="*/ 2577 h 2897"/>
              <a:gd name="T80" fmla="*/ 480 w 2403"/>
              <a:gd name="T81" fmla="*/ 2630 h 2897"/>
              <a:gd name="T82" fmla="*/ 490 w 2403"/>
              <a:gd name="T83" fmla="*/ 2117 h 2897"/>
              <a:gd name="T84" fmla="*/ 1708 w 2403"/>
              <a:gd name="T85" fmla="*/ 446 h 2897"/>
              <a:gd name="T86" fmla="*/ 1748 w 2403"/>
              <a:gd name="T87" fmla="*/ 445 h 2897"/>
              <a:gd name="T88" fmla="*/ 1821 w 2403"/>
              <a:gd name="T89" fmla="*/ 478 h 2897"/>
              <a:gd name="T90" fmla="*/ 1867 w 2403"/>
              <a:gd name="T91" fmla="*/ 520 h 2897"/>
              <a:gd name="T92" fmla="*/ 1888 w 2403"/>
              <a:gd name="T93" fmla="*/ 565 h 2897"/>
              <a:gd name="T94" fmla="*/ 624 w 2403"/>
              <a:gd name="T95" fmla="*/ 2291 h 2897"/>
              <a:gd name="T96" fmla="*/ 902 w 2403"/>
              <a:gd name="T97" fmla="*/ 2386 h 2897"/>
              <a:gd name="T98" fmla="*/ 1979 w 2403"/>
              <a:gd name="T99" fmla="*/ 672 h 2897"/>
              <a:gd name="T100" fmla="*/ 2014 w 2403"/>
              <a:gd name="T101" fmla="*/ 670 h 2897"/>
              <a:gd name="T102" fmla="*/ 2067 w 2403"/>
              <a:gd name="T103" fmla="*/ 704 h 2897"/>
              <a:gd name="T104" fmla="*/ 2108 w 2403"/>
              <a:gd name="T105" fmla="*/ 754 h 2897"/>
              <a:gd name="T106" fmla="*/ 2123 w 2403"/>
              <a:gd name="T107" fmla="*/ 801 h 2897"/>
              <a:gd name="T108" fmla="*/ 2117 w 2403"/>
              <a:gd name="T109" fmla="*/ 835 h 2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03" h="2897">
                <a:moveTo>
                  <a:pt x="2095" y="193"/>
                </a:moveTo>
                <a:lnTo>
                  <a:pt x="2095" y="193"/>
                </a:lnTo>
                <a:lnTo>
                  <a:pt x="2071" y="176"/>
                </a:lnTo>
                <a:lnTo>
                  <a:pt x="2046" y="159"/>
                </a:lnTo>
                <a:lnTo>
                  <a:pt x="2022" y="144"/>
                </a:lnTo>
                <a:lnTo>
                  <a:pt x="1998" y="129"/>
                </a:lnTo>
                <a:lnTo>
                  <a:pt x="1974" y="115"/>
                </a:lnTo>
                <a:lnTo>
                  <a:pt x="1948" y="101"/>
                </a:lnTo>
                <a:lnTo>
                  <a:pt x="1900" y="78"/>
                </a:lnTo>
                <a:lnTo>
                  <a:pt x="1852" y="57"/>
                </a:lnTo>
                <a:lnTo>
                  <a:pt x="1803" y="40"/>
                </a:lnTo>
                <a:lnTo>
                  <a:pt x="1757" y="25"/>
                </a:lnTo>
                <a:lnTo>
                  <a:pt x="1714" y="14"/>
                </a:lnTo>
                <a:lnTo>
                  <a:pt x="1671" y="6"/>
                </a:lnTo>
                <a:lnTo>
                  <a:pt x="1632" y="1"/>
                </a:lnTo>
                <a:lnTo>
                  <a:pt x="1613" y="0"/>
                </a:lnTo>
                <a:lnTo>
                  <a:pt x="1595" y="0"/>
                </a:lnTo>
                <a:lnTo>
                  <a:pt x="1580" y="0"/>
                </a:lnTo>
                <a:lnTo>
                  <a:pt x="1564" y="1"/>
                </a:lnTo>
                <a:lnTo>
                  <a:pt x="1548" y="2"/>
                </a:lnTo>
                <a:lnTo>
                  <a:pt x="1535" y="5"/>
                </a:lnTo>
                <a:lnTo>
                  <a:pt x="1521" y="8"/>
                </a:lnTo>
                <a:lnTo>
                  <a:pt x="1511" y="12"/>
                </a:lnTo>
                <a:lnTo>
                  <a:pt x="1500" y="17"/>
                </a:lnTo>
                <a:lnTo>
                  <a:pt x="1491" y="23"/>
                </a:lnTo>
                <a:lnTo>
                  <a:pt x="1484" y="29"/>
                </a:lnTo>
                <a:lnTo>
                  <a:pt x="1477" y="36"/>
                </a:lnTo>
                <a:lnTo>
                  <a:pt x="1477" y="36"/>
                </a:lnTo>
                <a:lnTo>
                  <a:pt x="1253" y="331"/>
                </a:lnTo>
                <a:lnTo>
                  <a:pt x="785" y="948"/>
                </a:lnTo>
                <a:lnTo>
                  <a:pt x="532" y="1283"/>
                </a:lnTo>
                <a:lnTo>
                  <a:pt x="304" y="1584"/>
                </a:lnTo>
                <a:lnTo>
                  <a:pt x="134" y="1813"/>
                </a:lnTo>
                <a:lnTo>
                  <a:pt x="78" y="1890"/>
                </a:lnTo>
                <a:lnTo>
                  <a:pt x="48" y="1933"/>
                </a:lnTo>
                <a:lnTo>
                  <a:pt x="48" y="1933"/>
                </a:lnTo>
                <a:lnTo>
                  <a:pt x="43" y="1943"/>
                </a:lnTo>
                <a:lnTo>
                  <a:pt x="38" y="1956"/>
                </a:lnTo>
                <a:lnTo>
                  <a:pt x="33" y="1974"/>
                </a:lnTo>
                <a:lnTo>
                  <a:pt x="30" y="1995"/>
                </a:lnTo>
                <a:lnTo>
                  <a:pt x="23" y="2047"/>
                </a:lnTo>
                <a:lnTo>
                  <a:pt x="15" y="2110"/>
                </a:lnTo>
                <a:lnTo>
                  <a:pt x="10" y="2181"/>
                </a:lnTo>
                <a:lnTo>
                  <a:pt x="6" y="2259"/>
                </a:lnTo>
                <a:lnTo>
                  <a:pt x="3" y="2340"/>
                </a:lnTo>
                <a:lnTo>
                  <a:pt x="1" y="2423"/>
                </a:lnTo>
                <a:lnTo>
                  <a:pt x="0" y="2507"/>
                </a:lnTo>
                <a:lnTo>
                  <a:pt x="1" y="2588"/>
                </a:lnTo>
                <a:lnTo>
                  <a:pt x="3" y="2663"/>
                </a:lnTo>
                <a:lnTo>
                  <a:pt x="7" y="2732"/>
                </a:lnTo>
                <a:lnTo>
                  <a:pt x="12" y="2790"/>
                </a:lnTo>
                <a:lnTo>
                  <a:pt x="15" y="2815"/>
                </a:lnTo>
                <a:lnTo>
                  <a:pt x="19" y="2837"/>
                </a:lnTo>
                <a:lnTo>
                  <a:pt x="23" y="2856"/>
                </a:lnTo>
                <a:lnTo>
                  <a:pt x="27" y="2871"/>
                </a:lnTo>
                <a:lnTo>
                  <a:pt x="32" y="2882"/>
                </a:lnTo>
                <a:lnTo>
                  <a:pt x="35" y="2885"/>
                </a:lnTo>
                <a:lnTo>
                  <a:pt x="37" y="2888"/>
                </a:lnTo>
                <a:lnTo>
                  <a:pt x="37" y="2888"/>
                </a:lnTo>
                <a:lnTo>
                  <a:pt x="42" y="2891"/>
                </a:lnTo>
                <a:lnTo>
                  <a:pt x="47" y="2893"/>
                </a:lnTo>
                <a:lnTo>
                  <a:pt x="60" y="2896"/>
                </a:lnTo>
                <a:lnTo>
                  <a:pt x="76" y="2897"/>
                </a:lnTo>
                <a:lnTo>
                  <a:pt x="95" y="2897"/>
                </a:lnTo>
                <a:lnTo>
                  <a:pt x="118" y="2896"/>
                </a:lnTo>
                <a:lnTo>
                  <a:pt x="144" y="2893"/>
                </a:lnTo>
                <a:lnTo>
                  <a:pt x="171" y="2888"/>
                </a:lnTo>
                <a:lnTo>
                  <a:pt x="202" y="2883"/>
                </a:lnTo>
                <a:lnTo>
                  <a:pt x="267" y="2868"/>
                </a:lnTo>
                <a:lnTo>
                  <a:pt x="340" y="2850"/>
                </a:lnTo>
                <a:lnTo>
                  <a:pt x="416" y="2829"/>
                </a:lnTo>
                <a:lnTo>
                  <a:pt x="494" y="2804"/>
                </a:lnTo>
                <a:lnTo>
                  <a:pt x="573" y="2778"/>
                </a:lnTo>
                <a:lnTo>
                  <a:pt x="650" y="2751"/>
                </a:lnTo>
                <a:lnTo>
                  <a:pt x="724" y="2722"/>
                </a:lnTo>
                <a:lnTo>
                  <a:pt x="793" y="2694"/>
                </a:lnTo>
                <a:lnTo>
                  <a:pt x="854" y="2666"/>
                </a:lnTo>
                <a:lnTo>
                  <a:pt x="880" y="2653"/>
                </a:lnTo>
                <a:lnTo>
                  <a:pt x="904" y="2641"/>
                </a:lnTo>
                <a:lnTo>
                  <a:pt x="926" y="2628"/>
                </a:lnTo>
                <a:lnTo>
                  <a:pt x="946" y="2617"/>
                </a:lnTo>
                <a:lnTo>
                  <a:pt x="960" y="2605"/>
                </a:lnTo>
                <a:lnTo>
                  <a:pt x="972" y="2595"/>
                </a:lnTo>
                <a:lnTo>
                  <a:pt x="972" y="2595"/>
                </a:lnTo>
                <a:lnTo>
                  <a:pt x="987" y="2578"/>
                </a:lnTo>
                <a:lnTo>
                  <a:pt x="1007" y="2554"/>
                </a:lnTo>
                <a:lnTo>
                  <a:pt x="1064" y="2480"/>
                </a:lnTo>
                <a:lnTo>
                  <a:pt x="1142" y="2380"/>
                </a:lnTo>
                <a:lnTo>
                  <a:pt x="1234" y="2257"/>
                </a:lnTo>
                <a:lnTo>
                  <a:pt x="1454" y="1961"/>
                </a:lnTo>
                <a:lnTo>
                  <a:pt x="1697" y="1630"/>
                </a:lnTo>
                <a:lnTo>
                  <a:pt x="1939" y="1298"/>
                </a:lnTo>
                <a:lnTo>
                  <a:pt x="2153" y="1004"/>
                </a:lnTo>
                <a:lnTo>
                  <a:pt x="2311" y="784"/>
                </a:lnTo>
                <a:lnTo>
                  <a:pt x="2390" y="675"/>
                </a:lnTo>
                <a:lnTo>
                  <a:pt x="2390" y="675"/>
                </a:lnTo>
                <a:lnTo>
                  <a:pt x="2395" y="665"/>
                </a:lnTo>
                <a:lnTo>
                  <a:pt x="2400" y="654"/>
                </a:lnTo>
                <a:lnTo>
                  <a:pt x="2402" y="643"/>
                </a:lnTo>
                <a:lnTo>
                  <a:pt x="2403" y="631"/>
                </a:lnTo>
                <a:lnTo>
                  <a:pt x="2403" y="618"/>
                </a:lnTo>
                <a:lnTo>
                  <a:pt x="2403" y="605"/>
                </a:lnTo>
                <a:lnTo>
                  <a:pt x="2401" y="591"/>
                </a:lnTo>
                <a:lnTo>
                  <a:pt x="2397" y="577"/>
                </a:lnTo>
                <a:lnTo>
                  <a:pt x="2392" y="562"/>
                </a:lnTo>
                <a:lnTo>
                  <a:pt x="2386" y="547"/>
                </a:lnTo>
                <a:lnTo>
                  <a:pt x="2380" y="531"/>
                </a:lnTo>
                <a:lnTo>
                  <a:pt x="2373" y="514"/>
                </a:lnTo>
                <a:lnTo>
                  <a:pt x="2355" y="481"/>
                </a:lnTo>
                <a:lnTo>
                  <a:pt x="2334" y="447"/>
                </a:lnTo>
                <a:lnTo>
                  <a:pt x="2310" y="412"/>
                </a:lnTo>
                <a:lnTo>
                  <a:pt x="2284" y="378"/>
                </a:lnTo>
                <a:lnTo>
                  <a:pt x="2255" y="345"/>
                </a:lnTo>
                <a:lnTo>
                  <a:pt x="2226" y="311"/>
                </a:lnTo>
                <a:lnTo>
                  <a:pt x="2193" y="279"/>
                </a:lnTo>
                <a:lnTo>
                  <a:pt x="2161" y="248"/>
                </a:lnTo>
                <a:lnTo>
                  <a:pt x="2128" y="220"/>
                </a:lnTo>
                <a:lnTo>
                  <a:pt x="2095" y="193"/>
                </a:lnTo>
                <a:lnTo>
                  <a:pt x="2095" y="193"/>
                </a:lnTo>
                <a:close/>
                <a:moveTo>
                  <a:pt x="1398" y="308"/>
                </a:moveTo>
                <a:lnTo>
                  <a:pt x="1398" y="308"/>
                </a:lnTo>
                <a:lnTo>
                  <a:pt x="1400" y="306"/>
                </a:lnTo>
                <a:lnTo>
                  <a:pt x="1405" y="300"/>
                </a:lnTo>
                <a:lnTo>
                  <a:pt x="1415" y="294"/>
                </a:lnTo>
                <a:lnTo>
                  <a:pt x="1421" y="290"/>
                </a:lnTo>
                <a:lnTo>
                  <a:pt x="1428" y="288"/>
                </a:lnTo>
                <a:lnTo>
                  <a:pt x="1437" y="285"/>
                </a:lnTo>
                <a:lnTo>
                  <a:pt x="1445" y="284"/>
                </a:lnTo>
                <a:lnTo>
                  <a:pt x="1456" y="284"/>
                </a:lnTo>
                <a:lnTo>
                  <a:pt x="1468" y="287"/>
                </a:lnTo>
                <a:lnTo>
                  <a:pt x="1482" y="290"/>
                </a:lnTo>
                <a:lnTo>
                  <a:pt x="1495" y="295"/>
                </a:lnTo>
                <a:lnTo>
                  <a:pt x="1511" y="303"/>
                </a:lnTo>
                <a:lnTo>
                  <a:pt x="1528" y="313"/>
                </a:lnTo>
                <a:lnTo>
                  <a:pt x="1528" y="313"/>
                </a:lnTo>
                <a:lnTo>
                  <a:pt x="1542" y="325"/>
                </a:lnTo>
                <a:lnTo>
                  <a:pt x="1555" y="336"/>
                </a:lnTo>
                <a:lnTo>
                  <a:pt x="1565" y="347"/>
                </a:lnTo>
                <a:lnTo>
                  <a:pt x="1573" y="357"/>
                </a:lnTo>
                <a:lnTo>
                  <a:pt x="1580" y="368"/>
                </a:lnTo>
                <a:lnTo>
                  <a:pt x="1583" y="376"/>
                </a:lnTo>
                <a:lnTo>
                  <a:pt x="1586" y="386"/>
                </a:lnTo>
                <a:lnTo>
                  <a:pt x="1587" y="394"/>
                </a:lnTo>
                <a:lnTo>
                  <a:pt x="1588" y="401"/>
                </a:lnTo>
                <a:lnTo>
                  <a:pt x="1587" y="409"/>
                </a:lnTo>
                <a:lnTo>
                  <a:pt x="1584" y="420"/>
                </a:lnTo>
                <a:lnTo>
                  <a:pt x="1582" y="427"/>
                </a:lnTo>
                <a:lnTo>
                  <a:pt x="1581" y="429"/>
                </a:lnTo>
                <a:lnTo>
                  <a:pt x="337" y="2076"/>
                </a:lnTo>
                <a:lnTo>
                  <a:pt x="337" y="1902"/>
                </a:lnTo>
                <a:lnTo>
                  <a:pt x="239" y="1865"/>
                </a:lnTo>
                <a:lnTo>
                  <a:pt x="1398" y="308"/>
                </a:lnTo>
                <a:close/>
                <a:moveTo>
                  <a:pt x="475" y="2657"/>
                </a:moveTo>
                <a:lnTo>
                  <a:pt x="475" y="2657"/>
                </a:lnTo>
                <a:lnTo>
                  <a:pt x="473" y="2660"/>
                </a:lnTo>
                <a:lnTo>
                  <a:pt x="469" y="2664"/>
                </a:lnTo>
                <a:lnTo>
                  <a:pt x="456" y="2671"/>
                </a:lnTo>
                <a:lnTo>
                  <a:pt x="439" y="2680"/>
                </a:lnTo>
                <a:lnTo>
                  <a:pt x="417" y="2689"/>
                </a:lnTo>
                <a:lnTo>
                  <a:pt x="364" y="2709"/>
                </a:lnTo>
                <a:lnTo>
                  <a:pt x="304" y="2729"/>
                </a:lnTo>
                <a:lnTo>
                  <a:pt x="244" y="2746"/>
                </a:lnTo>
                <a:lnTo>
                  <a:pt x="216" y="2754"/>
                </a:lnTo>
                <a:lnTo>
                  <a:pt x="191" y="2760"/>
                </a:lnTo>
                <a:lnTo>
                  <a:pt x="169" y="2764"/>
                </a:lnTo>
                <a:lnTo>
                  <a:pt x="152" y="2767"/>
                </a:lnTo>
                <a:lnTo>
                  <a:pt x="140" y="2767"/>
                </a:lnTo>
                <a:lnTo>
                  <a:pt x="135" y="2766"/>
                </a:lnTo>
                <a:lnTo>
                  <a:pt x="134" y="2763"/>
                </a:lnTo>
                <a:lnTo>
                  <a:pt x="134" y="2763"/>
                </a:lnTo>
                <a:lnTo>
                  <a:pt x="130" y="2756"/>
                </a:lnTo>
                <a:lnTo>
                  <a:pt x="129" y="2743"/>
                </a:lnTo>
                <a:lnTo>
                  <a:pt x="127" y="2723"/>
                </a:lnTo>
                <a:lnTo>
                  <a:pt x="127" y="2700"/>
                </a:lnTo>
                <a:lnTo>
                  <a:pt x="125" y="2643"/>
                </a:lnTo>
                <a:lnTo>
                  <a:pt x="127" y="2581"/>
                </a:lnTo>
                <a:lnTo>
                  <a:pt x="129" y="2518"/>
                </a:lnTo>
                <a:lnTo>
                  <a:pt x="133" y="2462"/>
                </a:lnTo>
                <a:lnTo>
                  <a:pt x="135" y="2440"/>
                </a:lnTo>
                <a:lnTo>
                  <a:pt x="137" y="2423"/>
                </a:lnTo>
                <a:lnTo>
                  <a:pt x="140" y="2411"/>
                </a:lnTo>
                <a:lnTo>
                  <a:pt x="141" y="2407"/>
                </a:lnTo>
                <a:lnTo>
                  <a:pt x="142" y="2406"/>
                </a:lnTo>
                <a:lnTo>
                  <a:pt x="142" y="2406"/>
                </a:lnTo>
                <a:lnTo>
                  <a:pt x="151" y="2404"/>
                </a:lnTo>
                <a:lnTo>
                  <a:pt x="159" y="2403"/>
                </a:lnTo>
                <a:lnTo>
                  <a:pt x="170" y="2403"/>
                </a:lnTo>
                <a:lnTo>
                  <a:pt x="181" y="2404"/>
                </a:lnTo>
                <a:lnTo>
                  <a:pt x="193" y="2406"/>
                </a:lnTo>
                <a:lnTo>
                  <a:pt x="206" y="2409"/>
                </a:lnTo>
                <a:lnTo>
                  <a:pt x="234" y="2418"/>
                </a:lnTo>
                <a:lnTo>
                  <a:pt x="263" y="2432"/>
                </a:lnTo>
                <a:lnTo>
                  <a:pt x="295" y="2447"/>
                </a:lnTo>
                <a:lnTo>
                  <a:pt x="325" y="2466"/>
                </a:lnTo>
                <a:lnTo>
                  <a:pt x="355" y="2486"/>
                </a:lnTo>
                <a:lnTo>
                  <a:pt x="384" y="2508"/>
                </a:lnTo>
                <a:lnTo>
                  <a:pt x="411" y="2531"/>
                </a:lnTo>
                <a:lnTo>
                  <a:pt x="435" y="2554"/>
                </a:lnTo>
                <a:lnTo>
                  <a:pt x="445" y="2565"/>
                </a:lnTo>
                <a:lnTo>
                  <a:pt x="454" y="2577"/>
                </a:lnTo>
                <a:lnTo>
                  <a:pt x="462" y="2588"/>
                </a:lnTo>
                <a:lnTo>
                  <a:pt x="469" y="2599"/>
                </a:lnTo>
                <a:lnTo>
                  <a:pt x="474" y="2610"/>
                </a:lnTo>
                <a:lnTo>
                  <a:pt x="477" y="2620"/>
                </a:lnTo>
                <a:lnTo>
                  <a:pt x="480" y="2630"/>
                </a:lnTo>
                <a:lnTo>
                  <a:pt x="480" y="2640"/>
                </a:lnTo>
                <a:lnTo>
                  <a:pt x="479" y="2649"/>
                </a:lnTo>
                <a:lnTo>
                  <a:pt x="475" y="2657"/>
                </a:lnTo>
                <a:lnTo>
                  <a:pt x="475" y="2657"/>
                </a:lnTo>
                <a:close/>
                <a:moveTo>
                  <a:pt x="490" y="2117"/>
                </a:moveTo>
                <a:lnTo>
                  <a:pt x="1692" y="455"/>
                </a:lnTo>
                <a:lnTo>
                  <a:pt x="1692" y="455"/>
                </a:lnTo>
                <a:lnTo>
                  <a:pt x="1694" y="453"/>
                </a:lnTo>
                <a:lnTo>
                  <a:pt x="1699" y="450"/>
                </a:lnTo>
                <a:lnTo>
                  <a:pt x="1708" y="446"/>
                </a:lnTo>
                <a:lnTo>
                  <a:pt x="1713" y="444"/>
                </a:lnTo>
                <a:lnTo>
                  <a:pt x="1720" y="443"/>
                </a:lnTo>
                <a:lnTo>
                  <a:pt x="1728" y="443"/>
                </a:lnTo>
                <a:lnTo>
                  <a:pt x="1737" y="444"/>
                </a:lnTo>
                <a:lnTo>
                  <a:pt x="1748" y="445"/>
                </a:lnTo>
                <a:lnTo>
                  <a:pt x="1760" y="449"/>
                </a:lnTo>
                <a:lnTo>
                  <a:pt x="1773" y="452"/>
                </a:lnTo>
                <a:lnTo>
                  <a:pt x="1788" y="460"/>
                </a:lnTo>
                <a:lnTo>
                  <a:pt x="1803" y="468"/>
                </a:lnTo>
                <a:lnTo>
                  <a:pt x="1821" y="478"/>
                </a:lnTo>
                <a:lnTo>
                  <a:pt x="1821" y="478"/>
                </a:lnTo>
                <a:lnTo>
                  <a:pt x="1836" y="489"/>
                </a:lnTo>
                <a:lnTo>
                  <a:pt x="1849" y="499"/>
                </a:lnTo>
                <a:lnTo>
                  <a:pt x="1859" y="509"/>
                </a:lnTo>
                <a:lnTo>
                  <a:pt x="1867" y="520"/>
                </a:lnTo>
                <a:lnTo>
                  <a:pt x="1875" y="530"/>
                </a:lnTo>
                <a:lnTo>
                  <a:pt x="1880" y="539"/>
                </a:lnTo>
                <a:lnTo>
                  <a:pt x="1883" y="549"/>
                </a:lnTo>
                <a:lnTo>
                  <a:pt x="1887" y="558"/>
                </a:lnTo>
                <a:lnTo>
                  <a:pt x="1888" y="565"/>
                </a:lnTo>
                <a:lnTo>
                  <a:pt x="1888" y="572"/>
                </a:lnTo>
                <a:lnTo>
                  <a:pt x="1888" y="584"/>
                </a:lnTo>
                <a:lnTo>
                  <a:pt x="1887" y="591"/>
                </a:lnTo>
                <a:lnTo>
                  <a:pt x="1886" y="594"/>
                </a:lnTo>
                <a:lnTo>
                  <a:pt x="624" y="2291"/>
                </a:lnTo>
                <a:lnTo>
                  <a:pt x="624" y="2094"/>
                </a:lnTo>
                <a:lnTo>
                  <a:pt x="490" y="2117"/>
                </a:lnTo>
                <a:close/>
                <a:moveTo>
                  <a:pt x="2117" y="835"/>
                </a:moveTo>
                <a:lnTo>
                  <a:pt x="937" y="2462"/>
                </a:lnTo>
                <a:lnTo>
                  <a:pt x="902" y="2386"/>
                </a:lnTo>
                <a:lnTo>
                  <a:pt x="750" y="2359"/>
                </a:lnTo>
                <a:lnTo>
                  <a:pt x="1973" y="677"/>
                </a:lnTo>
                <a:lnTo>
                  <a:pt x="1973" y="677"/>
                </a:lnTo>
                <a:lnTo>
                  <a:pt x="1975" y="676"/>
                </a:lnTo>
                <a:lnTo>
                  <a:pt x="1979" y="672"/>
                </a:lnTo>
                <a:lnTo>
                  <a:pt x="1987" y="669"/>
                </a:lnTo>
                <a:lnTo>
                  <a:pt x="1992" y="669"/>
                </a:lnTo>
                <a:lnTo>
                  <a:pt x="1998" y="668"/>
                </a:lnTo>
                <a:lnTo>
                  <a:pt x="2005" y="669"/>
                </a:lnTo>
                <a:lnTo>
                  <a:pt x="2014" y="670"/>
                </a:lnTo>
                <a:lnTo>
                  <a:pt x="2022" y="674"/>
                </a:lnTo>
                <a:lnTo>
                  <a:pt x="2032" y="679"/>
                </a:lnTo>
                <a:lnTo>
                  <a:pt x="2043" y="685"/>
                </a:lnTo>
                <a:lnTo>
                  <a:pt x="2055" y="693"/>
                </a:lnTo>
                <a:lnTo>
                  <a:pt x="2067" y="704"/>
                </a:lnTo>
                <a:lnTo>
                  <a:pt x="2080" y="718"/>
                </a:lnTo>
                <a:lnTo>
                  <a:pt x="2080" y="718"/>
                </a:lnTo>
                <a:lnTo>
                  <a:pt x="2091" y="731"/>
                </a:lnTo>
                <a:lnTo>
                  <a:pt x="2101" y="741"/>
                </a:lnTo>
                <a:lnTo>
                  <a:pt x="2108" y="754"/>
                </a:lnTo>
                <a:lnTo>
                  <a:pt x="2113" y="764"/>
                </a:lnTo>
                <a:lnTo>
                  <a:pt x="2118" y="774"/>
                </a:lnTo>
                <a:lnTo>
                  <a:pt x="2120" y="784"/>
                </a:lnTo>
                <a:lnTo>
                  <a:pt x="2121" y="793"/>
                </a:lnTo>
                <a:lnTo>
                  <a:pt x="2123" y="801"/>
                </a:lnTo>
                <a:lnTo>
                  <a:pt x="2121" y="815"/>
                </a:lnTo>
                <a:lnTo>
                  <a:pt x="2120" y="826"/>
                </a:lnTo>
                <a:lnTo>
                  <a:pt x="2118" y="832"/>
                </a:lnTo>
                <a:lnTo>
                  <a:pt x="2117" y="835"/>
                </a:lnTo>
                <a:lnTo>
                  <a:pt x="2117" y="835"/>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p>
        </p:txBody>
      </p:sp>
      <p:sp>
        <p:nvSpPr>
          <p:cNvPr id="3" name="Up-Down Arrow 2"/>
          <p:cNvSpPr/>
          <p:nvPr/>
        </p:nvSpPr>
        <p:spPr>
          <a:xfrm rot="16200000">
            <a:off x="2551245" y="3029819"/>
            <a:ext cx="137430" cy="842465"/>
          </a:xfrm>
          <a:prstGeom prst="upDownArrow">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9" name="Oval 8"/>
          <p:cNvSpPr/>
          <p:nvPr/>
        </p:nvSpPr>
        <p:spPr>
          <a:xfrm>
            <a:off x="2525982" y="3347676"/>
            <a:ext cx="187954" cy="206749"/>
          </a:xfrm>
          <a:prstGeom prst="ellipse">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49" name="TextBox 48"/>
          <p:cNvSpPr txBox="1"/>
          <p:nvPr/>
        </p:nvSpPr>
        <p:spPr>
          <a:xfrm>
            <a:off x="682388" y="1937981"/>
            <a:ext cx="7710985" cy="4308872"/>
          </a:xfrm>
          <a:prstGeom prst="rect">
            <a:avLst/>
          </a:prstGeom>
          <a:noFill/>
        </p:spPr>
        <p:txBody>
          <a:bodyPr wrap="square" lIns="0" tIns="0" rIns="0" bIns="0" rtlCol="0">
            <a:spAutoFit/>
          </a:bodyPr>
          <a:lstStyle/>
          <a:p>
            <a:pPr>
              <a:buFont typeface="Wingdings" pitchFamily="2" charset="2"/>
              <a:buChar char="q"/>
            </a:pPr>
            <a:r>
              <a:rPr lang="en-US" sz="2000" b="1" i="1" dirty="0" smtClean="0"/>
              <a:t>On April 26, the National Advisory Council (NAC) has approved a draft pre-legislative process (PLP) for mandatory consultation with citizens before a law is implemented. </a:t>
            </a:r>
          </a:p>
          <a:p>
            <a:pPr algn="just">
              <a:buFont typeface="Wingdings" pitchFamily="2" charset="2"/>
              <a:buChar char="q"/>
            </a:pPr>
            <a:r>
              <a:rPr lang="en-US" sz="2000" b="1" i="1" dirty="0" smtClean="0"/>
              <a:t>The draft recommendation of the Working Group on Transparency, Accountability and Governance, on the ‘pre-legislative process’ suggests that </a:t>
            </a:r>
          </a:p>
          <a:p>
            <a:pPr lvl="1">
              <a:buFont typeface="Wingdings" pitchFamily="2" charset="2"/>
              <a:buChar char="Ø"/>
            </a:pPr>
            <a:r>
              <a:rPr lang="en-US" sz="2000" b="1" i="1" dirty="0" smtClean="0"/>
              <a:t>The pre-legislative process should also adhere to the principles such as a) transparency, b) inclusiveness and c) equity. </a:t>
            </a:r>
          </a:p>
          <a:p>
            <a:pPr lvl="1">
              <a:buFont typeface="Wingdings" pitchFamily="2" charset="2"/>
              <a:buChar char="Ø"/>
            </a:pPr>
            <a:r>
              <a:rPr lang="en-US" sz="2000" b="1" i="1" dirty="0" smtClean="0"/>
              <a:t>An executive order be issued requiring all central ministries to follow the pre-legislative process</a:t>
            </a:r>
          </a:p>
          <a:p>
            <a:pPr lvl="1">
              <a:buFont typeface="Wingdings" pitchFamily="2" charset="2"/>
              <a:buChar char="Ø"/>
            </a:pPr>
            <a:r>
              <a:rPr lang="en-US" sz="2000" b="1" i="1" dirty="0" smtClean="0"/>
              <a:t>The  modes of disclosure and consultations would be a part of the guidelines while details of such processes are likely to be worked out by the concerned central ministry/department</a:t>
            </a:r>
            <a:endParaRPr lang="en-US" sz="2000" b="1" dirty="0" smtClean="0"/>
          </a:p>
          <a:p>
            <a:pPr algn="just">
              <a:buFont typeface="Wingdings" pitchFamily="2" charset="2"/>
              <a:buChar char="Ø"/>
            </a:pPr>
            <a:endParaRPr lang="en-US" sz="2000" b="1" dirty="0" smtClean="0">
              <a:solidFill>
                <a:schemeClr val="accent1">
                  <a:lumMod val="75000"/>
                </a:schemeClr>
              </a:solidFill>
              <a:latin typeface="Neo Sans Std Medium" pitchFamily="34" charset="0"/>
            </a:endParaRPr>
          </a:p>
        </p:txBody>
      </p:sp>
      <p:sp>
        <p:nvSpPr>
          <p:cNvPr id="14" name="Rectangle 13"/>
          <p:cNvSpPr/>
          <p:nvPr/>
        </p:nvSpPr>
        <p:spPr>
          <a:xfrm>
            <a:off x="427936" y="6373811"/>
            <a:ext cx="4572000" cy="253916"/>
          </a:xfrm>
          <a:prstGeom prst="rect">
            <a:avLst/>
          </a:prstGeom>
        </p:spPr>
        <p:txBody>
          <a:bodyPr>
            <a:spAutoFit/>
          </a:bodyPr>
          <a:lstStyle/>
          <a:p>
            <a:r>
              <a:rPr lang="en-US" sz="1050" b="1" i="1" dirty="0" smtClean="0"/>
              <a:t>What deters the unveiling of Legislative Process?</a:t>
            </a:r>
            <a:endParaRPr lang="en-US" sz="1050" b="1" dirty="0">
              <a:solidFill>
                <a:schemeClr val="accent1">
                  <a:lumMod val="75000"/>
                </a:schemeClr>
              </a:solidFill>
              <a:latin typeface="Neo Sans Std Medium" pitchFamily="34" charset="0"/>
            </a:endParaRPr>
          </a:p>
        </p:txBody>
      </p:sp>
      <p:sp>
        <p:nvSpPr>
          <p:cNvPr id="13" name="TextBox 12"/>
          <p:cNvSpPr txBox="1"/>
          <p:nvPr/>
        </p:nvSpPr>
        <p:spPr>
          <a:xfrm>
            <a:off x="1708879" y="777922"/>
            <a:ext cx="6057821" cy="584775"/>
          </a:xfrm>
          <a:prstGeom prst="rect">
            <a:avLst/>
          </a:prstGeom>
          <a:noFill/>
        </p:spPr>
        <p:txBody>
          <a:bodyPr wrap="square" rtlCol="0">
            <a:spAutoFit/>
          </a:bodyPr>
          <a:lstStyle/>
          <a:p>
            <a:pPr algn="ctr"/>
            <a:r>
              <a:rPr lang="en-US" sz="3200" b="1" i="1" dirty="0" smtClean="0">
                <a:solidFill>
                  <a:srgbClr val="0070C0"/>
                </a:solidFill>
              </a:rPr>
              <a:t>Draft Pre-legislative Process (PLP)</a:t>
            </a:r>
            <a:endParaRPr lang="en-US" sz="3200" dirty="0">
              <a:solidFill>
                <a:srgbClr val="0070C0"/>
              </a:solidFill>
            </a:endParaRPr>
          </a:p>
        </p:txBody>
      </p:sp>
    </p:spTree>
    <p:extLst>
      <p:ext uri="{BB962C8B-B14F-4D97-AF65-F5344CB8AC3E}">
        <p14:creationId xmlns:p14="http://schemas.microsoft.com/office/powerpoint/2010/main" xmlns="" val="3796730251"/>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withEffect">
                                  <p:stCondLst>
                                    <p:cond delay="0"/>
                                  </p:stCondLst>
                                  <p:childTnLst>
                                    <p:animRot by="10800000">
                                      <p:cBhvr>
                                        <p:cTn id="6" dur="750" fill="hold"/>
                                        <p:tgtEl>
                                          <p:spTgt spid="3"/>
                                        </p:tgtEl>
                                        <p:attrNameLst>
                                          <p:attrName>r</p:attrName>
                                        </p:attrNameLst>
                                      </p:cBhvr>
                                    </p:animRot>
                                  </p:childTnLst>
                                </p:cTn>
                              </p:par>
                            </p:childTnLst>
                          </p:cTn>
                        </p:par>
                        <p:par>
                          <p:cTn id="7" fill="hold">
                            <p:stCondLst>
                              <p:cond delay="750"/>
                            </p:stCondLst>
                            <p:childTnLst>
                              <p:par>
                                <p:cTn id="8" presetID="32" presetClass="emph" presetSubtype="0" fill="hold" grpId="0" nodeType="afterEffect">
                                  <p:stCondLst>
                                    <p:cond delay="0"/>
                                  </p:stCondLst>
                                  <p:childTnLst>
                                    <p:animRot by="120000">
                                      <p:cBhvr>
                                        <p:cTn id="9" dur="75" fill="hold">
                                          <p:stCondLst>
                                            <p:cond delay="0"/>
                                          </p:stCondLst>
                                        </p:cTn>
                                        <p:tgtEl>
                                          <p:spTgt spid="39"/>
                                        </p:tgtEl>
                                        <p:attrNameLst>
                                          <p:attrName>r</p:attrName>
                                        </p:attrNameLst>
                                      </p:cBhvr>
                                    </p:animRot>
                                    <p:animRot by="-240000">
                                      <p:cBhvr>
                                        <p:cTn id="10" dur="150" fill="hold">
                                          <p:stCondLst>
                                            <p:cond delay="150"/>
                                          </p:stCondLst>
                                        </p:cTn>
                                        <p:tgtEl>
                                          <p:spTgt spid="39"/>
                                        </p:tgtEl>
                                        <p:attrNameLst>
                                          <p:attrName>r</p:attrName>
                                        </p:attrNameLst>
                                      </p:cBhvr>
                                    </p:animRot>
                                    <p:animRot by="240000">
                                      <p:cBhvr>
                                        <p:cTn id="11" dur="150" fill="hold">
                                          <p:stCondLst>
                                            <p:cond delay="300"/>
                                          </p:stCondLst>
                                        </p:cTn>
                                        <p:tgtEl>
                                          <p:spTgt spid="39"/>
                                        </p:tgtEl>
                                        <p:attrNameLst>
                                          <p:attrName>r</p:attrName>
                                        </p:attrNameLst>
                                      </p:cBhvr>
                                    </p:animRot>
                                    <p:animRot by="-240000">
                                      <p:cBhvr>
                                        <p:cTn id="12" dur="150" fill="hold">
                                          <p:stCondLst>
                                            <p:cond delay="450"/>
                                          </p:stCondLst>
                                        </p:cTn>
                                        <p:tgtEl>
                                          <p:spTgt spid="39"/>
                                        </p:tgtEl>
                                        <p:attrNameLst>
                                          <p:attrName>r</p:attrName>
                                        </p:attrNameLst>
                                      </p:cBhvr>
                                    </p:animRot>
                                    <p:animRot by="120000">
                                      <p:cBhvr>
                                        <p:cTn id="13" dur="150" fill="hold">
                                          <p:stCondLst>
                                            <p:cond delay="600"/>
                                          </p:stCondLst>
                                        </p:cTn>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ext uri="{D42A27DB-BD31-4B8C-83A1-F6EECF244321}">
                <p14:modId xmlns:p14="http://schemas.microsoft.com/office/powerpoint/2010/main" xmlns="" val="1861368890"/>
              </p:ext>
            </p:extLst>
          </p:nvPr>
        </p:nvGraphicFramePr>
        <p:xfrm>
          <a:off x="1588" y="1588"/>
          <a:ext cx="1587" cy="1587"/>
        </p:xfrm>
        <a:graphic>
          <a:graphicData uri="http://schemas.openxmlformats.org/presentationml/2006/ole">
            <p:oleObj spid="_x0000_s6172" name="think-cell Slide" r:id="rId4" imgW="360" imgH="360" progId="">
              <p:embed/>
            </p:oleObj>
          </a:graphicData>
        </a:graphic>
      </p:graphicFrame>
      <p:sp>
        <p:nvSpPr>
          <p:cNvPr id="193" name="Freeform 33"/>
          <p:cNvSpPr>
            <a:spLocks noEditPoints="1"/>
          </p:cNvSpPr>
          <p:nvPr/>
        </p:nvSpPr>
        <p:spPr bwMode="auto">
          <a:xfrm>
            <a:off x="534666" y="1687329"/>
            <a:ext cx="8302829" cy="4164430"/>
          </a:xfrm>
          <a:custGeom>
            <a:avLst/>
            <a:gdLst>
              <a:gd name="T0" fmla="*/ 2948 w 7941"/>
              <a:gd name="T1" fmla="*/ 3873 h 5142"/>
              <a:gd name="T2" fmla="*/ 2020 w 7941"/>
              <a:gd name="T3" fmla="*/ 3426 h 5142"/>
              <a:gd name="T4" fmla="*/ 2196 w 7941"/>
              <a:gd name="T5" fmla="*/ 2645 h 5142"/>
              <a:gd name="T6" fmla="*/ 2542 w 7941"/>
              <a:gd name="T7" fmla="*/ 2318 h 5142"/>
              <a:gd name="T8" fmla="*/ 1863 w 7941"/>
              <a:gd name="T9" fmla="*/ 2083 h 5142"/>
              <a:gd name="T10" fmla="*/ 2142 w 7941"/>
              <a:gd name="T11" fmla="*/ 1651 h 5142"/>
              <a:gd name="T12" fmla="*/ 2171 w 7941"/>
              <a:gd name="T13" fmla="*/ 1385 h 5142"/>
              <a:gd name="T14" fmla="*/ 1885 w 7941"/>
              <a:gd name="T15" fmla="*/ 1531 h 5142"/>
              <a:gd name="T16" fmla="*/ 1620 w 7941"/>
              <a:gd name="T17" fmla="*/ 1556 h 5142"/>
              <a:gd name="T18" fmla="*/ 803 w 7941"/>
              <a:gd name="T19" fmla="*/ 1505 h 5142"/>
              <a:gd name="T20" fmla="*/ 158 w 7941"/>
              <a:gd name="T21" fmla="*/ 1840 h 5142"/>
              <a:gd name="T22" fmla="*/ 444 w 7941"/>
              <a:gd name="T23" fmla="*/ 1924 h 5142"/>
              <a:gd name="T24" fmla="*/ 1239 w 7941"/>
              <a:gd name="T25" fmla="*/ 2974 h 5142"/>
              <a:gd name="T26" fmla="*/ 2046 w 7941"/>
              <a:gd name="T27" fmla="*/ 3886 h 5142"/>
              <a:gd name="T28" fmla="*/ 7753 w 7941"/>
              <a:gd name="T29" fmla="*/ 1345 h 5142"/>
              <a:gd name="T30" fmla="*/ 5969 w 7941"/>
              <a:gd name="T31" fmla="*/ 723 h 5142"/>
              <a:gd name="T32" fmla="*/ 4937 w 7941"/>
              <a:gd name="T33" fmla="*/ 535 h 5142"/>
              <a:gd name="T34" fmla="*/ 4783 w 7941"/>
              <a:gd name="T35" fmla="*/ 514 h 5142"/>
              <a:gd name="T36" fmla="*/ 4275 w 7941"/>
              <a:gd name="T37" fmla="*/ 863 h 5142"/>
              <a:gd name="T38" fmla="*/ 2008 w 7941"/>
              <a:gd name="T39" fmla="*/ 1868 h 5142"/>
              <a:gd name="T40" fmla="*/ 1666 w 7941"/>
              <a:gd name="T41" fmla="*/ 491 h 5142"/>
              <a:gd name="T42" fmla="*/ 1665 w 7941"/>
              <a:gd name="T43" fmla="*/ 1125 h 5142"/>
              <a:gd name="T44" fmla="*/ 1891 w 7941"/>
              <a:gd name="T45" fmla="*/ 957 h 5142"/>
              <a:gd name="T46" fmla="*/ 2325 w 7941"/>
              <a:gd name="T47" fmla="*/ 367 h 5142"/>
              <a:gd name="T48" fmla="*/ 1926 w 7941"/>
              <a:gd name="T49" fmla="*/ 273 h 5142"/>
              <a:gd name="T50" fmla="*/ 2008 w 7941"/>
              <a:gd name="T51" fmla="*/ 402 h 5142"/>
              <a:gd name="T52" fmla="*/ 1844 w 7941"/>
              <a:gd name="T53" fmla="*/ 819 h 5142"/>
              <a:gd name="T54" fmla="*/ 1449 w 7941"/>
              <a:gd name="T55" fmla="*/ 758 h 5142"/>
              <a:gd name="T56" fmla="*/ 1158 w 7941"/>
              <a:gd name="T57" fmla="*/ 997 h 5142"/>
              <a:gd name="T58" fmla="*/ 1521 w 7941"/>
              <a:gd name="T59" fmla="*/ 1287 h 5142"/>
              <a:gd name="T60" fmla="*/ 1482 w 7941"/>
              <a:gd name="T61" fmla="*/ 1476 h 5142"/>
              <a:gd name="T62" fmla="*/ 1492 w 7941"/>
              <a:gd name="T63" fmla="*/ 1524 h 5142"/>
              <a:gd name="T64" fmla="*/ 5555 w 7941"/>
              <a:gd name="T65" fmla="*/ 3445 h 5142"/>
              <a:gd name="T66" fmla="*/ 6836 w 7941"/>
              <a:gd name="T67" fmla="*/ 2664 h 5142"/>
              <a:gd name="T68" fmla="*/ 6358 w 7941"/>
              <a:gd name="T69" fmla="*/ 3535 h 5142"/>
              <a:gd name="T70" fmla="*/ 6836 w 7941"/>
              <a:gd name="T71" fmla="*/ 3685 h 5142"/>
              <a:gd name="T72" fmla="*/ 3265 w 7941"/>
              <a:gd name="T73" fmla="*/ 1210 h 5142"/>
              <a:gd name="T74" fmla="*/ 3482 w 7941"/>
              <a:gd name="T75" fmla="*/ 365 h 5142"/>
              <a:gd name="T76" fmla="*/ 3073 w 7941"/>
              <a:gd name="T77" fmla="*/ 104 h 5142"/>
              <a:gd name="T78" fmla="*/ 2759 w 7941"/>
              <a:gd name="T79" fmla="*/ 242 h 5142"/>
              <a:gd name="T80" fmla="*/ 2287 w 7941"/>
              <a:gd name="T81" fmla="*/ 571 h 5142"/>
              <a:gd name="T82" fmla="*/ 2578 w 7941"/>
              <a:gd name="T83" fmla="*/ 1335 h 5142"/>
              <a:gd name="T84" fmla="*/ 5119 w 7941"/>
              <a:gd name="T85" fmla="*/ 978 h 5142"/>
              <a:gd name="T86" fmla="*/ 3549 w 7941"/>
              <a:gd name="T87" fmla="*/ 2206 h 5142"/>
              <a:gd name="T88" fmla="*/ 7611 w 7941"/>
              <a:gd name="T89" fmla="*/ 4481 h 5142"/>
              <a:gd name="T90" fmla="*/ 6294 w 7941"/>
              <a:gd name="T91" fmla="*/ 4346 h 5142"/>
              <a:gd name="T92" fmla="*/ 7004 w 7941"/>
              <a:gd name="T93" fmla="*/ 4536 h 5142"/>
              <a:gd name="T94" fmla="*/ 4058 w 7941"/>
              <a:gd name="T95" fmla="*/ 3907 h 5142"/>
              <a:gd name="T96" fmla="*/ 4245 w 7941"/>
              <a:gd name="T97" fmla="*/ 2862 h 5142"/>
              <a:gd name="T98" fmla="*/ 4000 w 7941"/>
              <a:gd name="T99" fmla="*/ 2600 h 5142"/>
              <a:gd name="T100" fmla="*/ 3986 w 7941"/>
              <a:gd name="T101" fmla="*/ 2018 h 5142"/>
              <a:gd name="T102" fmla="*/ 4490 w 7941"/>
              <a:gd name="T103" fmla="*/ 1664 h 5142"/>
              <a:gd name="T104" fmla="*/ 5068 w 7941"/>
              <a:gd name="T105" fmla="*/ 1523 h 5142"/>
              <a:gd name="T106" fmla="*/ 5396 w 7941"/>
              <a:gd name="T107" fmla="*/ 1525 h 5142"/>
              <a:gd name="T108" fmla="*/ 5859 w 7941"/>
              <a:gd name="T109" fmla="*/ 947 h 5142"/>
              <a:gd name="T110" fmla="*/ 6467 w 7941"/>
              <a:gd name="T111" fmla="*/ 1241 h 5142"/>
              <a:gd name="T112" fmla="*/ 7449 w 7941"/>
              <a:gd name="T113" fmla="*/ 1461 h 5142"/>
              <a:gd name="T114" fmla="*/ 7348 w 7941"/>
              <a:gd name="T115" fmla="*/ 2069 h 5142"/>
              <a:gd name="T116" fmla="*/ 6864 w 7941"/>
              <a:gd name="T117" fmla="*/ 2253 h 5142"/>
              <a:gd name="T118" fmla="*/ 6197 w 7941"/>
              <a:gd name="T119" fmla="*/ 3206 h 5142"/>
              <a:gd name="T120" fmla="*/ 6665 w 7941"/>
              <a:gd name="T121" fmla="*/ 3788 h 5142"/>
              <a:gd name="T122" fmla="*/ 5469 w 7941"/>
              <a:gd name="T123" fmla="*/ 3460 h 5142"/>
              <a:gd name="T124" fmla="*/ 4526 w 7941"/>
              <a:gd name="T125" fmla="*/ 2954 h 5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41" h="5142">
                <a:moveTo>
                  <a:pt x="2367" y="5089"/>
                </a:moveTo>
                <a:lnTo>
                  <a:pt x="2366" y="5085"/>
                </a:lnTo>
                <a:lnTo>
                  <a:pt x="2364" y="5083"/>
                </a:lnTo>
                <a:lnTo>
                  <a:pt x="2362" y="5082"/>
                </a:lnTo>
                <a:lnTo>
                  <a:pt x="2359" y="5081"/>
                </a:lnTo>
                <a:lnTo>
                  <a:pt x="2351" y="5079"/>
                </a:lnTo>
                <a:lnTo>
                  <a:pt x="2338" y="5078"/>
                </a:lnTo>
                <a:lnTo>
                  <a:pt x="2324" y="5076"/>
                </a:lnTo>
                <a:lnTo>
                  <a:pt x="2313" y="5074"/>
                </a:lnTo>
                <a:lnTo>
                  <a:pt x="2309" y="5072"/>
                </a:lnTo>
                <a:lnTo>
                  <a:pt x="2303" y="5070"/>
                </a:lnTo>
                <a:lnTo>
                  <a:pt x="2300" y="5068"/>
                </a:lnTo>
                <a:lnTo>
                  <a:pt x="2297" y="5065"/>
                </a:lnTo>
                <a:lnTo>
                  <a:pt x="2289" y="5057"/>
                </a:lnTo>
                <a:lnTo>
                  <a:pt x="2278" y="5047"/>
                </a:lnTo>
                <a:lnTo>
                  <a:pt x="2273" y="5041"/>
                </a:lnTo>
                <a:lnTo>
                  <a:pt x="2269" y="5035"/>
                </a:lnTo>
                <a:lnTo>
                  <a:pt x="2266" y="5031"/>
                </a:lnTo>
                <a:lnTo>
                  <a:pt x="2265" y="5027"/>
                </a:lnTo>
                <a:lnTo>
                  <a:pt x="2267" y="5019"/>
                </a:lnTo>
                <a:lnTo>
                  <a:pt x="2269" y="5014"/>
                </a:lnTo>
                <a:lnTo>
                  <a:pt x="2270" y="5012"/>
                </a:lnTo>
                <a:lnTo>
                  <a:pt x="2271" y="5009"/>
                </a:lnTo>
                <a:lnTo>
                  <a:pt x="2271" y="5007"/>
                </a:lnTo>
                <a:lnTo>
                  <a:pt x="2270" y="5005"/>
                </a:lnTo>
                <a:lnTo>
                  <a:pt x="2267" y="5000"/>
                </a:lnTo>
                <a:lnTo>
                  <a:pt x="2266" y="4993"/>
                </a:lnTo>
                <a:lnTo>
                  <a:pt x="2266" y="4987"/>
                </a:lnTo>
                <a:lnTo>
                  <a:pt x="2266" y="4980"/>
                </a:lnTo>
                <a:lnTo>
                  <a:pt x="2265" y="4975"/>
                </a:lnTo>
                <a:lnTo>
                  <a:pt x="2261" y="4970"/>
                </a:lnTo>
                <a:lnTo>
                  <a:pt x="2257" y="4965"/>
                </a:lnTo>
                <a:lnTo>
                  <a:pt x="2252" y="4960"/>
                </a:lnTo>
                <a:lnTo>
                  <a:pt x="2248" y="4954"/>
                </a:lnTo>
                <a:lnTo>
                  <a:pt x="2245" y="4949"/>
                </a:lnTo>
                <a:lnTo>
                  <a:pt x="2244" y="4947"/>
                </a:lnTo>
                <a:lnTo>
                  <a:pt x="2243" y="4945"/>
                </a:lnTo>
                <a:lnTo>
                  <a:pt x="2243" y="4943"/>
                </a:lnTo>
                <a:lnTo>
                  <a:pt x="2244" y="4942"/>
                </a:lnTo>
                <a:lnTo>
                  <a:pt x="2252" y="4935"/>
                </a:lnTo>
                <a:lnTo>
                  <a:pt x="2265" y="4925"/>
                </a:lnTo>
                <a:lnTo>
                  <a:pt x="2272" y="4920"/>
                </a:lnTo>
                <a:lnTo>
                  <a:pt x="2277" y="4915"/>
                </a:lnTo>
                <a:lnTo>
                  <a:pt x="2279" y="4912"/>
                </a:lnTo>
                <a:lnTo>
                  <a:pt x="2281" y="4909"/>
                </a:lnTo>
                <a:lnTo>
                  <a:pt x="2282" y="4906"/>
                </a:lnTo>
                <a:lnTo>
                  <a:pt x="2282" y="4903"/>
                </a:lnTo>
                <a:lnTo>
                  <a:pt x="2281" y="4894"/>
                </a:lnTo>
                <a:lnTo>
                  <a:pt x="2280" y="4885"/>
                </a:lnTo>
                <a:lnTo>
                  <a:pt x="2280" y="4881"/>
                </a:lnTo>
                <a:lnTo>
                  <a:pt x="2281" y="4878"/>
                </a:lnTo>
                <a:lnTo>
                  <a:pt x="2283" y="4875"/>
                </a:lnTo>
                <a:lnTo>
                  <a:pt x="2288" y="4872"/>
                </a:lnTo>
                <a:lnTo>
                  <a:pt x="2298" y="4865"/>
                </a:lnTo>
                <a:lnTo>
                  <a:pt x="2308" y="4858"/>
                </a:lnTo>
                <a:lnTo>
                  <a:pt x="2314" y="4851"/>
                </a:lnTo>
                <a:lnTo>
                  <a:pt x="2317" y="4846"/>
                </a:lnTo>
                <a:lnTo>
                  <a:pt x="2317" y="4839"/>
                </a:lnTo>
                <a:lnTo>
                  <a:pt x="2316" y="4829"/>
                </a:lnTo>
                <a:lnTo>
                  <a:pt x="2313" y="4819"/>
                </a:lnTo>
                <a:lnTo>
                  <a:pt x="2310" y="4811"/>
                </a:lnTo>
                <a:lnTo>
                  <a:pt x="2302" y="4805"/>
                </a:lnTo>
                <a:lnTo>
                  <a:pt x="2293" y="4797"/>
                </a:lnTo>
                <a:lnTo>
                  <a:pt x="2288" y="4793"/>
                </a:lnTo>
                <a:lnTo>
                  <a:pt x="2284" y="4789"/>
                </a:lnTo>
                <a:lnTo>
                  <a:pt x="2282" y="4784"/>
                </a:lnTo>
                <a:lnTo>
                  <a:pt x="2281" y="4780"/>
                </a:lnTo>
                <a:lnTo>
                  <a:pt x="2282" y="4771"/>
                </a:lnTo>
                <a:lnTo>
                  <a:pt x="2284" y="4764"/>
                </a:lnTo>
                <a:lnTo>
                  <a:pt x="2286" y="4762"/>
                </a:lnTo>
                <a:lnTo>
                  <a:pt x="2288" y="4760"/>
                </a:lnTo>
                <a:lnTo>
                  <a:pt x="2291" y="4759"/>
                </a:lnTo>
                <a:lnTo>
                  <a:pt x="2295" y="4759"/>
                </a:lnTo>
                <a:lnTo>
                  <a:pt x="2300" y="4758"/>
                </a:lnTo>
                <a:lnTo>
                  <a:pt x="2305" y="4756"/>
                </a:lnTo>
                <a:lnTo>
                  <a:pt x="2311" y="4755"/>
                </a:lnTo>
                <a:lnTo>
                  <a:pt x="2315" y="4753"/>
                </a:lnTo>
                <a:lnTo>
                  <a:pt x="2323" y="4748"/>
                </a:lnTo>
                <a:lnTo>
                  <a:pt x="2329" y="4745"/>
                </a:lnTo>
                <a:lnTo>
                  <a:pt x="2329" y="4740"/>
                </a:lnTo>
                <a:lnTo>
                  <a:pt x="2326" y="4727"/>
                </a:lnTo>
                <a:lnTo>
                  <a:pt x="2326" y="4720"/>
                </a:lnTo>
                <a:lnTo>
                  <a:pt x="2327" y="4712"/>
                </a:lnTo>
                <a:lnTo>
                  <a:pt x="2329" y="4709"/>
                </a:lnTo>
                <a:lnTo>
                  <a:pt x="2330" y="4706"/>
                </a:lnTo>
                <a:lnTo>
                  <a:pt x="2332" y="4703"/>
                </a:lnTo>
                <a:lnTo>
                  <a:pt x="2335" y="4701"/>
                </a:lnTo>
                <a:lnTo>
                  <a:pt x="2346" y="4695"/>
                </a:lnTo>
                <a:lnTo>
                  <a:pt x="2359" y="4690"/>
                </a:lnTo>
                <a:lnTo>
                  <a:pt x="2363" y="4688"/>
                </a:lnTo>
                <a:lnTo>
                  <a:pt x="2367" y="4685"/>
                </a:lnTo>
                <a:lnTo>
                  <a:pt x="2368" y="4684"/>
                </a:lnTo>
                <a:lnTo>
                  <a:pt x="2369" y="4681"/>
                </a:lnTo>
                <a:lnTo>
                  <a:pt x="2369" y="4679"/>
                </a:lnTo>
                <a:lnTo>
                  <a:pt x="2369" y="4676"/>
                </a:lnTo>
                <a:lnTo>
                  <a:pt x="2369" y="4672"/>
                </a:lnTo>
                <a:lnTo>
                  <a:pt x="2367" y="4668"/>
                </a:lnTo>
                <a:lnTo>
                  <a:pt x="2365" y="4665"/>
                </a:lnTo>
                <a:lnTo>
                  <a:pt x="2362" y="4663"/>
                </a:lnTo>
                <a:lnTo>
                  <a:pt x="2355" y="4658"/>
                </a:lnTo>
                <a:lnTo>
                  <a:pt x="2347" y="4653"/>
                </a:lnTo>
                <a:lnTo>
                  <a:pt x="2340" y="4650"/>
                </a:lnTo>
                <a:lnTo>
                  <a:pt x="2335" y="4645"/>
                </a:lnTo>
                <a:lnTo>
                  <a:pt x="2334" y="4644"/>
                </a:lnTo>
                <a:lnTo>
                  <a:pt x="2333" y="4643"/>
                </a:lnTo>
                <a:lnTo>
                  <a:pt x="2333" y="4641"/>
                </a:lnTo>
                <a:lnTo>
                  <a:pt x="2335" y="4640"/>
                </a:lnTo>
                <a:lnTo>
                  <a:pt x="2347" y="4637"/>
                </a:lnTo>
                <a:lnTo>
                  <a:pt x="2366" y="4634"/>
                </a:lnTo>
                <a:lnTo>
                  <a:pt x="2375" y="4632"/>
                </a:lnTo>
                <a:lnTo>
                  <a:pt x="2383" y="4630"/>
                </a:lnTo>
                <a:lnTo>
                  <a:pt x="2389" y="4627"/>
                </a:lnTo>
                <a:lnTo>
                  <a:pt x="2393" y="4623"/>
                </a:lnTo>
                <a:lnTo>
                  <a:pt x="2396" y="4618"/>
                </a:lnTo>
                <a:lnTo>
                  <a:pt x="2397" y="4611"/>
                </a:lnTo>
                <a:lnTo>
                  <a:pt x="2397" y="4602"/>
                </a:lnTo>
                <a:lnTo>
                  <a:pt x="2398" y="4594"/>
                </a:lnTo>
                <a:lnTo>
                  <a:pt x="2399" y="4587"/>
                </a:lnTo>
                <a:lnTo>
                  <a:pt x="2400" y="4579"/>
                </a:lnTo>
                <a:lnTo>
                  <a:pt x="2401" y="4576"/>
                </a:lnTo>
                <a:lnTo>
                  <a:pt x="2403" y="4574"/>
                </a:lnTo>
                <a:lnTo>
                  <a:pt x="2404" y="4572"/>
                </a:lnTo>
                <a:lnTo>
                  <a:pt x="2406" y="4571"/>
                </a:lnTo>
                <a:lnTo>
                  <a:pt x="2425" y="4568"/>
                </a:lnTo>
                <a:lnTo>
                  <a:pt x="2455" y="4565"/>
                </a:lnTo>
                <a:lnTo>
                  <a:pt x="2471" y="4563"/>
                </a:lnTo>
                <a:lnTo>
                  <a:pt x="2485" y="4559"/>
                </a:lnTo>
                <a:lnTo>
                  <a:pt x="2490" y="4558"/>
                </a:lnTo>
                <a:lnTo>
                  <a:pt x="2494" y="4556"/>
                </a:lnTo>
                <a:lnTo>
                  <a:pt x="2497" y="4554"/>
                </a:lnTo>
                <a:lnTo>
                  <a:pt x="2498" y="4552"/>
                </a:lnTo>
                <a:lnTo>
                  <a:pt x="2505" y="4540"/>
                </a:lnTo>
                <a:lnTo>
                  <a:pt x="2513" y="4523"/>
                </a:lnTo>
                <a:lnTo>
                  <a:pt x="2520" y="4508"/>
                </a:lnTo>
                <a:lnTo>
                  <a:pt x="2524" y="4503"/>
                </a:lnTo>
                <a:lnTo>
                  <a:pt x="2520" y="4498"/>
                </a:lnTo>
                <a:lnTo>
                  <a:pt x="2512" y="4488"/>
                </a:lnTo>
                <a:lnTo>
                  <a:pt x="2508" y="4482"/>
                </a:lnTo>
                <a:lnTo>
                  <a:pt x="2505" y="4477"/>
                </a:lnTo>
                <a:lnTo>
                  <a:pt x="2505" y="4474"/>
                </a:lnTo>
                <a:lnTo>
                  <a:pt x="2505" y="4471"/>
                </a:lnTo>
                <a:lnTo>
                  <a:pt x="2505" y="4470"/>
                </a:lnTo>
                <a:lnTo>
                  <a:pt x="2506" y="4468"/>
                </a:lnTo>
                <a:lnTo>
                  <a:pt x="2510" y="4466"/>
                </a:lnTo>
                <a:lnTo>
                  <a:pt x="2516" y="4464"/>
                </a:lnTo>
                <a:lnTo>
                  <a:pt x="2524" y="4463"/>
                </a:lnTo>
                <a:lnTo>
                  <a:pt x="2532" y="4461"/>
                </a:lnTo>
                <a:lnTo>
                  <a:pt x="2546" y="4459"/>
                </a:lnTo>
                <a:lnTo>
                  <a:pt x="2554" y="4458"/>
                </a:lnTo>
                <a:lnTo>
                  <a:pt x="2560" y="4456"/>
                </a:lnTo>
                <a:lnTo>
                  <a:pt x="2571" y="4451"/>
                </a:lnTo>
                <a:lnTo>
                  <a:pt x="2577" y="4447"/>
                </a:lnTo>
                <a:lnTo>
                  <a:pt x="2583" y="4443"/>
                </a:lnTo>
                <a:lnTo>
                  <a:pt x="2588" y="4439"/>
                </a:lnTo>
                <a:lnTo>
                  <a:pt x="2594" y="4434"/>
                </a:lnTo>
                <a:lnTo>
                  <a:pt x="2601" y="4423"/>
                </a:lnTo>
                <a:lnTo>
                  <a:pt x="2608" y="4412"/>
                </a:lnTo>
                <a:lnTo>
                  <a:pt x="2615" y="4400"/>
                </a:lnTo>
                <a:lnTo>
                  <a:pt x="2621" y="4390"/>
                </a:lnTo>
                <a:lnTo>
                  <a:pt x="2628" y="4379"/>
                </a:lnTo>
                <a:lnTo>
                  <a:pt x="2635" y="4371"/>
                </a:lnTo>
                <a:lnTo>
                  <a:pt x="2643" y="4363"/>
                </a:lnTo>
                <a:lnTo>
                  <a:pt x="2649" y="4355"/>
                </a:lnTo>
                <a:lnTo>
                  <a:pt x="2652" y="4351"/>
                </a:lnTo>
                <a:lnTo>
                  <a:pt x="2655" y="4347"/>
                </a:lnTo>
                <a:lnTo>
                  <a:pt x="2657" y="4342"/>
                </a:lnTo>
                <a:lnTo>
                  <a:pt x="2660" y="4335"/>
                </a:lnTo>
                <a:lnTo>
                  <a:pt x="2664" y="4324"/>
                </a:lnTo>
                <a:lnTo>
                  <a:pt x="2667" y="4315"/>
                </a:lnTo>
                <a:lnTo>
                  <a:pt x="2681" y="4305"/>
                </a:lnTo>
                <a:lnTo>
                  <a:pt x="2691" y="4295"/>
                </a:lnTo>
                <a:lnTo>
                  <a:pt x="2693" y="4284"/>
                </a:lnTo>
                <a:lnTo>
                  <a:pt x="2693" y="4269"/>
                </a:lnTo>
                <a:lnTo>
                  <a:pt x="2693" y="4257"/>
                </a:lnTo>
                <a:lnTo>
                  <a:pt x="2693" y="4239"/>
                </a:lnTo>
                <a:lnTo>
                  <a:pt x="2694" y="4229"/>
                </a:lnTo>
                <a:lnTo>
                  <a:pt x="2695" y="4222"/>
                </a:lnTo>
                <a:lnTo>
                  <a:pt x="2697" y="4219"/>
                </a:lnTo>
                <a:lnTo>
                  <a:pt x="2698" y="4216"/>
                </a:lnTo>
                <a:lnTo>
                  <a:pt x="2700" y="4214"/>
                </a:lnTo>
                <a:lnTo>
                  <a:pt x="2703" y="4213"/>
                </a:lnTo>
                <a:lnTo>
                  <a:pt x="2708" y="4210"/>
                </a:lnTo>
                <a:lnTo>
                  <a:pt x="2713" y="4206"/>
                </a:lnTo>
                <a:lnTo>
                  <a:pt x="2717" y="4202"/>
                </a:lnTo>
                <a:lnTo>
                  <a:pt x="2722" y="4197"/>
                </a:lnTo>
                <a:lnTo>
                  <a:pt x="2732" y="4188"/>
                </a:lnTo>
                <a:lnTo>
                  <a:pt x="2741" y="4179"/>
                </a:lnTo>
                <a:lnTo>
                  <a:pt x="2746" y="4177"/>
                </a:lnTo>
                <a:lnTo>
                  <a:pt x="2750" y="4176"/>
                </a:lnTo>
                <a:lnTo>
                  <a:pt x="2754" y="4175"/>
                </a:lnTo>
                <a:lnTo>
                  <a:pt x="2758" y="4175"/>
                </a:lnTo>
                <a:lnTo>
                  <a:pt x="2763" y="4175"/>
                </a:lnTo>
                <a:lnTo>
                  <a:pt x="2768" y="4175"/>
                </a:lnTo>
                <a:lnTo>
                  <a:pt x="2773" y="4174"/>
                </a:lnTo>
                <a:lnTo>
                  <a:pt x="2777" y="4172"/>
                </a:lnTo>
                <a:lnTo>
                  <a:pt x="2788" y="4167"/>
                </a:lnTo>
                <a:lnTo>
                  <a:pt x="2801" y="4162"/>
                </a:lnTo>
                <a:lnTo>
                  <a:pt x="2814" y="4158"/>
                </a:lnTo>
                <a:lnTo>
                  <a:pt x="2823" y="4157"/>
                </a:lnTo>
                <a:lnTo>
                  <a:pt x="2830" y="4158"/>
                </a:lnTo>
                <a:lnTo>
                  <a:pt x="2835" y="4159"/>
                </a:lnTo>
                <a:lnTo>
                  <a:pt x="2838" y="4160"/>
                </a:lnTo>
                <a:lnTo>
                  <a:pt x="2840" y="4159"/>
                </a:lnTo>
                <a:lnTo>
                  <a:pt x="2842" y="4158"/>
                </a:lnTo>
                <a:lnTo>
                  <a:pt x="2845" y="4155"/>
                </a:lnTo>
                <a:lnTo>
                  <a:pt x="2852" y="4148"/>
                </a:lnTo>
                <a:lnTo>
                  <a:pt x="2860" y="4138"/>
                </a:lnTo>
                <a:lnTo>
                  <a:pt x="2862" y="4133"/>
                </a:lnTo>
                <a:lnTo>
                  <a:pt x="2863" y="4128"/>
                </a:lnTo>
                <a:lnTo>
                  <a:pt x="2863" y="4123"/>
                </a:lnTo>
                <a:lnTo>
                  <a:pt x="2864" y="4116"/>
                </a:lnTo>
                <a:lnTo>
                  <a:pt x="2864" y="4110"/>
                </a:lnTo>
                <a:lnTo>
                  <a:pt x="2865" y="4105"/>
                </a:lnTo>
                <a:lnTo>
                  <a:pt x="2867" y="4101"/>
                </a:lnTo>
                <a:lnTo>
                  <a:pt x="2871" y="4096"/>
                </a:lnTo>
                <a:lnTo>
                  <a:pt x="2881" y="4090"/>
                </a:lnTo>
                <a:lnTo>
                  <a:pt x="2887" y="4085"/>
                </a:lnTo>
                <a:lnTo>
                  <a:pt x="2890" y="4082"/>
                </a:lnTo>
                <a:lnTo>
                  <a:pt x="2892" y="4080"/>
                </a:lnTo>
                <a:lnTo>
                  <a:pt x="2893" y="4076"/>
                </a:lnTo>
                <a:lnTo>
                  <a:pt x="2894" y="4073"/>
                </a:lnTo>
                <a:lnTo>
                  <a:pt x="2894" y="4064"/>
                </a:lnTo>
                <a:lnTo>
                  <a:pt x="2895" y="4051"/>
                </a:lnTo>
                <a:lnTo>
                  <a:pt x="2896" y="4040"/>
                </a:lnTo>
                <a:lnTo>
                  <a:pt x="2900" y="4031"/>
                </a:lnTo>
                <a:lnTo>
                  <a:pt x="2902" y="4009"/>
                </a:lnTo>
                <a:lnTo>
                  <a:pt x="2903" y="3970"/>
                </a:lnTo>
                <a:lnTo>
                  <a:pt x="2903" y="3949"/>
                </a:lnTo>
                <a:lnTo>
                  <a:pt x="2904" y="3931"/>
                </a:lnTo>
                <a:lnTo>
                  <a:pt x="2905" y="3918"/>
                </a:lnTo>
                <a:lnTo>
                  <a:pt x="2907" y="3913"/>
                </a:lnTo>
                <a:lnTo>
                  <a:pt x="2912" y="3911"/>
                </a:lnTo>
                <a:lnTo>
                  <a:pt x="2917" y="3910"/>
                </a:lnTo>
                <a:lnTo>
                  <a:pt x="2924" y="3907"/>
                </a:lnTo>
                <a:lnTo>
                  <a:pt x="2928" y="3903"/>
                </a:lnTo>
                <a:lnTo>
                  <a:pt x="2932" y="3894"/>
                </a:lnTo>
                <a:lnTo>
                  <a:pt x="2937" y="3885"/>
                </a:lnTo>
                <a:lnTo>
                  <a:pt x="2940" y="3881"/>
                </a:lnTo>
                <a:lnTo>
                  <a:pt x="2942" y="3876"/>
                </a:lnTo>
                <a:lnTo>
                  <a:pt x="2946" y="3874"/>
                </a:lnTo>
                <a:lnTo>
                  <a:pt x="2948" y="3873"/>
                </a:lnTo>
                <a:lnTo>
                  <a:pt x="2951" y="3872"/>
                </a:lnTo>
                <a:lnTo>
                  <a:pt x="2954" y="3870"/>
                </a:lnTo>
                <a:lnTo>
                  <a:pt x="2956" y="3868"/>
                </a:lnTo>
                <a:lnTo>
                  <a:pt x="2959" y="3866"/>
                </a:lnTo>
                <a:lnTo>
                  <a:pt x="2964" y="3860"/>
                </a:lnTo>
                <a:lnTo>
                  <a:pt x="2968" y="3855"/>
                </a:lnTo>
                <a:lnTo>
                  <a:pt x="2978" y="3848"/>
                </a:lnTo>
                <a:lnTo>
                  <a:pt x="2988" y="3840"/>
                </a:lnTo>
                <a:lnTo>
                  <a:pt x="2991" y="3837"/>
                </a:lnTo>
                <a:lnTo>
                  <a:pt x="2994" y="3834"/>
                </a:lnTo>
                <a:lnTo>
                  <a:pt x="2995" y="3828"/>
                </a:lnTo>
                <a:lnTo>
                  <a:pt x="2995" y="3816"/>
                </a:lnTo>
                <a:lnTo>
                  <a:pt x="2995" y="3800"/>
                </a:lnTo>
                <a:lnTo>
                  <a:pt x="2995" y="3787"/>
                </a:lnTo>
                <a:lnTo>
                  <a:pt x="2994" y="3777"/>
                </a:lnTo>
                <a:lnTo>
                  <a:pt x="2992" y="3769"/>
                </a:lnTo>
                <a:lnTo>
                  <a:pt x="2990" y="3766"/>
                </a:lnTo>
                <a:lnTo>
                  <a:pt x="2985" y="3763"/>
                </a:lnTo>
                <a:lnTo>
                  <a:pt x="2981" y="3760"/>
                </a:lnTo>
                <a:lnTo>
                  <a:pt x="2975" y="3757"/>
                </a:lnTo>
                <a:lnTo>
                  <a:pt x="2963" y="3752"/>
                </a:lnTo>
                <a:lnTo>
                  <a:pt x="2953" y="3746"/>
                </a:lnTo>
                <a:lnTo>
                  <a:pt x="2945" y="3742"/>
                </a:lnTo>
                <a:lnTo>
                  <a:pt x="2938" y="3740"/>
                </a:lnTo>
                <a:lnTo>
                  <a:pt x="2932" y="3736"/>
                </a:lnTo>
                <a:lnTo>
                  <a:pt x="2924" y="3729"/>
                </a:lnTo>
                <a:lnTo>
                  <a:pt x="2915" y="3719"/>
                </a:lnTo>
                <a:lnTo>
                  <a:pt x="2906" y="3710"/>
                </a:lnTo>
                <a:lnTo>
                  <a:pt x="2902" y="3707"/>
                </a:lnTo>
                <a:lnTo>
                  <a:pt x="2896" y="3703"/>
                </a:lnTo>
                <a:lnTo>
                  <a:pt x="2891" y="3701"/>
                </a:lnTo>
                <a:lnTo>
                  <a:pt x="2886" y="3699"/>
                </a:lnTo>
                <a:lnTo>
                  <a:pt x="2868" y="3699"/>
                </a:lnTo>
                <a:lnTo>
                  <a:pt x="2845" y="3700"/>
                </a:lnTo>
                <a:lnTo>
                  <a:pt x="2834" y="3700"/>
                </a:lnTo>
                <a:lnTo>
                  <a:pt x="2824" y="3700"/>
                </a:lnTo>
                <a:lnTo>
                  <a:pt x="2816" y="3699"/>
                </a:lnTo>
                <a:lnTo>
                  <a:pt x="2810" y="3697"/>
                </a:lnTo>
                <a:lnTo>
                  <a:pt x="2803" y="3691"/>
                </a:lnTo>
                <a:lnTo>
                  <a:pt x="2796" y="3686"/>
                </a:lnTo>
                <a:lnTo>
                  <a:pt x="2792" y="3685"/>
                </a:lnTo>
                <a:lnTo>
                  <a:pt x="2788" y="3684"/>
                </a:lnTo>
                <a:lnTo>
                  <a:pt x="2786" y="3684"/>
                </a:lnTo>
                <a:lnTo>
                  <a:pt x="2784" y="3686"/>
                </a:lnTo>
                <a:lnTo>
                  <a:pt x="2780" y="3690"/>
                </a:lnTo>
                <a:lnTo>
                  <a:pt x="2777" y="3693"/>
                </a:lnTo>
                <a:lnTo>
                  <a:pt x="2776" y="3694"/>
                </a:lnTo>
                <a:lnTo>
                  <a:pt x="2775" y="3693"/>
                </a:lnTo>
                <a:lnTo>
                  <a:pt x="2774" y="3692"/>
                </a:lnTo>
                <a:lnTo>
                  <a:pt x="2773" y="3690"/>
                </a:lnTo>
                <a:lnTo>
                  <a:pt x="2772" y="3683"/>
                </a:lnTo>
                <a:lnTo>
                  <a:pt x="2771" y="3675"/>
                </a:lnTo>
                <a:lnTo>
                  <a:pt x="2769" y="3668"/>
                </a:lnTo>
                <a:lnTo>
                  <a:pt x="2766" y="3665"/>
                </a:lnTo>
                <a:lnTo>
                  <a:pt x="2760" y="3659"/>
                </a:lnTo>
                <a:lnTo>
                  <a:pt x="2748" y="3652"/>
                </a:lnTo>
                <a:lnTo>
                  <a:pt x="2741" y="3648"/>
                </a:lnTo>
                <a:lnTo>
                  <a:pt x="2735" y="3645"/>
                </a:lnTo>
                <a:lnTo>
                  <a:pt x="2732" y="3644"/>
                </a:lnTo>
                <a:lnTo>
                  <a:pt x="2730" y="3644"/>
                </a:lnTo>
                <a:lnTo>
                  <a:pt x="2728" y="3644"/>
                </a:lnTo>
                <a:lnTo>
                  <a:pt x="2726" y="3645"/>
                </a:lnTo>
                <a:lnTo>
                  <a:pt x="2715" y="3656"/>
                </a:lnTo>
                <a:lnTo>
                  <a:pt x="2699" y="3674"/>
                </a:lnTo>
                <a:lnTo>
                  <a:pt x="2691" y="3683"/>
                </a:lnTo>
                <a:lnTo>
                  <a:pt x="2684" y="3690"/>
                </a:lnTo>
                <a:lnTo>
                  <a:pt x="2681" y="3692"/>
                </a:lnTo>
                <a:lnTo>
                  <a:pt x="2678" y="3693"/>
                </a:lnTo>
                <a:lnTo>
                  <a:pt x="2676" y="3693"/>
                </a:lnTo>
                <a:lnTo>
                  <a:pt x="2675" y="3692"/>
                </a:lnTo>
                <a:lnTo>
                  <a:pt x="2674" y="3690"/>
                </a:lnTo>
                <a:lnTo>
                  <a:pt x="2674" y="3688"/>
                </a:lnTo>
                <a:lnTo>
                  <a:pt x="2674" y="3685"/>
                </a:lnTo>
                <a:lnTo>
                  <a:pt x="2675" y="3683"/>
                </a:lnTo>
                <a:lnTo>
                  <a:pt x="2678" y="3676"/>
                </a:lnTo>
                <a:lnTo>
                  <a:pt x="2682" y="3670"/>
                </a:lnTo>
                <a:lnTo>
                  <a:pt x="2686" y="3664"/>
                </a:lnTo>
                <a:lnTo>
                  <a:pt x="2688" y="3658"/>
                </a:lnTo>
                <a:lnTo>
                  <a:pt x="2689" y="3655"/>
                </a:lnTo>
                <a:lnTo>
                  <a:pt x="2689" y="3653"/>
                </a:lnTo>
                <a:lnTo>
                  <a:pt x="2689" y="3651"/>
                </a:lnTo>
                <a:lnTo>
                  <a:pt x="2687" y="3649"/>
                </a:lnTo>
                <a:lnTo>
                  <a:pt x="2684" y="3647"/>
                </a:lnTo>
                <a:lnTo>
                  <a:pt x="2679" y="3647"/>
                </a:lnTo>
                <a:lnTo>
                  <a:pt x="2674" y="3647"/>
                </a:lnTo>
                <a:lnTo>
                  <a:pt x="2670" y="3649"/>
                </a:lnTo>
                <a:lnTo>
                  <a:pt x="2661" y="3653"/>
                </a:lnTo>
                <a:lnTo>
                  <a:pt x="2653" y="3658"/>
                </a:lnTo>
                <a:lnTo>
                  <a:pt x="2645" y="3663"/>
                </a:lnTo>
                <a:lnTo>
                  <a:pt x="2635" y="3666"/>
                </a:lnTo>
                <a:lnTo>
                  <a:pt x="2630" y="3667"/>
                </a:lnTo>
                <a:lnTo>
                  <a:pt x="2626" y="3667"/>
                </a:lnTo>
                <a:lnTo>
                  <a:pt x="2623" y="3667"/>
                </a:lnTo>
                <a:lnTo>
                  <a:pt x="2621" y="3666"/>
                </a:lnTo>
                <a:lnTo>
                  <a:pt x="2620" y="3664"/>
                </a:lnTo>
                <a:lnTo>
                  <a:pt x="2621" y="3661"/>
                </a:lnTo>
                <a:lnTo>
                  <a:pt x="2622" y="3657"/>
                </a:lnTo>
                <a:lnTo>
                  <a:pt x="2624" y="3654"/>
                </a:lnTo>
                <a:lnTo>
                  <a:pt x="2628" y="3647"/>
                </a:lnTo>
                <a:lnTo>
                  <a:pt x="2634" y="3643"/>
                </a:lnTo>
                <a:lnTo>
                  <a:pt x="2641" y="3637"/>
                </a:lnTo>
                <a:lnTo>
                  <a:pt x="2649" y="3630"/>
                </a:lnTo>
                <a:lnTo>
                  <a:pt x="2653" y="3626"/>
                </a:lnTo>
                <a:lnTo>
                  <a:pt x="2656" y="3621"/>
                </a:lnTo>
                <a:lnTo>
                  <a:pt x="2659" y="3617"/>
                </a:lnTo>
                <a:lnTo>
                  <a:pt x="2660" y="3613"/>
                </a:lnTo>
                <a:lnTo>
                  <a:pt x="2659" y="3610"/>
                </a:lnTo>
                <a:lnTo>
                  <a:pt x="2656" y="3606"/>
                </a:lnTo>
                <a:lnTo>
                  <a:pt x="2653" y="3603"/>
                </a:lnTo>
                <a:lnTo>
                  <a:pt x="2650" y="3600"/>
                </a:lnTo>
                <a:lnTo>
                  <a:pt x="2643" y="3593"/>
                </a:lnTo>
                <a:lnTo>
                  <a:pt x="2639" y="3588"/>
                </a:lnTo>
                <a:lnTo>
                  <a:pt x="2634" y="3577"/>
                </a:lnTo>
                <a:lnTo>
                  <a:pt x="2628" y="3558"/>
                </a:lnTo>
                <a:lnTo>
                  <a:pt x="2624" y="3548"/>
                </a:lnTo>
                <a:lnTo>
                  <a:pt x="2620" y="3542"/>
                </a:lnTo>
                <a:lnTo>
                  <a:pt x="2618" y="3540"/>
                </a:lnTo>
                <a:lnTo>
                  <a:pt x="2616" y="3539"/>
                </a:lnTo>
                <a:lnTo>
                  <a:pt x="2613" y="3539"/>
                </a:lnTo>
                <a:lnTo>
                  <a:pt x="2611" y="3540"/>
                </a:lnTo>
                <a:lnTo>
                  <a:pt x="2606" y="3546"/>
                </a:lnTo>
                <a:lnTo>
                  <a:pt x="2602" y="3555"/>
                </a:lnTo>
                <a:lnTo>
                  <a:pt x="2598" y="3565"/>
                </a:lnTo>
                <a:lnTo>
                  <a:pt x="2593" y="3575"/>
                </a:lnTo>
                <a:lnTo>
                  <a:pt x="2588" y="3585"/>
                </a:lnTo>
                <a:lnTo>
                  <a:pt x="2584" y="3592"/>
                </a:lnTo>
                <a:lnTo>
                  <a:pt x="2582" y="3595"/>
                </a:lnTo>
                <a:lnTo>
                  <a:pt x="2580" y="3597"/>
                </a:lnTo>
                <a:lnTo>
                  <a:pt x="2578" y="3598"/>
                </a:lnTo>
                <a:lnTo>
                  <a:pt x="2576" y="3598"/>
                </a:lnTo>
                <a:lnTo>
                  <a:pt x="2567" y="3591"/>
                </a:lnTo>
                <a:lnTo>
                  <a:pt x="2556" y="3585"/>
                </a:lnTo>
                <a:lnTo>
                  <a:pt x="2551" y="3582"/>
                </a:lnTo>
                <a:lnTo>
                  <a:pt x="2545" y="3581"/>
                </a:lnTo>
                <a:lnTo>
                  <a:pt x="2541" y="3580"/>
                </a:lnTo>
                <a:lnTo>
                  <a:pt x="2537" y="3582"/>
                </a:lnTo>
                <a:lnTo>
                  <a:pt x="2532" y="3589"/>
                </a:lnTo>
                <a:lnTo>
                  <a:pt x="2529" y="3598"/>
                </a:lnTo>
                <a:lnTo>
                  <a:pt x="2527" y="3601"/>
                </a:lnTo>
                <a:lnTo>
                  <a:pt x="2524" y="3603"/>
                </a:lnTo>
                <a:lnTo>
                  <a:pt x="2521" y="3603"/>
                </a:lnTo>
                <a:lnTo>
                  <a:pt x="2517" y="3602"/>
                </a:lnTo>
                <a:lnTo>
                  <a:pt x="2513" y="3597"/>
                </a:lnTo>
                <a:lnTo>
                  <a:pt x="2509" y="3589"/>
                </a:lnTo>
                <a:lnTo>
                  <a:pt x="2505" y="3580"/>
                </a:lnTo>
                <a:lnTo>
                  <a:pt x="2500" y="3569"/>
                </a:lnTo>
                <a:lnTo>
                  <a:pt x="2497" y="3558"/>
                </a:lnTo>
                <a:lnTo>
                  <a:pt x="2495" y="3547"/>
                </a:lnTo>
                <a:lnTo>
                  <a:pt x="2493" y="3538"/>
                </a:lnTo>
                <a:lnTo>
                  <a:pt x="2493" y="3532"/>
                </a:lnTo>
                <a:lnTo>
                  <a:pt x="2494" y="3520"/>
                </a:lnTo>
                <a:lnTo>
                  <a:pt x="2496" y="3509"/>
                </a:lnTo>
                <a:lnTo>
                  <a:pt x="2496" y="3503"/>
                </a:lnTo>
                <a:lnTo>
                  <a:pt x="2495" y="3498"/>
                </a:lnTo>
                <a:lnTo>
                  <a:pt x="2492" y="3493"/>
                </a:lnTo>
                <a:lnTo>
                  <a:pt x="2489" y="3487"/>
                </a:lnTo>
                <a:lnTo>
                  <a:pt x="2470" y="3471"/>
                </a:lnTo>
                <a:lnTo>
                  <a:pt x="2444" y="3451"/>
                </a:lnTo>
                <a:lnTo>
                  <a:pt x="2431" y="3440"/>
                </a:lnTo>
                <a:lnTo>
                  <a:pt x="2422" y="3431"/>
                </a:lnTo>
                <a:lnTo>
                  <a:pt x="2420" y="3427"/>
                </a:lnTo>
                <a:lnTo>
                  <a:pt x="2418" y="3424"/>
                </a:lnTo>
                <a:lnTo>
                  <a:pt x="2418" y="3421"/>
                </a:lnTo>
                <a:lnTo>
                  <a:pt x="2420" y="3418"/>
                </a:lnTo>
                <a:lnTo>
                  <a:pt x="2424" y="3414"/>
                </a:lnTo>
                <a:lnTo>
                  <a:pt x="2428" y="3408"/>
                </a:lnTo>
                <a:lnTo>
                  <a:pt x="2432" y="3401"/>
                </a:lnTo>
                <a:lnTo>
                  <a:pt x="2434" y="3393"/>
                </a:lnTo>
                <a:lnTo>
                  <a:pt x="2434" y="3387"/>
                </a:lnTo>
                <a:lnTo>
                  <a:pt x="2434" y="3383"/>
                </a:lnTo>
                <a:lnTo>
                  <a:pt x="2433" y="3381"/>
                </a:lnTo>
                <a:lnTo>
                  <a:pt x="2432" y="3381"/>
                </a:lnTo>
                <a:lnTo>
                  <a:pt x="2430" y="3381"/>
                </a:lnTo>
                <a:lnTo>
                  <a:pt x="2428" y="3382"/>
                </a:lnTo>
                <a:lnTo>
                  <a:pt x="2417" y="3388"/>
                </a:lnTo>
                <a:lnTo>
                  <a:pt x="2403" y="3395"/>
                </a:lnTo>
                <a:lnTo>
                  <a:pt x="2396" y="3398"/>
                </a:lnTo>
                <a:lnTo>
                  <a:pt x="2388" y="3399"/>
                </a:lnTo>
                <a:lnTo>
                  <a:pt x="2384" y="3399"/>
                </a:lnTo>
                <a:lnTo>
                  <a:pt x="2381" y="3399"/>
                </a:lnTo>
                <a:lnTo>
                  <a:pt x="2378" y="3398"/>
                </a:lnTo>
                <a:lnTo>
                  <a:pt x="2376" y="3395"/>
                </a:lnTo>
                <a:lnTo>
                  <a:pt x="2364" y="3388"/>
                </a:lnTo>
                <a:lnTo>
                  <a:pt x="2354" y="3381"/>
                </a:lnTo>
                <a:lnTo>
                  <a:pt x="2349" y="3379"/>
                </a:lnTo>
                <a:lnTo>
                  <a:pt x="2344" y="3378"/>
                </a:lnTo>
                <a:lnTo>
                  <a:pt x="2340" y="3379"/>
                </a:lnTo>
                <a:lnTo>
                  <a:pt x="2336" y="3382"/>
                </a:lnTo>
                <a:lnTo>
                  <a:pt x="2332" y="3385"/>
                </a:lnTo>
                <a:lnTo>
                  <a:pt x="2325" y="3387"/>
                </a:lnTo>
                <a:lnTo>
                  <a:pt x="2319" y="3387"/>
                </a:lnTo>
                <a:lnTo>
                  <a:pt x="2314" y="3387"/>
                </a:lnTo>
                <a:lnTo>
                  <a:pt x="2308" y="3386"/>
                </a:lnTo>
                <a:lnTo>
                  <a:pt x="2304" y="3385"/>
                </a:lnTo>
                <a:lnTo>
                  <a:pt x="2302" y="3384"/>
                </a:lnTo>
                <a:lnTo>
                  <a:pt x="2302" y="3383"/>
                </a:lnTo>
                <a:lnTo>
                  <a:pt x="2304" y="3382"/>
                </a:lnTo>
                <a:lnTo>
                  <a:pt x="2304" y="3381"/>
                </a:lnTo>
                <a:lnTo>
                  <a:pt x="2303" y="3378"/>
                </a:lnTo>
                <a:lnTo>
                  <a:pt x="2301" y="3376"/>
                </a:lnTo>
                <a:lnTo>
                  <a:pt x="2297" y="3370"/>
                </a:lnTo>
                <a:lnTo>
                  <a:pt x="2294" y="3367"/>
                </a:lnTo>
                <a:lnTo>
                  <a:pt x="2279" y="3366"/>
                </a:lnTo>
                <a:lnTo>
                  <a:pt x="2252" y="3365"/>
                </a:lnTo>
                <a:lnTo>
                  <a:pt x="2225" y="3364"/>
                </a:lnTo>
                <a:lnTo>
                  <a:pt x="2212" y="3363"/>
                </a:lnTo>
                <a:lnTo>
                  <a:pt x="2212" y="3367"/>
                </a:lnTo>
                <a:lnTo>
                  <a:pt x="2210" y="3374"/>
                </a:lnTo>
                <a:lnTo>
                  <a:pt x="2209" y="3379"/>
                </a:lnTo>
                <a:lnTo>
                  <a:pt x="2207" y="3381"/>
                </a:lnTo>
                <a:lnTo>
                  <a:pt x="2206" y="3383"/>
                </a:lnTo>
                <a:lnTo>
                  <a:pt x="2204" y="3382"/>
                </a:lnTo>
                <a:lnTo>
                  <a:pt x="2195" y="3365"/>
                </a:lnTo>
                <a:lnTo>
                  <a:pt x="2190" y="3352"/>
                </a:lnTo>
                <a:lnTo>
                  <a:pt x="2184" y="3358"/>
                </a:lnTo>
                <a:lnTo>
                  <a:pt x="2171" y="3368"/>
                </a:lnTo>
                <a:lnTo>
                  <a:pt x="2164" y="3373"/>
                </a:lnTo>
                <a:lnTo>
                  <a:pt x="2156" y="3378"/>
                </a:lnTo>
                <a:lnTo>
                  <a:pt x="2149" y="3381"/>
                </a:lnTo>
                <a:lnTo>
                  <a:pt x="2143" y="3381"/>
                </a:lnTo>
                <a:lnTo>
                  <a:pt x="2139" y="3380"/>
                </a:lnTo>
                <a:lnTo>
                  <a:pt x="2133" y="3380"/>
                </a:lnTo>
                <a:lnTo>
                  <a:pt x="2126" y="3380"/>
                </a:lnTo>
                <a:lnTo>
                  <a:pt x="2119" y="3381"/>
                </a:lnTo>
                <a:lnTo>
                  <a:pt x="2113" y="3385"/>
                </a:lnTo>
                <a:lnTo>
                  <a:pt x="2106" y="3390"/>
                </a:lnTo>
                <a:lnTo>
                  <a:pt x="2103" y="3393"/>
                </a:lnTo>
                <a:lnTo>
                  <a:pt x="2100" y="3398"/>
                </a:lnTo>
                <a:lnTo>
                  <a:pt x="2098" y="3403"/>
                </a:lnTo>
                <a:lnTo>
                  <a:pt x="2095" y="3409"/>
                </a:lnTo>
                <a:lnTo>
                  <a:pt x="2091" y="3421"/>
                </a:lnTo>
                <a:lnTo>
                  <a:pt x="2084" y="3429"/>
                </a:lnTo>
                <a:lnTo>
                  <a:pt x="2078" y="3435"/>
                </a:lnTo>
                <a:lnTo>
                  <a:pt x="2071" y="3439"/>
                </a:lnTo>
                <a:lnTo>
                  <a:pt x="2064" y="3442"/>
                </a:lnTo>
                <a:lnTo>
                  <a:pt x="2059" y="3443"/>
                </a:lnTo>
                <a:lnTo>
                  <a:pt x="2055" y="3442"/>
                </a:lnTo>
                <a:lnTo>
                  <a:pt x="2052" y="3439"/>
                </a:lnTo>
                <a:lnTo>
                  <a:pt x="2046" y="3435"/>
                </a:lnTo>
                <a:lnTo>
                  <a:pt x="2034" y="3430"/>
                </a:lnTo>
                <a:lnTo>
                  <a:pt x="2020" y="3426"/>
                </a:lnTo>
                <a:lnTo>
                  <a:pt x="2009" y="3424"/>
                </a:lnTo>
                <a:lnTo>
                  <a:pt x="2007" y="3424"/>
                </a:lnTo>
                <a:lnTo>
                  <a:pt x="2005" y="3424"/>
                </a:lnTo>
                <a:lnTo>
                  <a:pt x="2004" y="3425"/>
                </a:lnTo>
                <a:lnTo>
                  <a:pt x="2003" y="3426"/>
                </a:lnTo>
                <a:lnTo>
                  <a:pt x="2002" y="3429"/>
                </a:lnTo>
                <a:lnTo>
                  <a:pt x="2000" y="3432"/>
                </a:lnTo>
                <a:lnTo>
                  <a:pt x="1997" y="3435"/>
                </a:lnTo>
                <a:lnTo>
                  <a:pt x="1993" y="3436"/>
                </a:lnTo>
                <a:lnTo>
                  <a:pt x="1987" y="3436"/>
                </a:lnTo>
                <a:lnTo>
                  <a:pt x="1979" y="3432"/>
                </a:lnTo>
                <a:lnTo>
                  <a:pt x="1958" y="3423"/>
                </a:lnTo>
                <a:lnTo>
                  <a:pt x="1939" y="3414"/>
                </a:lnTo>
                <a:lnTo>
                  <a:pt x="1931" y="3410"/>
                </a:lnTo>
                <a:lnTo>
                  <a:pt x="1926" y="3405"/>
                </a:lnTo>
                <a:lnTo>
                  <a:pt x="1924" y="3403"/>
                </a:lnTo>
                <a:lnTo>
                  <a:pt x="1922" y="3401"/>
                </a:lnTo>
                <a:lnTo>
                  <a:pt x="1921" y="3399"/>
                </a:lnTo>
                <a:lnTo>
                  <a:pt x="1921" y="3395"/>
                </a:lnTo>
                <a:lnTo>
                  <a:pt x="1923" y="3379"/>
                </a:lnTo>
                <a:lnTo>
                  <a:pt x="1927" y="3354"/>
                </a:lnTo>
                <a:lnTo>
                  <a:pt x="1930" y="3328"/>
                </a:lnTo>
                <a:lnTo>
                  <a:pt x="1931" y="3315"/>
                </a:lnTo>
                <a:lnTo>
                  <a:pt x="1927" y="3312"/>
                </a:lnTo>
                <a:lnTo>
                  <a:pt x="1919" y="3307"/>
                </a:lnTo>
                <a:lnTo>
                  <a:pt x="1906" y="3302"/>
                </a:lnTo>
                <a:lnTo>
                  <a:pt x="1893" y="3297"/>
                </a:lnTo>
                <a:lnTo>
                  <a:pt x="1877" y="3292"/>
                </a:lnTo>
                <a:lnTo>
                  <a:pt x="1863" y="3286"/>
                </a:lnTo>
                <a:lnTo>
                  <a:pt x="1851" y="3281"/>
                </a:lnTo>
                <a:lnTo>
                  <a:pt x="1842" y="3277"/>
                </a:lnTo>
                <a:lnTo>
                  <a:pt x="1836" y="3272"/>
                </a:lnTo>
                <a:lnTo>
                  <a:pt x="1830" y="3266"/>
                </a:lnTo>
                <a:lnTo>
                  <a:pt x="1825" y="3258"/>
                </a:lnTo>
                <a:lnTo>
                  <a:pt x="1820" y="3251"/>
                </a:lnTo>
                <a:lnTo>
                  <a:pt x="1817" y="3245"/>
                </a:lnTo>
                <a:lnTo>
                  <a:pt x="1815" y="3239"/>
                </a:lnTo>
                <a:lnTo>
                  <a:pt x="1814" y="3237"/>
                </a:lnTo>
                <a:lnTo>
                  <a:pt x="1815" y="3235"/>
                </a:lnTo>
                <a:lnTo>
                  <a:pt x="1815" y="3234"/>
                </a:lnTo>
                <a:lnTo>
                  <a:pt x="1816" y="3234"/>
                </a:lnTo>
                <a:lnTo>
                  <a:pt x="1820" y="3230"/>
                </a:lnTo>
                <a:lnTo>
                  <a:pt x="1826" y="3220"/>
                </a:lnTo>
                <a:lnTo>
                  <a:pt x="1833" y="3208"/>
                </a:lnTo>
                <a:lnTo>
                  <a:pt x="1839" y="3192"/>
                </a:lnTo>
                <a:lnTo>
                  <a:pt x="1844" y="3178"/>
                </a:lnTo>
                <a:lnTo>
                  <a:pt x="1849" y="3163"/>
                </a:lnTo>
                <a:lnTo>
                  <a:pt x="1850" y="3158"/>
                </a:lnTo>
                <a:lnTo>
                  <a:pt x="1850" y="3152"/>
                </a:lnTo>
                <a:lnTo>
                  <a:pt x="1849" y="3148"/>
                </a:lnTo>
                <a:lnTo>
                  <a:pt x="1848" y="3145"/>
                </a:lnTo>
                <a:lnTo>
                  <a:pt x="1844" y="3144"/>
                </a:lnTo>
                <a:lnTo>
                  <a:pt x="1840" y="3142"/>
                </a:lnTo>
                <a:lnTo>
                  <a:pt x="1835" y="3142"/>
                </a:lnTo>
                <a:lnTo>
                  <a:pt x="1829" y="3141"/>
                </a:lnTo>
                <a:lnTo>
                  <a:pt x="1815" y="3141"/>
                </a:lnTo>
                <a:lnTo>
                  <a:pt x="1799" y="3142"/>
                </a:lnTo>
                <a:lnTo>
                  <a:pt x="1785" y="3145"/>
                </a:lnTo>
                <a:lnTo>
                  <a:pt x="1773" y="3148"/>
                </a:lnTo>
                <a:lnTo>
                  <a:pt x="1768" y="3150"/>
                </a:lnTo>
                <a:lnTo>
                  <a:pt x="1764" y="3152"/>
                </a:lnTo>
                <a:lnTo>
                  <a:pt x="1761" y="3154"/>
                </a:lnTo>
                <a:lnTo>
                  <a:pt x="1760" y="3157"/>
                </a:lnTo>
                <a:lnTo>
                  <a:pt x="1756" y="3172"/>
                </a:lnTo>
                <a:lnTo>
                  <a:pt x="1749" y="3195"/>
                </a:lnTo>
                <a:lnTo>
                  <a:pt x="1744" y="3206"/>
                </a:lnTo>
                <a:lnTo>
                  <a:pt x="1739" y="3215"/>
                </a:lnTo>
                <a:lnTo>
                  <a:pt x="1737" y="3218"/>
                </a:lnTo>
                <a:lnTo>
                  <a:pt x="1733" y="3222"/>
                </a:lnTo>
                <a:lnTo>
                  <a:pt x="1730" y="3223"/>
                </a:lnTo>
                <a:lnTo>
                  <a:pt x="1727" y="3224"/>
                </a:lnTo>
                <a:lnTo>
                  <a:pt x="1718" y="3224"/>
                </a:lnTo>
                <a:lnTo>
                  <a:pt x="1703" y="3224"/>
                </a:lnTo>
                <a:lnTo>
                  <a:pt x="1695" y="3224"/>
                </a:lnTo>
                <a:lnTo>
                  <a:pt x="1686" y="3223"/>
                </a:lnTo>
                <a:lnTo>
                  <a:pt x="1677" y="3220"/>
                </a:lnTo>
                <a:lnTo>
                  <a:pt x="1666" y="3218"/>
                </a:lnTo>
                <a:lnTo>
                  <a:pt x="1657" y="3215"/>
                </a:lnTo>
                <a:lnTo>
                  <a:pt x="1649" y="3211"/>
                </a:lnTo>
                <a:lnTo>
                  <a:pt x="1640" y="3206"/>
                </a:lnTo>
                <a:lnTo>
                  <a:pt x="1632" y="3198"/>
                </a:lnTo>
                <a:lnTo>
                  <a:pt x="1625" y="3191"/>
                </a:lnTo>
                <a:lnTo>
                  <a:pt x="1620" y="3181"/>
                </a:lnTo>
                <a:lnTo>
                  <a:pt x="1618" y="3175"/>
                </a:lnTo>
                <a:lnTo>
                  <a:pt x="1616" y="3169"/>
                </a:lnTo>
                <a:lnTo>
                  <a:pt x="1615" y="3163"/>
                </a:lnTo>
                <a:lnTo>
                  <a:pt x="1614" y="3156"/>
                </a:lnTo>
                <a:lnTo>
                  <a:pt x="1612" y="3129"/>
                </a:lnTo>
                <a:lnTo>
                  <a:pt x="1611" y="3109"/>
                </a:lnTo>
                <a:lnTo>
                  <a:pt x="1611" y="3095"/>
                </a:lnTo>
                <a:lnTo>
                  <a:pt x="1611" y="3083"/>
                </a:lnTo>
                <a:lnTo>
                  <a:pt x="1612" y="3076"/>
                </a:lnTo>
                <a:lnTo>
                  <a:pt x="1613" y="3071"/>
                </a:lnTo>
                <a:lnTo>
                  <a:pt x="1615" y="3066"/>
                </a:lnTo>
                <a:lnTo>
                  <a:pt x="1617" y="3063"/>
                </a:lnTo>
                <a:lnTo>
                  <a:pt x="1622" y="3056"/>
                </a:lnTo>
                <a:lnTo>
                  <a:pt x="1627" y="3051"/>
                </a:lnTo>
                <a:lnTo>
                  <a:pt x="1629" y="3049"/>
                </a:lnTo>
                <a:lnTo>
                  <a:pt x="1629" y="3047"/>
                </a:lnTo>
                <a:lnTo>
                  <a:pt x="1629" y="3044"/>
                </a:lnTo>
                <a:lnTo>
                  <a:pt x="1628" y="3043"/>
                </a:lnTo>
                <a:lnTo>
                  <a:pt x="1625" y="3040"/>
                </a:lnTo>
                <a:lnTo>
                  <a:pt x="1623" y="3035"/>
                </a:lnTo>
                <a:lnTo>
                  <a:pt x="1621" y="3029"/>
                </a:lnTo>
                <a:lnTo>
                  <a:pt x="1619" y="3021"/>
                </a:lnTo>
                <a:lnTo>
                  <a:pt x="1618" y="3013"/>
                </a:lnTo>
                <a:lnTo>
                  <a:pt x="1618" y="3006"/>
                </a:lnTo>
                <a:lnTo>
                  <a:pt x="1619" y="2999"/>
                </a:lnTo>
                <a:lnTo>
                  <a:pt x="1621" y="2994"/>
                </a:lnTo>
                <a:lnTo>
                  <a:pt x="1625" y="2990"/>
                </a:lnTo>
                <a:lnTo>
                  <a:pt x="1631" y="2986"/>
                </a:lnTo>
                <a:lnTo>
                  <a:pt x="1637" y="2982"/>
                </a:lnTo>
                <a:lnTo>
                  <a:pt x="1644" y="2978"/>
                </a:lnTo>
                <a:lnTo>
                  <a:pt x="1657" y="2972"/>
                </a:lnTo>
                <a:lnTo>
                  <a:pt x="1663" y="2970"/>
                </a:lnTo>
                <a:lnTo>
                  <a:pt x="1666" y="2967"/>
                </a:lnTo>
                <a:lnTo>
                  <a:pt x="1672" y="2961"/>
                </a:lnTo>
                <a:lnTo>
                  <a:pt x="1675" y="2957"/>
                </a:lnTo>
                <a:lnTo>
                  <a:pt x="1679" y="2955"/>
                </a:lnTo>
                <a:lnTo>
                  <a:pt x="1683" y="2954"/>
                </a:lnTo>
                <a:lnTo>
                  <a:pt x="1687" y="2955"/>
                </a:lnTo>
                <a:lnTo>
                  <a:pt x="1691" y="2957"/>
                </a:lnTo>
                <a:lnTo>
                  <a:pt x="1697" y="2957"/>
                </a:lnTo>
                <a:lnTo>
                  <a:pt x="1701" y="2957"/>
                </a:lnTo>
                <a:lnTo>
                  <a:pt x="1706" y="2956"/>
                </a:lnTo>
                <a:lnTo>
                  <a:pt x="1711" y="2955"/>
                </a:lnTo>
                <a:lnTo>
                  <a:pt x="1717" y="2955"/>
                </a:lnTo>
                <a:lnTo>
                  <a:pt x="1722" y="2955"/>
                </a:lnTo>
                <a:lnTo>
                  <a:pt x="1727" y="2956"/>
                </a:lnTo>
                <a:lnTo>
                  <a:pt x="1739" y="2960"/>
                </a:lnTo>
                <a:lnTo>
                  <a:pt x="1751" y="2965"/>
                </a:lnTo>
                <a:lnTo>
                  <a:pt x="1757" y="2967"/>
                </a:lnTo>
                <a:lnTo>
                  <a:pt x="1764" y="2969"/>
                </a:lnTo>
                <a:lnTo>
                  <a:pt x="1769" y="2970"/>
                </a:lnTo>
                <a:lnTo>
                  <a:pt x="1775" y="2969"/>
                </a:lnTo>
                <a:lnTo>
                  <a:pt x="1785" y="2967"/>
                </a:lnTo>
                <a:lnTo>
                  <a:pt x="1792" y="2963"/>
                </a:lnTo>
                <a:lnTo>
                  <a:pt x="1796" y="2960"/>
                </a:lnTo>
                <a:lnTo>
                  <a:pt x="1799" y="2956"/>
                </a:lnTo>
                <a:lnTo>
                  <a:pt x="1801" y="2952"/>
                </a:lnTo>
                <a:lnTo>
                  <a:pt x="1806" y="2946"/>
                </a:lnTo>
                <a:lnTo>
                  <a:pt x="1809" y="2943"/>
                </a:lnTo>
                <a:lnTo>
                  <a:pt x="1813" y="2941"/>
                </a:lnTo>
                <a:lnTo>
                  <a:pt x="1817" y="2940"/>
                </a:lnTo>
                <a:lnTo>
                  <a:pt x="1822" y="2941"/>
                </a:lnTo>
                <a:lnTo>
                  <a:pt x="1828" y="2943"/>
                </a:lnTo>
                <a:lnTo>
                  <a:pt x="1832" y="2943"/>
                </a:lnTo>
                <a:lnTo>
                  <a:pt x="1836" y="2943"/>
                </a:lnTo>
                <a:lnTo>
                  <a:pt x="1839" y="2942"/>
                </a:lnTo>
                <a:lnTo>
                  <a:pt x="1842" y="2943"/>
                </a:lnTo>
                <a:lnTo>
                  <a:pt x="1845" y="2944"/>
                </a:lnTo>
                <a:lnTo>
                  <a:pt x="1849" y="2946"/>
                </a:lnTo>
                <a:lnTo>
                  <a:pt x="1852" y="2951"/>
                </a:lnTo>
                <a:lnTo>
                  <a:pt x="1854" y="2953"/>
                </a:lnTo>
                <a:lnTo>
                  <a:pt x="1856" y="2955"/>
                </a:lnTo>
                <a:lnTo>
                  <a:pt x="1859" y="2957"/>
                </a:lnTo>
                <a:lnTo>
                  <a:pt x="1862" y="2960"/>
                </a:lnTo>
                <a:lnTo>
                  <a:pt x="1869" y="2961"/>
                </a:lnTo>
                <a:lnTo>
                  <a:pt x="1876" y="2962"/>
                </a:lnTo>
                <a:lnTo>
                  <a:pt x="1891" y="2963"/>
                </a:lnTo>
                <a:lnTo>
                  <a:pt x="1901" y="2963"/>
                </a:lnTo>
                <a:lnTo>
                  <a:pt x="1908" y="2964"/>
                </a:lnTo>
                <a:lnTo>
                  <a:pt x="1914" y="2963"/>
                </a:lnTo>
                <a:lnTo>
                  <a:pt x="1916" y="2964"/>
                </a:lnTo>
                <a:lnTo>
                  <a:pt x="1918" y="2964"/>
                </a:lnTo>
                <a:lnTo>
                  <a:pt x="1920" y="2966"/>
                </a:lnTo>
                <a:lnTo>
                  <a:pt x="1923" y="2968"/>
                </a:lnTo>
                <a:lnTo>
                  <a:pt x="1929" y="2974"/>
                </a:lnTo>
                <a:lnTo>
                  <a:pt x="1936" y="2979"/>
                </a:lnTo>
                <a:lnTo>
                  <a:pt x="1939" y="2983"/>
                </a:lnTo>
                <a:lnTo>
                  <a:pt x="1941" y="2987"/>
                </a:lnTo>
                <a:lnTo>
                  <a:pt x="1943" y="2990"/>
                </a:lnTo>
                <a:lnTo>
                  <a:pt x="1944" y="2994"/>
                </a:lnTo>
                <a:lnTo>
                  <a:pt x="1944" y="3001"/>
                </a:lnTo>
                <a:lnTo>
                  <a:pt x="1944" y="3009"/>
                </a:lnTo>
                <a:lnTo>
                  <a:pt x="1944" y="3013"/>
                </a:lnTo>
                <a:lnTo>
                  <a:pt x="1945" y="3017"/>
                </a:lnTo>
                <a:lnTo>
                  <a:pt x="1947" y="3022"/>
                </a:lnTo>
                <a:lnTo>
                  <a:pt x="1950" y="3028"/>
                </a:lnTo>
                <a:lnTo>
                  <a:pt x="1957" y="3039"/>
                </a:lnTo>
                <a:lnTo>
                  <a:pt x="1964" y="3050"/>
                </a:lnTo>
                <a:lnTo>
                  <a:pt x="1970" y="3058"/>
                </a:lnTo>
                <a:lnTo>
                  <a:pt x="1974" y="3063"/>
                </a:lnTo>
                <a:lnTo>
                  <a:pt x="1978" y="3065"/>
                </a:lnTo>
                <a:lnTo>
                  <a:pt x="1984" y="3069"/>
                </a:lnTo>
                <a:lnTo>
                  <a:pt x="1989" y="3070"/>
                </a:lnTo>
                <a:lnTo>
                  <a:pt x="1994" y="3069"/>
                </a:lnTo>
                <a:lnTo>
                  <a:pt x="1996" y="3063"/>
                </a:lnTo>
                <a:lnTo>
                  <a:pt x="2000" y="3054"/>
                </a:lnTo>
                <a:lnTo>
                  <a:pt x="2002" y="3042"/>
                </a:lnTo>
                <a:lnTo>
                  <a:pt x="2002" y="3031"/>
                </a:lnTo>
                <a:lnTo>
                  <a:pt x="2002" y="3020"/>
                </a:lnTo>
                <a:lnTo>
                  <a:pt x="2000" y="3009"/>
                </a:lnTo>
                <a:lnTo>
                  <a:pt x="1996" y="2997"/>
                </a:lnTo>
                <a:lnTo>
                  <a:pt x="1995" y="2987"/>
                </a:lnTo>
                <a:lnTo>
                  <a:pt x="1993" y="2983"/>
                </a:lnTo>
                <a:lnTo>
                  <a:pt x="1991" y="2977"/>
                </a:lnTo>
                <a:lnTo>
                  <a:pt x="1987" y="2971"/>
                </a:lnTo>
                <a:lnTo>
                  <a:pt x="1984" y="2966"/>
                </a:lnTo>
                <a:lnTo>
                  <a:pt x="1980" y="2960"/>
                </a:lnTo>
                <a:lnTo>
                  <a:pt x="1976" y="2953"/>
                </a:lnTo>
                <a:lnTo>
                  <a:pt x="1974" y="2947"/>
                </a:lnTo>
                <a:lnTo>
                  <a:pt x="1974" y="2941"/>
                </a:lnTo>
                <a:lnTo>
                  <a:pt x="1974" y="2925"/>
                </a:lnTo>
                <a:lnTo>
                  <a:pt x="1978" y="2908"/>
                </a:lnTo>
                <a:lnTo>
                  <a:pt x="1979" y="2901"/>
                </a:lnTo>
                <a:lnTo>
                  <a:pt x="1981" y="2895"/>
                </a:lnTo>
                <a:lnTo>
                  <a:pt x="1984" y="2889"/>
                </a:lnTo>
                <a:lnTo>
                  <a:pt x="1987" y="2886"/>
                </a:lnTo>
                <a:lnTo>
                  <a:pt x="1998" y="2877"/>
                </a:lnTo>
                <a:lnTo>
                  <a:pt x="2018" y="2859"/>
                </a:lnTo>
                <a:lnTo>
                  <a:pt x="2029" y="2850"/>
                </a:lnTo>
                <a:lnTo>
                  <a:pt x="2039" y="2841"/>
                </a:lnTo>
                <a:lnTo>
                  <a:pt x="2048" y="2835"/>
                </a:lnTo>
                <a:lnTo>
                  <a:pt x="2055" y="2831"/>
                </a:lnTo>
                <a:lnTo>
                  <a:pt x="2070" y="2823"/>
                </a:lnTo>
                <a:lnTo>
                  <a:pt x="2084" y="2815"/>
                </a:lnTo>
                <a:lnTo>
                  <a:pt x="2091" y="2810"/>
                </a:lnTo>
                <a:lnTo>
                  <a:pt x="2097" y="2806"/>
                </a:lnTo>
                <a:lnTo>
                  <a:pt x="2101" y="2801"/>
                </a:lnTo>
                <a:lnTo>
                  <a:pt x="2103" y="2798"/>
                </a:lnTo>
                <a:lnTo>
                  <a:pt x="2098" y="2784"/>
                </a:lnTo>
                <a:lnTo>
                  <a:pt x="2093" y="2769"/>
                </a:lnTo>
                <a:lnTo>
                  <a:pt x="2099" y="2753"/>
                </a:lnTo>
                <a:lnTo>
                  <a:pt x="2106" y="2737"/>
                </a:lnTo>
                <a:lnTo>
                  <a:pt x="2110" y="2730"/>
                </a:lnTo>
                <a:lnTo>
                  <a:pt x="2113" y="2723"/>
                </a:lnTo>
                <a:lnTo>
                  <a:pt x="2117" y="2716"/>
                </a:lnTo>
                <a:lnTo>
                  <a:pt x="2122" y="2709"/>
                </a:lnTo>
                <a:lnTo>
                  <a:pt x="2126" y="2700"/>
                </a:lnTo>
                <a:lnTo>
                  <a:pt x="2132" y="2688"/>
                </a:lnTo>
                <a:lnTo>
                  <a:pt x="2135" y="2682"/>
                </a:lnTo>
                <a:lnTo>
                  <a:pt x="2138" y="2677"/>
                </a:lnTo>
                <a:lnTo>
                  <a:pt x="2141" y="2672"/>
                </a:lnTo>
                <a:lnTo>
                  <a:pt x="2143" y="2669"/>
                </a:lnTo>
                <a:lnTo>
                  <a:pt x="2155" y="2665"/>
                </a:lnTo>
                <a:lnTo>
                  <a:pt x="2171" y="2659"/>
                </a:lnTo>
                <a:lnTo>
                  <a:pt x="2180" y="2655"/>
                </a:lnTo>
                <a:lnTo>
                  <a:pt x="2187" y="2652"/>
                </a:lnTo>
                <a:lnTo>
                  <a:pt x="2193" y="2648"/>
                </a:lnTo>
                <a:lnTo>
                  <a:pt x="2196" y="2645"/>
                </a:lnTo>
                <a:lnTo>
                  <a:pt x="2200" y="2642"/>
                </a:lnTo>
                <a:lnTo>
                  <a:pt x="2205" y="2641"/>
                </a:lnTo>
                <a:lnTo>
                  <a:pt x="2210" y="2640"/>
                </a:lnTo>
                <a:lnTo>
                  <a:pt x="2215" y="2640"/>
                </a:lnTo>
                <a:lnTo>
                  <a:pt x="2221" y="2639"/>
                </a:lnTo>
                <a:lnTo>
                  <a:pt x="2226" y="2638"/>
                </a:lnTo>
                <a:lnTo>
                  <a:pt x="2227" y="2637"/>
                </a:lnTo>
                <a:lnTo>
                  <a:pt x="2229" y="2636"/>
                </a:lnTo>
                <a:lnTo>
                  <a:pt x="2229" y="2635"/>
                </a:lnTo>
                <a:lnTo>
                  <a:pt x="2230" y="2633"/>
                </a:lnTo>
                <a:lnTo>
                  <a:pt x="2229" y="2631"/>
                </a:lnTo>
                <a:lnTo>
                  <a:pt x="2228" y="2630"/>
                </a:lnTo>
                <a:lnTo>
                  <a:pt x="2227" y="2627"/>
                </a:lnTo>
                <a:lnTo>
                  <a:pt x="2225" y="2626"/>
                </a:lnTo>
                <a:lnTo>
                  <a:pt x="2220" y="2625"/>
                </a:lnTo>
                <a:lnTo>
                  <a:pt x="2214" y="2623"/>
                </a:lnTo>
                <a:lnTo>
                  <a:pt x="2209" y="2622"/>
                </a:lnTo>
                <a:lnTo>
                  <a:pt x="2205" y="2620"/>
                </a:lnTo>
                <a:lnTo>
                  <a:pt x="2204" y="2619"/>
                </a:lnTo>
                <a:lnTo>
                  <a:pt x="2203" y="2617"/>
                </a:lnTo>
                <a:lnTo>
                  <a:pt x="2203" y="2616"/>
                </a:lnTo>
                <a:lnTo>
                  <a:pt x="2204" y="2613"/>
                </a:lnTo>
                <a:lnTo>
                  <a:pt x="2211" y="2602"/>
                </a:lnTo>
                <a:lnTo>
                  <a:pt x="2221" y="2591"/>
                </a:lnTo>
                <a:lnTo>
                  <a:pt x="2231" y="2579"/>
                </a:lnTo>
                <a:lnTo>
                  <a:pt x="2239" y="2568"/>
                </a:lnTo>
                <a:lnTo>
                  <a:pt x="2247" y="2561"/>
                </a:lnTo>
                <a:lnTo>
                  <a:pt x="2258" y="2554"/>
                </a:lnTo>
                <a:lnTo>
                  <a:pt x="2273" y="2545"/>
                </a:lnTo>
                <a:lnTo>
                  <a:pt x="2289" y="2536"/>
                </a:lnTo>
                <a:lnTo>
                  <a:pt x="2303" y="2528"/>
                </a:lnTo>
                <a:lnTo>
                  <a:pt x="2316" y="2522"/>
                </a:lnTo>
                <a:lnTo>
                  <a:pt x="2320" y="2521"/>
                </a:lnTo>
                <a:lnTo>
                  <a:pt x="2323" y="2518"/>
                </a:lnTo>
                <a:lnTo>
                  <a:pt x="2325" y="2518"/>
                </a:lnTo>
                <a:lnTo>
                  <a:pt x="2325" y="2520"/>
                </a:lnTo>
                <a:lnTo>
                  <a:pt x="2319" y="2527"/>
                </a:lnTo>
                <a:lnTo>
                  <a:pt x="2311" y="2534"/>
                </a:lnTo>
                <a:lnTo>
                  <a:pt x="2308" y="2539"/>
                </a:lnTo>
                <a:lnTo>
                  <a:pt x="2304" y="2544"/>
                </a:lnTo>
                <a:lnTo>
                  <a:pt x="2302" y="2549"/>
                </a:lnTo>
                <a:lnTo>
                  <a:pt x="2302" y="2555"/>
                </a:lnTo>
                <a:lnTo>
                  <a:pt x="2303" y="2566"/>
                </a:lnTo>
                <a:lnTo>
                  <a:pt x="2305" y="2574"/>
                </a:lnTo>
                <a:lnTo>
                  <a:pt x="2306" y="2577"/>
                </a:lnTo>
                <a:lnTo>
                  <a:pt x="2309" y="2578"/>
                </a:lnTo>
                <a:lnTo>
                  <a:pt x="2312" y="2579"/>
                </a:lnTo>
                <a:lnTo>
                  <a:pt x="2317" y="2578"/>
                </a:lnTo>
                <a:lnTo>
                  <a:pt x="2321" y="2576"/>
                </a:lnTo>
                <a:lnTo>
                  <a:pt x="2325" y="2574"/>
                </a:lnTo>
                <a:lnTo>
                  <a:pt x="2330" y="2571"/>
                </a:lnTo>
                <a:lnTo>
                  <a:pt x="2333" y="2567"/>
                </a:lnTo>
                <a:lnTo>
                  <a:pt x="2338" y="2562"/>
                </a:lnTo>
                <a:lnTo>
                  <a:pt x="2343" y="2558"/>
                </a:lnTo>
                <a:lnTo>
                  <a:pt x="2352" y="2553"/>
                </a:lnTo>
                <a:lnTo>
                  <a:pt x="2361" y="2548"/>
                </a:lnTo>
                <a:lnTo>
                  <a:pt x="2381" y="2537"/>
                </a:lnTo>
                <a:lnTo>
                  <a:pt x="2397" y="2530"/>
                </a:lnTo>
                <a:lnTo>
                  <a:pt x="2409" y="2524"/>
                </a:lnTo>
                <a:lnTo>
                  <a:pt x="2419" y="2517"/>
                </a:lnTo>
                <a:lnTo>
                  <a:pt x="2429" y="2513"/>
                </a:lnTo>
                <a:lnTo>
                  <a:pt x="2442" y="2509"/>
                </a:lnTo>
                <a:lnTo>
                  <a:pt x="2446" y="2506"/>
                </a:lnTo>
                <a:lnTo>
                  <a:pt x="2450" y="2504"/>
                </a:lnTo>
                <a:lnTo>
                  <a:pt x="2451" y="2502"/>
                </a:lnTo>
                <a:lnTo>
                  <a:pt x="2451" y="2500"/>
                </a:lnTo>
                <a:lnTo>
                  <a:pt x="2451" y="2498"/>
                </a:lnTo>
                <a:lnTo>
                  <a:pt x="2450" y="2495"/>
                </a:lnTo>
                <a:lnTo>
                  <a:pt x="2445" y="2482"/>
                </a:lnTo>
                <a:lnTo>
                  <a:pt x="2439" y="2467"/>
                </a:lnTo>
                <a:lnTo>
                  <a:pt x="2435" y="2461"/>
                </a:lnTo>
                <a:lnTo>
                  <a:pt x="2432" y="2457"/>
                </a:lnTo>
                <a:lnTo>
                  <a:pt x="2430" y="2456"/>
                </a:lnTo>
                <a:lnTo>
                  <a:pt x="2429" y="2455"/>
                </a:lnTo>
                <a:lnTo>
                  <a:pt x="2427" y="2455"/>
                </a:lnTo>
                <a:lnTo>
                  <a:pt x="2426" y="2457"/>
                </a:lnTo>
                <a:lnTo>
                  <a:pt x="2417" y="2465"/>
                </a:lnTo>
                <a:lnTo>
                  <a:pt x="2407" y="2477"/>
                </a:lnTo>
                <a:lnTo>
                  <a:pt x="2399" y="2486"/>
                </a:lnTo>
                <a:lnTo>
                  <a:pt x="2395" y="2490"/>
                </a:lnTo>
                <a:lnTo>
                  <a:pt x="2345" y="2466"/>
                </a:lnTo>
                <a:lnTo>
                  <a:pt x="2343" y="2469"/>
                </a:lnTo>
                <a:lnTo>
                  <a:pt x="2338" y="2472"/>
                </a:lnTo>
                <a:lnTo>
                  <a:pt x="2336" y="2473"/>
                </a:lnTo>
                <a:lnTo>
                  <a:pt x="2334" y="2473"/>
                </a:lnTo>
                <a:lnTo>
                  <a:pt x="2332" y="2471"/>
                </a:lnTo>
                <a:lnTo>
                  <a:pt x="2332" y="2465"/>
                </a:lnTo>
                <a:lnTo>
                  <a:pt x="2332" y="2459"/>
                </a:lnTo>
                <a:lnTo>
                  <a:pt x="2333" y="2454"/>
                </a:lnTo>
                <a:lnTo>
                  <a:pt x="2335" y="2448"/>
                </a:lnTo>
                <a:lnTo>
                  <a:pt x="2336" y="2444"/>
                </a:lnTo>
                <a:lnTo>
                  <a:pt x="2340" y="2439"/>
                </a:lnTo>
                <a:lnTo>
                  <a:pt x="2341" y="2437"/>
                </a:lnTo>
                <a:lnTo>
                  <a:pt x="2343" y="2439"/>
                </a:lnTo>
                <a:lnTo>
                  <a:pt x="2348" y="2442"/>
                </a:lnTo>
                <a:lnTo>
                  <a:pt x="2351" y="2443"/>
                </a:lnTo>
                <a:lnTo>
                  <a:pt x="2354" y="2442"/>
                </a:lnTo>
                <a:lnTo>
                  <a:pt x="2355" y="2440"/>
                </a:lnTo>
                <a:lnTo>
                  <a:pt x="2356" y="2435"/>
                </a:lnTo>
                <a:lnTo>
                  <a:pt x="2357" y="2423"/>
                </a:lnTo>
                <a:lnTo>
                  <a:pt x="2357" y="2413"/>
                </a:lnTo>
                <a:lnTo>
                  <a:pt x="2357" y="2404"/>
                </a:lnTo>
                <a:lnTo>
                  <a:pt x="2358" y="2398"/>
                </a:lnTo>
                <a:lnTo>
                  <a:pt x="2358" y="2397"/>
                </a:lnTo>
                <a:lnTo>
                  <a:pt x="2356" y="2396"/>
                </a:lnTo>
                <a:lnTo>
                  <a:pt x="2352" y="2395"/>
                </a:lnTo>
                <a:lnTo>
                  <a:pt x="2347" y="2395"/>
                </a:lnTo>
                <a:lnTo>
                  <a:pt x="2336" y="2394"/>
                </a:lnTo>
                <a:lnTo>
                  <a:pt x="2322" y="2394"/>
                </a:lnTo>
                <a:lnTo>
                  <a:pt x="2309" y="2393"/>
                </a:lnTo>
                <a:lnTo>
                  <a:pt x="2297" y="2391"/>
                </a:lnTo>
                <a:lnTo>
                  <a:pt x="2293" y="2390"/>
                </a:lnTo>
                <a:lnTo>
                  <a:pt x="2290" y="2389"/>
                </a:lnTo>
                <a:lnTo>
                  <a:pt x="2288" y="2386"/>
                </a:lnTo>
                <a:lnTo>
                  <a:pt x="2288" y="2384"/>
                </a:lnTo>
                <a:lnTo>
                  <a:pt x="2289" y="2382"/>
                </a:lnTo>
                <a:lnTo>
                  <a:pt x="2291" y="2380"/>
                </a:lnTo>
                <a:lnTo>
                  <a:pt x="2295" y="2378"/>
                </a:lnTo>
                <a:lnTo>
                  <a:pt x="2299" y="2377"/>
                </a:lnTo>
                <a:lnTo>
                  <a:pt x="2310" y="2373"/>
                </a:lnTo>
                <a:lnTo>
                  <a:pt x="2322" y="2371"/>
                </a:lnTo>
                <a:lnTo>
                  <a:pt x="2334" y="2369"/>
                </a:lnTo>
                <a:lnTo>
                  <a:pt x="2345" y="2368"/>
                </a:lnTo>
                <a:lnTo>
                  <a:pt x="2349" y="2368"/>
                </a:lnTo>
                <a:lnTo>
                  <a:pt x="2353" y="2368"/>
                </a:lnTo>
                <a:lnTo>
                  <a:pt x="2355" y="2369"/>
                </a:lnTo>
                <a:lnTo>
                  <a:pt x="2356" y="2370"/>
                </a:lnTo>
                <a:lnTo>
                  <a:pt x="2359" y="2375"/>
                </a:lnTo>
                <a:lnTo>
                  <a:pt x="2363" y="2380"/>
                </a:lnTo>
                <a:lnTo>
                  <a:pt x="2368" y="2385"/>
                </a:lnTo>
                <a:lnTo>
                  <a:pt x="2375" y="2392"/>
                </a:lnTo>
                <a:lnTo>
                  <a:pt x="2379" y="2395"/>
                </a:lnTo>
                <a:lnTo>
                  <a:pt x="2384" y="2398"/>
                </a:lnTo>
                <a:lnTo>
                  <a:pt x="2389" y="2400"/>
                </a:lnTo>
                <a:lnTo>
                  <a:pt x="2396" y="2402"/>
                </a:lnTo>
                <a:lnTo>
                  <a:pt x="2400" y="2403"/>
                </a:lnTo>
                <a:lnTo>
                  <a:pt x="2404" y="2403"/>
                </a:lnTo>
                <a:lnTo>
                  <a:pt x="2405" y="2402"/>
                </a:lnTo>
                <a:lnTo>
                  <a:pt x="2405" y="2401"/>
                </a:lnTo>
                <a:lnTo>
                  <a:pt x="2406" y="2399"/>
                </a:lnTo>
                <a:lnTo>
                  <a:pt x="2405" y="2397"/>
                </a:lnTo>
                <a:lnTo>
                  <a:pt x="2402" y="2392"/>
                </a:lnTo>
                <a:lnTo>
                  <a:pt x="2397" y="2385"/>
                </a:lnTo>
                <a:lnTo>
                  <a:pt x="2389" y="2379"/>
                </a:lnTo>
                <a:lnTo>
                  <a:pt x="2383" y="2373"/>
                </a:lnTo>
                <a:lnTo>
                  <a:pt x="2378" y="2368"/>
                </a:lnTo>
                <a:lnTo>
                  <a:pt x="2374" y="2363"/>
                </a:lnTo>
                <a:lnTo>
                  <a:pt x="2374" y="2362"/>
                </a:lnTo>
                <a:lnTo>
                  <a:pt x="2374" y="2361"/>
                </a:lnTo>
                <a:lnTo>
                  <a:pt x="2375" y="2361"/>
                </a:lnTo>
                <a:lnTo>
                  <a:pt x="2377" y="2361"/>
                </a:lnTo>
                <a:lnTo>
                  <a:pt x="2390" y="2366"/>
                </a:lnTo>
                <a:lnTo>
                  <a:pt x="2405" y="2370"/>
                </a:lnTo>
                <a:lnTo>
                  <a:pt x="2412" y="2371"/>
                </a:lnTo>
                <a:lnTo>
                  <a:pt x="2420" y="2371"/>
                </a:lnTo>
                <a:lnTo>
                  <a:pt x="2425" y="2371"/>
                </a:lnTo>
                <a:lnTo>
                  <a:pt x="2430" y="2368"/>
                </a:lnTo>
                <a:lnTo>
                  <a:pt x="2444" y="2355"/>
                </a:lnTo>
                <a:lnTo>
                  <a:pt x="2465" y="2336"/>
                </a:lnTo>
                <a:lnTo>
                  <a:pt x="2474" y="2328"/>
                </a:lnTo>
                <a:lnTo>
                  <a:pt x="2484" y="2321"/>
                </a:lnTo>
                <a:lnTo>
                  <a:pt x="2487" y="2319"/>
                </a:lnTo>
                <a:lnTo>
                  <a:pt x="2490" y="2319"/>
                </a:lnTo>
                <a:lnTo>
                  <a:pt x="2492" y="2319"/>
                </a:lnTo>
                <a:lnTo>
                  <a:pt x="2493" y="2321"/>
                </a:lnTo>
                <a:lnTo>
                  <a:pt x="2494" y="2326"/>
                </a:lnTo>
                <a:lnTo>
                  <a:pt x="2493" y="2331"/>
                </a:lnTo>
                <a:lnTo>
                  <a:pt x="2491" y="2337"/>
                </a:lnTo>
                <a:lnTo>
                  <a:pt x="2489" y="2345"/>
                </a:lnTo>
                <a:lnTo>
                  <a:pt x="2481" y="2362"/>
                </a:lnTo>
                <a:lnTo>
                  <a:pt x="2474" y="2381"/>
                </a:lnTo>
                <a:lnTo>
                  <a:pt x="2467" y="2399"/>
                </a:lnTo>
                <a:lnTo>
                  <a:pt x="2461" y="2416"/>
                </a:lnTo>
                <a:lnTo>
                  <a:pt x="2458" y="2422"/>
                </a:lnTo>
                <a:lnTo>
                  <a:pt x="2457" y="2427"/>
                </a:lnTo>
                <a:lnTo>
                  <a:pt x="2456" y="2432"/>
                </a:lnTo>
                <a:lnTo>
                  <a:pt x="2457" y="2435"/>
                </a:lnTo>
                <a:lnTo>
                  <a:pt x="2464" y="2438"/>
                </a:lnTo>
                <a:lnTo>
                  <a:pt x="2473" y="2440"/>
                </a:lnTo>
                <a:lnTo>
                  <a:pt x="2486" y="2443"/>
                </a:lnTo>
                <a:lnTo>
                  <a:pt x="2499" y="2445"/>
                </a:lnTo>
                <a:lnTo>
                  <a:pt x="2512" y="2447"/>
                </a:lnTo>
                <a:lnTo>
                  <a:pt x="2522" y="2449"/>
                </a:lnTo>
                <a:lnTo>
                  <a:pt x="2527" y="2450"/>
                </a:lnTo>
                <a:lnTo>
                  <a:pt x="2530" y="2451"/>
                </a:lnTo>
                <a:lnTo>
                  <a:pt x="2532" y="2452"/>
                </a:lnTo>
                <a:lnTo>
                  <a:pt x="2532" y="2454"/>
                </a:lnTo>
                <a:lnTo>
                  <a:pt x="2524" y="2457"/>
                </a:lnTo>
                <a:lnTo>
                  <a:pt x="2512" y="2460"/>
                </a:lnTo>
                <a:lnTo>
                  <a:pt x="2507" y="2462"/>
                </a:lnTo>
                <a:lnTo>
                  <a:pt x="2505" y="2465"/>
                </a:lnTo>
                <a:lnTo>
                  <a:pt x="2503" y="2467"/>
                </a:lnTo>
                <a:lnTo>
                  <a:pt x="2505" y="2469"/>
                </a:lnTo>
                <a:lnTo>
                  <a:pt x="2507" y="2471"/>
                </a:lnTo>
                <a:lnTo>
                  <a:pt x="2510" y="2473"/>
                </a:lnTo>
                <a:lnTo>
                  <a:pt x="2522" y="2484"/>
                </a:lnTo>
                <a:lnTo>
                  <a:pt x="2532" y="2489"/>
                </a:lnTo>
                <a:lnTo>
                  <a:pt x="2536" y="2490"/>
                </a:lnTo>
                <a:lnTo>
                  <a:pt x="2540" y="2490"/>
                </a:lnTo>
                <a:lnTo>
                  <a:pt x="2544" y="2487"/>
                </a:lnTo>
                <a:lnTo>
                  <a:pt x="2547" y="2483"/>
                </a:lnTo>
                <a:lnTo>
                  <a:pt x="2553" y="2472"/>
                </a:lnTo>
                <a:lnTo>
                  <a:pt x="2558" y="2465"/>
                </a:lnTo>
                <a:lnTo>
                  <a:pt x="2560" y="2462"/>
                </a:lnTo>
                <a:lnTo>
                  <a:pt x="2562" y="2461"/>
                </a:lnTo>
                <a:lnTo>
                  <a:pt x="2564" y="2461"/>
                </a:lnTo>
                <a:lnTo>
                  <a:pt x="2566" y="2462"/>
                </a:lnTo>
                <a:lnTo>
                  <a:pt x="2577" y="2471"/>
                </a:lnTo>
                <a:lnTo>
                  <a:pt x="2584" y="2474"/>
                </a:lnTo>
                <a:lnTo>
                  <a:pt x="2586" y="2474"/>
                </a:lnTo>
                <a:lnTo>
                  <a:pt x="2590" y="2473"/>
                </a:lnTo>
                <a:lnTo>
                  <a:pt x="2594" y="2472"/>
                </a:lnTo>
                <a:lnTo>
                  <a:pt x="2597" y="2470"/>
                </a:lnTo>
                <a:lnTo>
                  <a:pt x="2600" y="2468"/>
                </a:lnTo>
                <a:lnTo>
                  <a:pt x="2602" y="2464"/>
                </a:lnTo>
                <a:lnTo>
                  <a:pt x="2606" y="2457"/>
                </a:lnTo>
                <a:lnTo>
                  <a:pt x="2609" y="2447"/>
                </a:lnTo>
                <a:lnTo>
                  <a:pt x="2609" y="2443"/>
                </a:lnTo>
                <a:lnTo>
                  <a:pt x="2609" y="2438"/>
                </a:lnTo>
                <a:lnTo>
                  <a:pt x="2608" y="2432"/>
                </a:lnTo>
                <a:lnTo>
                  <a:pt x="2607" y="2425"/>
                </a:lnTo>
                <a:lnTo>
                  <a:pt x="2605" y="2421"/>
                </a:lnTo>
                <a:lnTo>
                  <a:pt x="2603" y="2417"/>
                </a:lnTo>
                <a:lnTo>
                  <a:pt x="2600" y="2414"/>
                </a:lnTo>
                <a:lnTo>
                  <a:pt x="2597" y="2410"/>
                </a:lnTo>
                <a:lnTo>
                  <a:pt x="2587" y="2402"/>
                </a:lnTo>
                <a:lnTo>
                  <a:pt x="2578" y="2395"/>
                </a:lnTo>
                <a:lnTo>
                  <a:pt x="2557" y="2381"/>
                </a:lnTo>
                <a:lnTo>
                  <a:pt x="2540" y="2374"/>
                </a:lnTo>
                <a:lnTo>
                  <a:pt x="2535" y="2371"/>
                </a:lnTo>
                <a:lnTo>
                  <a:pt x="2531" y="2368"/>
                </a:lnTo>
                <a:lnTo>
                  <a:pt x="2527" y="2364"/>
                </a:lnTo>
                <a:lnTo>
                  <a:pt x="2523" y="2361"/>
                </a:lnTo>
                <a:lnTo>
                  <a:pt x="2521" y="2357"/>
                </a:lnTo>
                <a:lnTo>
                  <a:pt x="2520" y="2354"/>
                </a:lnTo>
                <a:lnTo>
                  <a:pt x="2521" y="2351"/>
                </a:lnTo>
                <a:lnTo>
                  <a:pt x="2522" y="2349"/>
                </a:lnTo>
                <a:lnTo>
                  <a:pt x="2528" y="2341"/>
                </a:lnTo>
                <a:lnTo>
                  <a:pt x="2534" y="2333"/>
                </a:lnTo>
                <a:lnTo>
                  <a:pt x="2539" y="2325"/>
                </a:lnTo>
                <a:lnTo>
                  <a:pt x="2542" y="2318"/>
                </a:lnTo>
                <a:lnTo>
                  <a:pt x="2542" y="2314"/>
                </a:lnTo>
                <a:lnTo>
                  <a:pt x="2541" y="2310"/>
                </a:lnTo>
                <a:lnTo>
                  <a:pt x="2539" y="2304"/>
                </a:lnTo>
                <a:lnTo>
                  <a:pt x="2537" y="2297"/>
                </a:lnTo>
                <a:lnTo>
                  <a:pt x="2532" y="2286"/>
                </a:lnTo>
                <a:lnTo>
                  <a:pt x="2530" y="2280"/>
                </a:lnTo>
                <a:lnTo>
                  <a:pt x="2533" y="2274"/>
                </a:lnTo>
                <a:lnTo>
                  <a:pt x="2538" y="2263"/>
                </a:lnTo>
                <a:lnTo>
                  <a:pt x="2540" y="2255"/>
                </a:lnTo>
                <a:lnTo>
                  <a:pt x="2540" y="2249"/>
                </a:lnTo>
                <a:lnTo>
                  <a:pt x="2540" y="2246"/>
                </a:lnTo>
                <a:lnTo>
                  <a:pt x="2539" y="2243"/>
                </a:lnTo>
                <a:lnTo>
                  <a:pt x="2538" y="2240"/>
                </a:lnTo>
                <a:lnTo>
                  <a:pt x="2535" y="2238"/>
                </a:lnTo>
                <a:lnTo>
                  <a:pt x="2523" y="2227"/>
                </a:lnTo>
                <a:lnTo>
                  <a:pt x="2511" y="2218"/>
                </a:lnTo>
                <a:lnTo>
                  <a:pt x="2505" y="2215"/>
                </a:lnTo>
                <a:lnTo>
                  <a:pt x="2499" y="2213"/>
                </a:lnTo>
                <a:lnTo>
                  <a:pt x="2496" y="2211"/>
                </a:lnTo>
                <a:lnTo>
                  <a:pt x="2494" y="2211"/>
                </a:lnTo>
                <a:lnTo>
                  <a:pt x="2491" y="2213"/>
                </a:lnTo>
                <a:lnTo>
                  <a:pt x="2489" y="2214"/>
                </a:lnTo>
                <a:lnTo>
                  <a:pt x="2474" y="2222"/>
                </a:lnTo>
                <a:lnTo>
                  <a:pt x="2454" y="2233"/>
                </a:lnTo>
                <a:lnTo>
                  <a:pt x="2445" y="2239"/>
                </a:lnTo>
                <a:lnTo>
                  <a:pt x="2439" y="2242"/>
                </a:lnTo>
                <a:lnTo>
                  <a:pt x="2436" y="2243"/>
                </a:lnTo>
                <a:lnTo>
                  <a:pt x="2435" y="2243"/>
                </a:lnTo>
                <a:lnTo>
                  <a:pt x="2436" y="2242"/>
                </a:lnTo>
                <a:lnTo>
                  <a:pt x="2437" y="2240"/>
                </a:lnTo>
                <a:lnTo>
                  <a:pt x="2453" y="2230"/>
                </a:lnTo>
                <a:lnTo>
                  <a:pt x="2472" y="2219"/>
                </a:lnTo>
                <a:lnTo>
                  <a:pt x="2479" y="2214"/>
                </a:lnTo>
                <a:lnTo>
                  <a:pt x="2485" y="2207"/>
                </a:lnTo>
                <a:lnTo>
                  <a:pt x="2486" y="2204"/>
                </a:lnTo>
                <a:lnTo>
                  <a:pt x="2487" y="2200"/>
                </a:lnTo>
                <a:lnTo>
                  <a:pt x="2486" y="2197"/>
                </a:lnTo>
                <a:lnTo>
                  <a:pt x="2483" y="2194"/>
                </a:lnTo>
                <a:lnTo>
                  <a:pt x="2476" y="2187"/>
                </a:lnTo>
                <a:lnTo>
                  <a:pt x="2470" y="2183"/>
                </a:lnTo>
                <a:lnTo>
                  <a:pt x="2463" y="2180"/>
                </a:lnTo>
                <a:lnTo>
                  <a:pt x="2456" y="2177"/>
                </a:lnTo>
                <a:lnTo>
                  <a:pt x="2450" y="2175"/>
                </a:lnTo>
                <a:lnTo>
                  <a:pt x="2444" y="2172"/>
                </a:lnTo>
                <a:lnTo>
                  <a:pt x="2440" y="2169"/>
                </a:lnTo>
                <a:lnTo>
                  <a:pt x="2435" y="2164"/>
                </a:lnTo>
                <a:lnTo>
                  <a:pt x="2427" y="2150"/>
                </a:lnTo>
                <a:lnTo>
                  <a:pt x="2415" y="2132"/>
                </a:lnTo>
                <a:lnTo>
                  <a:pt x="2405" y="2116"/>
                </a:lnTo>
                <a:lnTo>
                  <a:pt x="2400" y="2110"/>
                </a:lnTo>
                <a:lnTo>
                  <a:pt x="2402" y="2107"/>
                </a:lnTo>
                <a:lnTo>
                  <a:pt x="2405" y="2100"/>
                </a:lnTo>
                <a:lnTo>
                  <a:pt x="2407" y="2097"/>
                </a:lnTo>
                <a:lnTo>
                  <a:pt x="2407" y="2093"/>
                </a:lnTo>
                <a:lnTo>
                  <a:pt x="2407" y="2089"/>
                </a:lnTo>
                <a:lnTo>
                  <a:pt x="2405" y="2085"/>
                </a:lnTo>
                <a:lnTo>
                  <a:pt x="2397" y="2068"/>
                </a:lnTo>
                <a:lnTo>
                  <a:pt x="2384" y="2041"/>
                </a:lnTo>
                <a:lnTo>
                  <a:pt x="2374" y="2016"/>
                </a:lnTo>
                <a:lnTo>
                  <a:pt x="2369" y="2004"/>
                </a:lnTo>
                <a:lnTo>
                  <a:pt x="2365" y="1995"/>
                </a:lnTo>
                <a:lnTo>
                  <a:pt x="2355" y="1976"/>
                </a:lnTo>
                <a:lnTo>
                  <a:pt x="2348" y="1966"/>
                </a:lnTo>
                <a:lnTo>
                  <a:pt x="2343" y="1960"/>
                </a:lnTo>
                <a:lnTo>
                  <a:pt x="2340" y="1958"/>
                </a:lnTo>
                <a:lnTo>
                  <a:pt x="2338" y="1958"/>
                </a:lnTo>
                <a:lnTo>
                  <a:pt x="2336" y="1959"/>
                </a:lnTo>
                <a:lnTo>
                  <a:pt x="2335" y="1961"/>
                </a:lnTo>
                <a:lnTo>
                  <a:pt x="2332" y="1972"/>
                </a:lnTo>
                <a:lnTo>
                  <a:pt x="2324" y="1985"/>
                </a:lnTo>
                <a:lnTo>
                  <a:pt x="2317" y="2001"/>
                </a:lnTo>
                <a:lnTo>
                  <a:pt x="2308" y="2018"/>
                </a:lnTo>
                <a:lnTo>
                  <a:pt x="2297" y="2032"/>
                </a:lnTo>
                <a:lnTo>
                  <a:pt x="2287" y="2044"/>
                </a:lnTo>
                <a:lnTo>
                  <a:pt x="2282" y="2048"/>
                </a:lnTo>
                <a:lnTo>
                  <a:pt x="2278" y="2050"/>
                </a:lnTo>
                <a:lnTo>
                  <a:pt x="2274" y="2051"/>
                </a:lnTo>
                <a:lnTo>
                  <a:pt x="2270" y="2050"/>
                </a:lnTo>
                <a:lnTo>
                  <a:pt x="2264" y="2045"/>
                </a:lnTo>
                <a:lnTo>
                  <a:pt x="2256" y="2040"/>
                </a:lnTo>
                <a:lnTo>
                  <a:pt x="2250" y="2034"/>
                </a:lnTo>
                <a:lnTo>
                  <a:pt x="2245" y="2028"/>
                </a:lnTo>
                <a:lnTo>
                  <a:pt x="2240" y="2023"/>
                </a:lnTo>
                <a:lnTo>
                  <a:pt x="2237" y="2017"/>
                </a:lnTo>
                <a:lnTo>
                  <a:pt x="2235" y="2011"/>
                </a:lnTo>
                <a:lnTo>
                  <a:pt x="2234" y="2007"/>
                </a:lnTo>
                <a:lnTo>
                  <a:pt x="2236" y="1994"/>
                </a:lnTo>
                <a:lnTo>
                  <a:pt x="2236" y="1974"/>
                </a:lnTo>
                <a:lnTo>
                  <a:pt x="2236" y="1963"/>
                </a:lnTo>
                <a:lnTo>
                  <a:pt x="2234" y="1954"/>
                </a:lnTo>
                <a:lnTo>
                  <a:pt x="2234" y="1951"/>
                </a:lnTo>
                <a:lnTo>
                  <a:pt x="2232" y="1946"/>
                </a:lnTo>
                <a:lnTo>
                  <a:pt x="2231" y="1944"/>
                </a:lnTo>
                <a:lnTo>
                  <a:pt x="2229" y="1942"/>
                </a:lnTo>
                <a:lnTo>
                  <a:pt x="2216" y="1936"/>
                </a:lnTo>
                <a:lnTo>
                  <a:pt x="2198" y="1929"/>
                </a:lnTo>
                <a:lnTo>
                  <a:pt x="2189" y="1924"/>
                </a:lnTo>
                <a:lnTo>
                  <a:pt x="2181" y="1920"/>
                </a:lnTo>
                <a:lnTo>
                  <a:pt x="2178" y="1918"/>
                </a:lnTo>
                <a:lnTo>
                  <a:pt x="2176" y="1916"/>
                </a:lnTo>
                <a:lnTo>
                  <a:pt x="2174" y="1913"/>
                </a:lnTo>
                <a:lnTo>
                  <a:pt x="2173" y="1911"/>
                </a:lnTo>
                <a:lnTo>
                  <a:pt x="2172" y="1906"/>
                </a:lnTo>
                <a:lnTo>
                  <a:pt x="2169" y="1898"/>
                </a:lnTo>
                <a:lnTo>
                  <a:pt x="2165" y="1891"/>
                </a:lnTo>
                <a:lnTo>
                  <a:pt x="2160" y="1885"/>
                </a:lnTo>
                <a:lnTo>
                  <a:pt x="2150" y="1871"/>
                </a:lnTo>
                <a:lnTo>
                  <a:pt x="2144" y="1865"/>
                </a:lnTo>
                <a:lnTo>
                  <a:pt x="2136" y="1860"/>
                </a:lnTo>
                <a:lnTo>
                  <a:pt x="2125" y="1858"/>
                </a:lnTo>
                <a:lnTo>
                  <a:pt x="2121" y="1857"/>
                </a:lnTo>
                <a:lnTo>
                  <a:pt x="2116" y="1857"/>
                </a:lnTo>
                <a:lnTo>
                  <a:pt x="2114" y="1858"/>
                </a:lnTo>
                <a:lnTo>
                  <a:pt x="2112" y="1860"/>
                </a:lnTo>
                <a:lnTo>
                  <a:pt x="2113" y="1866"/>
                </a:lnTo>
                <a:lnTo>
                  <a:pt x="2113" y="1871"/>
                </a:lnTo>
                <a:lnTo>
                  <a:pt x="2112" y="1872"/>
                </a:lnTo>
                <a:lnTo>
                  <a:pt x="2111" y="1874"/>
                </a:lnTo>
                <a:lnTo>
                  <a:pt x="2108" y="1874"/>
                </a:lnTo>
                <a:lnTo>
                  <a:pt x="2105" y="1873"/>
                </a:lnTo>
                <a:lnTo>
                  <a:pt x="2098" y="1870"/>
                </a:lnTo>
                <a:lnTo>
                  <a:pt x="2091" y="1866"/>
                </a:lnTo>
                <a:lnTo>
                  <a:pt x="2083" y="1863"/>
                </a:lnTo>
                <a:lnTo>
                  <a:pt x="2078" y="1863"/>
                </a:lnTo>
                <a:lnTo>
                  <a:pt x="2070" y="1863"/>
                </a:lnTo>
                <a:lnTo>
                  <a:pt x="2060" y="1863"/>
                </a:lnTo>
                <a:lnTo>
                  <a:pt x="2054" y="1864"/>
                </a:lnTo>
                <a:lnTo>
                  <a:pt x="2050" y="1865"/>
                </a:lnTo>
                <a:lnTo>
                  <a:pt x="2046" y="1868"/>
                </a:lnTo>
                <a:lnTo>
                  <a:pt x="2044" y="1873"/>
                </a:lnTo>
                <a:lnTo>
                  <a:pt x="2041" y="1879"/>
                </a:lnTo>
                <a:lnTo>
                  <a:pt x="2041" y="1887"/>
                </a:lnTo>
                <a:lnTo>
                  <a:pt x="2042" y="1896"/>
                </a:lnTo>
                <a:lnTo>
                  <a:pt x="2044" y="1906"/>
                </a:lnTo>
                <a:lnTo>
                  <a:pt x="2044" y="1915"/>
                </a:lnTo>
                <a:lnTo>
                  <a:pt x="2044" y="1923"/>
                </a:lnTo>
                <a:lnTo>
                  <a:pt x="2044" y="1931"/>
                </a:lnTo>
                <a:lnTo>
                  <a:pt x="2041" y="1936"/>
                </a:lnTo>
                <a:lnTo>
                  <a:pt x="2036" y="1943"/>
                </a:lnTo>
                <a:lnTo>
                  <a:pt x="2035" y="1948"/>
                </a:lnTo>
                <a:lnTo>
                  <a:pt x="2036" y="1953"/>
                </a:lnTo>
                <a:lnTo>
                  <a:pt x="2040" y="1960"/>
                </a:lnTo>
                <a:lnTo>
                  <a:pt x="2044" y="1967"/>
                </a:lnTo>
                <a:lnTo>
                  <a:pt x="2047" y="1975"/>
                </a:lnTo>
                <a:lnTo>
                  <a:pt x="2047" y="1979"/>
                </a:lnTo>
                <a:lnTo>
                  <a:pt x="2047" y="1982"/>
                </a:lnTo>
                <a:lnTo>
                  <a:pt x="2047" y="1986"/>
                </a:lnTo>
                <a:lnTo>
                  <a:pt x="2045" y="1989"/>
                </a:lnTo>
                <a:lnTo>
                  <a:pt x="2037" y="1996"/>
                </a:lnTo>
                <a:lnTo>
                  <a:pt x="2026" y="2002"/>
                </a:lnTo>
                <a:lnTo>
                  <a:pt x="2024" y="2004"/>
                </a:lnTo>
                <a:lnTo>
                  <a:pt x="2022" y="2006"/>
                </a:lnTo>
                <a:lnTo>
                  <a:pt x="2022" y="2009"/>
                </a:lnTo>
                <a:lnTo>
                  <a:pt x="2022" y="2013"/>
                </a:lnTo>
                <a:lnTo>
                  <a:pt x="2024" y="2018"/>
                </a:lnTo>
                <a:lnTo>
                  <a:pt x="2027" y="2023"/>
                </a:lnTo>
                <a:lnTo>
                  <a:pt x="2032" y="2029"/>
                </a:lnTo>
                <a:lnTo>
                  <a:pt x="2038" y="2035"/>
                </a:lnTo>
                <a:lnTo>
                  <a:pt x="2051" y="2050"/>
                </a:lnTo>
                <a:lnTo>
                  <a:pt x="2060" y="2063"/>
                </a:lnTo>
                <a:lnTo>
                  <a:pt x="2067" y="2073"/>
                </a:lnTo>
                <a:lnTo>
                  <a:pt x="2071" y="2084"/>
                </a:lnTo>
                <a:lnTo>
                  <a:pt x="2073" y="2093"/>
                </a:lnTo>
                <a:lnTo>
                  <a:pt x="2073" y="2103"/>
                </a:lnTo>
                <a:lnTo>
                  <a:pt x="2071" y="2112"/>
                </a:lnTo>
                <a:lnTo>
                  <a:pt x="2069" y="2121"/>
                </a:lnTo>
                <a:lnTo>
                  <a:pt x="2066" y="2131"/>
                </a:lnTo>
                <a:lnTo>
                  <a:pt x="2060" y="2140"/>
                </a:lnTo>
                <a:lnTo>
                  <a:pt x="2054" y="2151"/>
                </a:lnTo>
                <a:lnTo>
                  <a:pt x="2048" y="2159"/>
                </a:lnTo>
                <a:lnTo>
                  <a:pt x="2034" y="2175"/>
                </a:lnTo>
                <a:lnTo>
                  <a:pt x="2025" y="2184"/>
                </a:lnTo>
                <a:lnTo>
                  <a:pt x="2018" y="2188"/>
                </a:lnTo>
                <a:lnTo>
                  <a:pt x="2012" y="2193"/>
                </a:lnTo>
                <a:lnTo>
                  <a:pt x="2010" y="2196"/>
                </a:lnTo>
                <a:lnTo>
                  <a:pt x="2009" y="2198"/>
                </a:lnTo>
                <a:lnTo>
                  <a:pt x="2008" y="2201"/>
                </a:lnTo>
                <a:lnTo>
                  <a:pt x="2009" y="2204"/>
                </a:lnTo>
                <a:lnTo>
                  <a:pt x="2010" y="2214"/>
                </a:lnTo>
                <a:lnTo>
                  <a:pt x="2011" y="2225"/>
                </a:lnTo>
                <a:lnTo>
                  <a:pt x="2011" y="2237"/>
                </a:lnTo>
                <a:lnTo>
                  <a:pt x="2010" y="2244"/>
                </a:lnTo>
                <a:lnTo>
                  <a:pt x="2011" y="2250"/>
                </a:lnTo>
                <a:lnTo>
                  <a:pt x="2014" y="2260"/>
                </a:lnTo>
                <a:lnTo>
                  <a:pt x="2017" y="2269"/>
                </a:lnTo>
                <a:lnTo>
                  <a:pt x="2018" y="2276"/>
                </a:lnTo>
                <a:lnTo>
                  <a:pt x="2018" y="2288"/>
                </a:lnTo>
                <a:lnTo>
                  <a:pt x="2017" y="2303"/>
                </a:lnTo>
                <a:lnTo>
                  <a:pt x="2015" y="2309"/>
                </a:lnTo>
                <a:lnTo>
                  <a:pt x="2012" y="2314"/>
                </a:lnTo>
                <a:lnTo>
                  <a:pt x="2010" y="2316"/>
                </a:lnTo>
                <a:lnTo>
                  <a:pt x="2008" y="2317"/>
                </a:lnTo>
                <a:lnTo>
                  <a:pt x="2005" y="2318"/>
                </a:lnTo>
                <a:lnTo>
                  <a:pt x="2002" y="2318"/>
                </a:lnTo>
                <a:lnTo>
                  <a:pt x="1996" y="2316"/>
                </a:lnTo>
                <a:lnTo>
                  <a:pt x="1991" y="2313"/>
                </a:lnTo>
                <a:lnTo>
                  <a:pt x="1986" y="2309"/>
                </a:lnTo>
                <a:lnTo>
                  <a:pt x="1983" y="2305"/>
                </a:lnTo>
                <a:lnTo>
                  <a:pt x="1975" y="2295"/>
                </a:lnTo>
                <a:lnTo>
                  <a:pt x="1969" y="2285"/>
                </a:lnTo>
                <a:lnTo>
                  <a:pt x="1961" y="2276"/>
                </a:lnTo>
                <a:lnTo>
                  <a:pt x="1953" y="2271"/>
                </a:lnTo>
                <a:lnTo>
                  <a:pt x="1950" y="2268"/>
                </a:lnTo>
                <a:lnTo>
                  <a:pt x="1948" y="2266"/>
                </a:lnTo>
                <a:lnTo>
                  <a:pt x="1947" y="2264"/>
                </a:lnTo>
                <a:lnTo>
                  <a:pt x="1947" y="2261"/>
                </a:lnTo>
                <a:lnTo>
                  <a:pt x="1948" y="2258"/>
                </a:lnTo>
                <a:lnTo>
                  <a:pt x="1950" y="2255"/>
                </a:lnTo>
                <a:lnTo>
                  <a:pt x="1953" y="2254"/>
                </a:lnTo>
                <a:lnTo>
                  <a:pt x="1956" y="2252"/>
                </a:lnTo>
                <a:lnTo>
                  <a:pt x="1957" y="2251"/>
                </a:lnTo>
                <a:lnTo>
                  <a:pt x="1958" y="2250"/>
                </a:lnTo>
                <a:lnTo>
                  <a:pt x="1958" y="2248"/>
                </a:lnTo>
                <a:lnTo>
                  <a:pt x="1956" y="2246"/>
                </a:lnTo>
                <a:lnTo>
                  <a:pt x="1951" y="2241"/>
                </a:lnTo>
                <a:lnTo>
                  <a:pt x="1948" y="2237"/>
                </a:lnTo>
                <a:lnTo>
                  <a:pt x="1946" y="2235"/>
                </a:lnTo>
                <a:lnTo>
                  <a:pt x="1946" y="2231"/>
                </a:lnTo>
                <a:lnTo>
                  <a:pt x="1946" y="2228"/>
                </a:lnTo>
                <a:lnTo>
                  <a:pt x="1947" y="2225"/>
                </a:lnTo>
                <a:lnTo>
                  <a:pt x="1948" y="2221"/>
                </a:lnTo>
                <a:lnTo>
                  <a:pt x="1951" y="2219"/>
                </a:lnTo>
                <a:lnTo>
                  <a:pt x="1953" y="2217"/>
                </a:lnTo>
                <a:lnTo>
                  <a:pt x="1957" y="2215"/>
                </a:lnTo>
                <a:lnTo>
                  <a:pt x="1958" y="2214"/>
                </a:lnTo>
                <a:lnTo>
                  <a:pt x="1959" y="2210"/>
                </a:lnTo>
                <a:lnTo>
                  <a:pt x="1959" y="2206"/>
                </a:lnTo>
                <a:lnTo>
                  <a:pt x="1956" y="2201"/>
                </a:lnTo>
                <a:lnTo>
                  <a:pt x="1948" y="2189"/>
                </a:lnTo>
                <a:lnTo>
                  <a:pt x="1942" y="2178"/>
                </a:lnTo>
                <a:lnTo>
                  <a:pt x="1939" y="2174"/>
                </a:lnTo>
                <a:lnTo>
                  <a:pt x="1935" y="2171"/>
                </a:lnTo>
                <a:lnTo>
                  <a:pt x="1929" y="2170"/>
                </a:lnTo>
                <a:lnTo>
                  <a:pt x="1923" y="2169"/>
                </a:lnTo>
                <a:lnTo>
                  <a:pt x="1920" y="2167"/>
                </a:lnTo>
                <a:lnTo>
                  <a:pt x="1915" y="2163"/>
                </a:lnTo>
                <a:lnTo>
                  <a:pt x="1909" y="2157"/>
                </a:lnTo>
                <a:lnTo>
                  <a:pt x="1904" y="2150"/>
                </a:lnTo>
                <a:lnTo>
                  <a:pt x="1891" y="2130"/>
                </a:lnTo>
                <a:lnTo>
                  <a:pt x="1877" y="2107"/>
                </a:lnTo>
                <a:lnTo>
                  <a:pt x="1863" y="2083"/>
                </a:lnTo>
                <a:lnTo>
                  <a:pt x="1851" y="2062"/>
                </a:lnTo>
                <a:lnTo>
                  <a:pt x="1841" y="2045"/>
                </a:lnTo>
                <a:lnTo>
                  <a:pt x="1834" y="2037"/>
                </a:lnTo>
                <a:lnTo>
                  <a:pt x="1828" y="2032"/>
                </a:lnTo>
                <a:lnTo>
                  <a:pt x="1819" y="2028"/>
                </a:lnTo>
                <a:lnTo>
                  <a:pt x="1809" y="2025"/>
                </a:lnTo>
                <a:lnTo>
                  <a:pt x="1796" y="2022"/>
                </a:lnTo>
                <a:lnTo>
                  <a:pt x="1785" y="2020"/>
                </a:lnTo>
                <a:lnTo>
                  <a:pt x="1774" y="2020"/>
                </a:lnTo>
                <a:lnTo>
                  <a:pt x="1769" y="2020"/>
                </a:lnTo>
                <a:lnTo>
                  <a:pt x="1764" y="2021"/>
                </a:lnTo>
                <a:lnTo>
                  <a:pt x="1760" y="2022"/>
                </a:lnTo>
                <a:lnTo>
                  <a:pt x="1756" y="2024"/>
                </a:lnTo>
                <a:lnTo>
                  <a:pt x="1753" y="2027"/>
                </a:lnTo>
                <a:lnTo>
                  <a:pt x="1751" y="2030"/>
                </a:lnTo>
                <a:lnTo>
                  <a:pt x="1749" y="2033"/>
                </a:lnTo>
                <a:lnTo>
                  <a:pt x="1747" y="2038"/>
                </a:lnTo>
                <a:lnTo>
                  <a:pt x="1744" y="2047"/>
                </a:lnTo>
                <a:lnTo>
                  <a:pt x="1742" y="2056"/>
                </a:lnTo>
                <a:lnTo>
                  <a:pt x="1740" y="2064"/>
                </a:lnTo>
                <a:lnTo>
                  <a:pt x="1738" y="2070"/>
                </a:lnTo>
                <a:lnTo>
                  <a:pt x="1737" y="2071"/>
                </a:lnTo>
                <a:lnTo>
                  <a:pt x="1734" y="2072"/>
                </a:lnTo>
                <a:lnTo>
                  <a:pt x="1733" y="2072"/>
                </a:lnTo>
                <a:lnTo>
                  <a:pt x="1731" y="2071"/>
                </a:lnTo>
                <a:lnTo>
                  <a:pt x="1729" y="2070"/>
                </a:lnTo>
                <a:lnTo>
                  <a:pt x="1728" y="2070"/>
                </a:lnTo>
                <a:lnTo>
                  <a:pt x="1726" y="2072"/>
                </a:lnTo>
                <a:lnTo>
                  <a:pt x="1724" y="2075"/>
                </a:lnTo>
                <a:lnTo>
                  <a:pt x="1720" y="2085"/>
                </a:lnTo>
                <a:lnTo>
                  <a:pt x="1717" y="2095"/>
                </a:lnTo>
                <a:lnTo>
                  <a:pt x="1712" y="2106"/>
                </a:lnTo>
                <a:lnTo>
                  <a:pt x="1707" y="2115"/>
                </a:lnTo>
                <a:lnTo>
                  <a:pt x="1705" y="2119"/>
                </a:lnTo>
                <a:lnTo>
                  <a:pt x="1703" y="2121"/>
                </a:lnTo>
                <a:lnTo>
                  <a:pt x="1700" y="2122"/>
                </a:lnTo>
                <a:lnTo>
                  <a:pt x="1697" y="2121"/>
                </a:lnTo>
                <a:lnTo>
                  <a:pt x="1694" y="2119"/>
                </a:lnTo>
                <a:lnTo>
                  <a:pt x="1690" y="2116"/>
                </a:lnTo>
                <a:lnTo>
                  <a:pt x="1687" y="2111"/>
                </a:lnTo>
                <a:lnTo>
                  <a:pt x="1684" y="2105"/>
                </a:lnTo>
                <a:lnTo>
                  <a:pt x="1678" y="2090"/>
                </a:lnTo>
                <a:lnTo>
                  <a:pt x="1672" y="2073"/>
                </a:lnTo>
                <a:lnTo>
                  <a:pt x="1667" y="2054"/>
                </a:lnTo>
                <a:lnTo>
                  <a:pt x="1663" y="2038"/>
                </a:lnTo>
                <a:lnTo>
                  <a:pt x="1661" y="2022"/>
                </a:lnTo>
                <a:lnTo>
                  <a:pt x="1661" y="2010"/>
                </a:lnTo>
                <a:lnTo>
                  <a:pt x="1664" y="1988"/>
                </a:lnTo>
                <a:lnTo>
                  <a:pt x="1668" y="1965"/>
                </a:lnTo>
                <a:lnTo>
                  <a:pt x="1672" y="1953"/>
                </a:lnTo>
                <a:lnTo>
                  <a:pt x="1675" y="1941"/>
                </a:lnTo>
                <a:lnTo>
                  <a:pt x="1680" y="1931"/>
                </a:lnTo>
                <a:lnTo>
                  <a:pt x="1687" y="1922"/>
                </a:lnTo>
                <a:lnTo>
                  <a:pt x="1708" y="1899"/>
                </a:lnTo>
                <a:lnTo>
                  <a:pt x="1733" y="1870"/>
                </a:lnTo>
                <a:lnTo>
                  <a:pt x="1755" y="1846"/>
                </a:lnTo>
                <a:lnTo>
                  <a:pt x="1765" y="1835"/>
                </a:lnTo>
                <a:lnTo>
                  <a:pt x="1764" y="1834"/>
                </a:lnTo>
                <a:lnTo>
                  <a:pt x="1763" y="1829"/>
                </a:lnTo>
                <a:lnTo>
                  <a:pt x="1764" y="1826"/>
                </a:lnTo>
                <a:lnTo>
                  <a:pt x="1765" y="1822"/>
                </a:lnTo>
                <a:lnTo>
                  <a:pt x="1767" y="1819"/>
                </a:lnTo>
                <a:lnTo>
                  <a:pt x="1770" y="1815"/>
                </a:lnTo>
                <a:lnTo>
                  <a:pt x="1782" y="1805"/>
                </a:lnTo>
                <a:lnTo>
                  <a:pt x="1789" y="1799"/>
                </a:lnTo>
                <a:lnTo>
                  <a:pt x="1796" y="1794"/>
                </a:lnTo>
                <a:lnTo>
                  <a:pt x="1808" y="1790"/>
                </a:lnTo>
                <a:lnTo>
                  <a:pt x="1813" y="1788"/>
                </a:lnTo>
                <a:lnTo>
                  <a:pt x="1818" y="1786"/>
                </a:lnTo>
                <a:lnTo>
                  <a:pt x="1821" y="1783"/>
                </a:lnTo>
                <a:lnTo>
                  <a:pt x="1823" y="1780"/>
                </a:lnTo>
                <a:lnTo>
                  <a:pt x="1829" y="1770"/>
                </a:lnTo>
                <a:lnTo>
                  <a:pt x="1836" y="1759"/>
                </a:lnTo>
                <a:lnTo>
                  <a:pt x="1840" y="1754"/>
                </a:lnTo>
                <a:lnTo>
                  <a:pt x="1843" y="1749"/>
                </a:lnTo>
                <a:lnTo>
                  <a:pt x="1845" y="1749"/>
                </a:lnTo>
                <a:lnTo>
                  <a:pt x="1847" y="1748"/>
                </a:lnTo>
                <a:lnTo>
                  <a:pt x="1849" y="1749"/>
                </a:lnTo>
                <a:lnTo>
                  <a:pt x="1850" y="1752"/>
                </a:lnTo>
                <a:lnTo>
                  <a:pt x="1850" y="1757"/>
                </a:lnTo>
                <a:lnTo>
                  <a:pt x="1849" y="1765"/>
                </a:lnTo>
                <a:lnTo>
                  <a:pt x="1845" y="1775"/>
                </a:lnTo>
                <a:lnTo>
                  <a:pt x="1841" y="1784"/>
                </a:lnTo>
                <a:lnTo>
                  <a:pt x="1838" y="1793"/>
                </a:lnTo>
                <a:lnTo>
                  <a:pt x="1835" y="1801"/>
                </a:lnTo>
                <a:lnTo>
                  <a:pt x="1834" y="1807"/>
                </a:lnTo>
                <a:lnTo>
                  <a:pt x="1835" y="1811"/>
                </a:lnTo>
                <a:lnTo>
                  <a:pt x="1842" y="1813"/>
                </a:lnTo>
                <a:lnTo>
                  <a:pt x="1854" y="1815"/>
                </a:lnTo>
                <a:lnTo>
                  <a:pt x="1860" y="1816"/>
                </a:lnTo>
                <a:lnTo>
                  <a:pt x="1865" y="1819"/>
                </a:lnTo>
                <a:lnTo>
                  <a:pt x="1871" y="1822"/>
                </a:lnTo>
                <a:lnTo>
                  <a:pt x="1874" y="1826"/>
                </a:lnTo>
                <a:lnTo>
                  <a:pt x="1877" y="1835"/>
                </a:lnTo>
                <a:lnTo>
                  <a:pt x="1880" y="1841"/>
                </a:lnTo>
                <a:lnTo>
                  <a:pt x="1881" y="1842"/>
                </a:lnTo>
                <a:lnTo>
                  <a:pt x="1884" y="1840"/>
                </a:lnTo>
                <a:lnTo>
                  <a:pt x="1887" y="1836"/>
                </a:lnTo>
                <a:lnTo>
                  <a:pt x="1893" y="1831"/>
                </a:lnTo>
                <a:lnTo>
                  <a:pt x="1898" y="1824"/>
                </a:lnTo>
                <a:lnTo>
                  <a:pt x="1902" y="1814"/>
                </a:lnTo>
                <a:lnTo>
                  <a:pt x="1905" y="1805"/>
                </a:lnTo>
                <a:lnTo>
                  <a:pt x="1908" y="1796"/>
                </a:lnTo>
                <a:lnTo>
                  <a:pt x="1911" y="1788"/>
                </a:lnTo>
                <a:lnTo>
                  <a:pt x="1915" y="1784"/>
                </a:lnTo>
                <a:lnTo>
                  <a:pt x="1917" y="1783"/>
                </a:lnTo>
                <a:lnTo>
                  <a:pt x="1919" y="1783"/>
                </a:lnTo>
                <a:lnTo>
                  <a:pt x="1921" y="1784"/>
                </a:lnTo>
                <a:lnTo>
                  <a:pt x="1923" y="1786"/>
                </a:lnTo>
                <a:lnTo>
                  <a:pt x="1930" y="1793"/>
                </a:lnTo>
                <a:lnTo>
                  <a:pt x="1940" y="1799"/>
                </a:lnTo>
                <a:lnTo>
                  <a:pt x="1950" y="1804"/>
                </a:lnTo>
                <a:lnTo>
                  <a:pt x="1961" y="1808"/>
                </a:lnTo>
                <a:lnTo>
                  <a:pt x="1971" y="1811"/>
                </a:lnTo>
                <a:lnTo>
                  <a:pt x="1980" y="1813"/>
                </a:lnTo>
                <a:lnTo>
                  <a:pt x="1983" y="1813"/>
                </a:lnTo>
                <a:lnTo>
                  <a:pt x="1986" y="1813"/>
                </a:lnTo>
                <a:lnTo>
                  <a:pt x="1988" y="1812"/>
                </a:lnTo>
                <a:lnTo>
                  <a:pt x="1988" y="1811"/>
                </a:lnTo>
                <a:lnTo>
                  <a:pt x="1988" y="1808"/>
                </a:lnTo>
                <a:lnTo>
                  <a:pt x="1987" y="1804"/>
                </a:lnTo>
                <a:lnTo>
                  <a:pt x="1985" y="1800"/>
                </a:lnTo>
                <a:lnTo>
                  <a:pt x="1983" y="1794"/>
                </a:lnTo>
                <a:lnTo>
                  <a:pt x="1973" y="1782"/>
                </a:lnTo>
                <a:lnTo>
                  <a:pt x="1960" y="1765"/>
                </a:lnTo>
                <a:lnTo>
                  <a:pt x="1950" y="1757"/>
                </a:lnTo>
                <a:lnTo>
                  <a:pt x="1940" y="1748"/>
                </a:lnTo>
                <a:lnTo>
                  <a:pt x="1928" y="1741"/>
                </a:lnTo>
                <a:lnTo>
                  <a:pt x="1918" y="1735"/>
                </a:lnTo>
                <a:lnTo>
                  <a:pt x="1908" y="1730"/>
                </a:lnTo>
                <a:lnTo>
                  <a:pt x="1901" y="1724"/>
                </a:lnTo>
                <a:lnTo>
                  <a:pt x="1899" y="1722"/>
                </a:lnTo>
                <a:lnTo>
                  <a:pt x="1898" y="1719"/>
                </a:lnTo>
                <a:lnTo>
                  <a:pt x="1898" y="1717"/>
                </a:lnTo>
                <a:lnTo>
                  <a:pt x="1899" y="1716"/>
                </a:lnTo>
                <a:lnTo>
                  <a:pt x="1907" y="1710"/>
                </a:lnTo>
                <a:lnTo>
                  <a:pt x="1917" y="1705"/>
                </a:lnTo>
                <a:lnTo>
                  <a:pt x="1921" y="1702"/>
                </a:lnTo>
                <a:lnTo>
                  <a:pt x="1925" y="1699"/>
                </a:lnTo>
                <a:lnTo>
                  <a:pt x="1928" y="1694"/>
                </a:lnTo>
                <a:lnTo>
                  <a:pt x="1929" y="1688"/>
                </a:lnTo>
                <a:lnTo>
                  <a:pt x="1931" y="1672"/>
                </a:lnTo>
                <a:lnTo>
                  <a:pt x="1933" y="1658"/>
                </a:lnTo>
                <a:lnTo>
                  <a:pt x="1936" y="1653"/>
                </a:lnTo>
                <a:lnTo>
                  <a:pt x="1939" y="1648"/>
                </a:lnTo>
                <a:lnTo>
                  <a:pt x="1942" y="1645"/>
                </a:lnTo>
                <a:lnTo>
                  <a:pt x="1946" y="1643"/>
                </a:lnTo>
                <a:lnTo>
                  <a:pt x="1948" y="1642"/>
                </a:lnTo>
                <a:lnTo>
                  <a:pt x="1950" y="1638"/>
                </a:lnTo>
                <a:lnTo>
                  <a:pt x="1950" y="1635"/>
                </a:lnTo>
                <a:lnTo>
                  <a:pt x="1951" y="1630"/>
                </a:lnTo>
                <a:lnTo>
                  <a:pt x="1951" y="1617"/>
                </a:lnTo>
                <a:lnTo>
                  <a:pt x="1950" y="1604"/>
                </a:lnTo>
                <a:lnTo>
                  <a:pt x="1947" y="1579"/>
                </a:lnTo>
                <a:lnTo>
                  <a:pt x="1946" y="1567"/>
                </a:lnTo>
                <a:lnTo>
                  <a:pt x="1949" y="1559"/>
                </a:lnTo>
                <a:lnTo>
                  <a:pt x="1954" y="1540"/>
                </a:lnTo>
                <a:lnTo>
                  <a:pt x="1958" y="1529"/>
                </a:lnTo>
                <a:lnTo>
                  <a:pt x="1959" y="1519"/>
                </a:lnTo>
                <a:lnTo>
                  <a:pt x="1958" y="1515"/>
                </a:lnTo>
                <a:lnTo>
                  <a:pt x="1957" y="1511"/>
                </a:lnTo>
                <a:lnTo>
                  <a:pt x="1956" y="1507"/>
                </a:lnTo>
                <a:lnTo>
                  <a:pt x="1952" y="1504"/>
                </a:lnTo>
                <a:lnTo>
                  <a:pt x="1936" y="1494"/>
                </a:lnTo>
                <a:lnTo>
                  <a:pt x="1914" y="1479"/>
                </a:lnTo>
                <a:lnTo>
                  <a:pt x="1903" y="1473"/>
                </a:lnTo>
                <a:lnTo>
                  <a:pt x="1895" y="1468"/>
                </a:lnTo>
                <a:lnTo>
                  <a:pt x="1889" y="1463"/>
                </a:lnTo>
                <a:lnTo>
                  <a:pt x="1889" y="1461"/>
                </a:lnTo>
                <a:lnTo>
                  <a:pt x="1904" y="1455"/>
                </a:lnTo>
                <a:lnTo>
                  <a:pt x="1933" y="1445"/>
                </a:lnTo>
                <a:lnTo>
                  <a:pt x="1949" y="1440"/>
                </a:lnTo>
                <a:lnTo>
                  <a:pt x="1962" y="1438"/>
                </a:lnTo>
                <a:lnTo>
                  <a:pt x="1967" y="1439"/>
                </a:lnTo>
                <a:lnTo>
                  <a:pt x="1971" y="1440"/>
                </a:lnTo>
                <a:lnTo>
                  <a:pt x="1974" y="1442"/>
                </a:lnTo>
                <a:lnTo>
                  <a:pt x="1975" y="1446"/>
                </a:lnTo>
                <a:lnTo>
                  <a:pt x="1975" y="1450"/>
                </a:lnTo>
                <a:lnTo>
                  <a:pt x="1976" y="1454"/>
                </a:lnTo>
                <a:lnTo>
                  <a:pt x="1979" y="1457"/>
                </a:lnTo>
                <a:lnTo>
                  <a:pt x="1981" y="1461"/>
                </a:lnTo>
                <a:lnTo>
                  <a:pt x="1986" y="1467"/>
                </a:lnTo>
                <a:lnTo>
                  <a:pt x="1991" y="1471"/>
                </a:lnTo>
                <a:lnTo>
                  <a:pt x="1996" y="1472"/>
                </a:lnTo>
                <a:lnTo>
                  <a:pt x="2002" y="1472"/>
                </a:lnTo>
                <a:lnTo>
                  <a:pt x="2004" y="1471"/>
                </a:lnTo>
                <a:lnTo>
                  <a:pt x="2005" y="1470"/>
                </a:lnTo>
                <a:lnTo>
                  <a:pt x="2006" y="1468"/>
                </a:lnTo>
                <a:lnTo>
                  <a:pt x="2006" y="1464"/>
                </a:lnTo>
                <a:lnTo>
                  <a:pt x="2007" y="1457"/>
                </a:lnTo>
                <a:lnTo>
                  <a:pt x="2009" y="1450"/>
                </a:lnTo>
                <a:lnTo>
                  <a:pt x="2012" y="1442"/>
                </a:lnTo>
                <a:lnTo>
                  <a:pt x="2017" y="1436"/>
                </a:lnTo>
                <a:lnTo>
                  <a:pt x="2019" y="1434"/>
                </a:lnTo>
                <a:lnTo>
                  <a:pt x="2023" y="1432"/>
                </a:lnTo>
                <a:lnTo>
                  <a:pt x="2026" y="1431"/>
                </a:lnTo>
                <a:lnTo>
                  <a:pt x="2029" y="1431"/>
                </a:lnTo>
                <a:lnTo>
                  <a:pt x="2032" y="1432"/>
                </a:lnTo>
                <a:lnTo>
                  <a:pt x="2035" y="1434"/>
                </a:lnTo>
                <a:lnTo>
                  <a:pt x="2038" y="1437"/>
                </a:lnTo>
                <a:lnTo>
                  <a:pt x="2042" y="1442"/>
                </a:lnTo>
                <a:lnTo>
                  <a:pt x="2052" y="1457"/>
                </a:lnTo>
                <a:lnTo>
                  <a:pt x="2067" y="1478"/>
                </a:lnTo>
                <a:lnTo>
                  <a:pt x="2084" y="1504"/>
                </a:lnTo>
                <a:lnTo>
                  <a:pt x="2103" y="1534"/>
                </a:lnTo>
                <a:lnTo>
                  <a:pt x="2121" y="1561"/>
                </a:lnTo>
                <a:lnTo>
                  <a:pt x="2136" y="1586"/>
                </a:lnTo>
                <a:lnTo>
                  <a:pt x="2141" y="1596"/>
                </a:lnTo>
                <a:lnTo>
                  <a:pt x="2145" y="1606"/>
                </a:lnTo>
                <a:lnTo>
                  <a:pt x="2147" y="1612"/>
                </a:lnTo>
                <a:lnTo>
                  <a:pt x="2147" y="1617"/>
                </a:lnTo>
                <a:lnTo>
                  <a:pt x="2147" y="1624"/>
                </a:lnTo>
                <a:lnTo>
                  <a:pt x="2147" y="1629"/>
                </a:lnTo>
                <a:lnTo>
                  <a:pt x="2149" y="1634"/>
                </a:lnTo>
                <a:lnTo>
                  <a:pt x="2151" y="1637"/>
                </a:lnTo>
                <a:lnTo>
                  <a:pt x="2156" y="1643"/>
                </a:lnTo>
                <a:lnTo>
                  <a:pt x="2158" y="1644"/>
                </a:lnTo>
                <a:lnTo>
                  <a:pt x="2170" y="1645"/>
                </a:lnTo>
                <a:lnTo>
                  <a:pt x="2196" y="1649"/>
                </a:lnTo>
                <a:lnTo>
                  <a:pt x="2210" y="1651"/>
                </a:lnTo>
                <a:lnTo>
                  <a:pt x="2221" y="1654"/>
                </a:lnTo>
                <a:lnTo>
                  <a:pt x="2225" y="1656"/>
                </a:lnTo>
                <a:lnTo>
                  <a:pt x="2228" y="1658"/>
                </a:lnTo>
                <a:lnTo>
                  <a:pt x="2229" y="1660"/>
                </a:lnTo>
                <a:lnTo>
                  <a:pt x="2228" y="1664"/>
                </a:lnTo>
                <a:lnTo>
                  <a:pt x="2220" y="1675"/>
                </a:lnTo>
                <a:lnTo>
                  <a:pt x="2212" y="1684"/>
                </a:lnTo>
                <a:lnTo>
                  <a:pt x="2209" y="1688"/>
                </a:lnTo>
                <a:lnTo>
                  <a:pt x="2205" y="1690"/>
                </a:lnTo>
                <a:lnTo>
                  <a:pt x="2203" y="1690"/>
                </a:lnTo>
                <a:lnTo>
                  <a:pt x="2202" y="1689"/>
                </a:lnTo>
                <a:lnTo>
                  <a:pt x="2200" y="1688"/>
                </a:lnTo>
                <a:lnTo>
                  <a:pt x="2198" y="1686"/>
                </a:lnTo>
                <a:lnTo>
                  <a:pt x="2190" y="1676"/>
                </a:lnTo>
                <a:lnTo>
                  <a:pt x="2180" y="1665"/>
                </a:lnTo>
                <a:lnTo>
                  <a:pt x="2173" y="1659"/>
                </a:lnTo>
                <a:lnTo>
                  <a:pt x="2167" y="1656"/>
                </a:lnTo>
                <a:lnTo>
                  <a:pt x="2161" y="1653"/>
                </a:lnTo>
                <a:lnTo>
                  <a:pt x="2154" y="1651"/>
                </a:lnTo>
                <a:lnTo>
                  <a:pt x="2147" y="1651"/>
                </a:lnTo>
                <a:lnTo>
                  <a:pt x="2142" y="1651"/>
                </a:lnTo>
                <a:lnTo>
                  <a:pt x="2137" y="1652"/>
                </a:lnTo>
                <a:lnTo>
                  <a:pt x="2133" y="1654"/>
                </a:lnTo>
                <a:lnTo>
                  <a:pt x="2129" y="1657"/>
                </a:lnTo>
                <a:lnTo>
                  <a:pt x="2127" y="1662"/>
                </a:lnTo>
                <a:lnTo>
                  <a:pt x="2125" y="1669"/>
                </a:lnTo>
                <a:lnTo>
                  <a:pt x="2124" y="1678"/>
                </a:lnTo>
                <a:lnTo>
                  <a:pt x="2124" y="1687"/>
                </a:lnTo>
                <a:lnTo>
                  <a:pt x="2127" y="1695"/>
                </a:lnTo>
                <a:lnTo>
                  <a:pt x="2130" y="1700"/>
                </a:lnTo>
                <a:lnTo>
                  <a:pt x="2133" y="1705"/>
                </a:lnTo>
                <a:lnTo>
                  <a:pt x="2134" y="1708"/>
                </a:lnTo>
                <a:lnTo>
                  <a:pt x="2135" y="1709"/>
                </a:lnTo>
                <a:lnTo>
                  <a:pt x="2135" y="1710"/>
                </a:lnTo>
                <a:lnTo>
                  <a:pt x="2134" y="1711"/>
                </a:lnTo>
                <a:lnTo>
                  <a:pt x="2129" y="1713"/>
                </a:lnTo>
                <a:lnTo>
                  <a:pt x="2121" y="1713"/>
                </a:lnTo>
                <a:lnTo>
                  <a:pt x="2098" y="1711"/>
                </a:lnTo>
                <a:lnTo>
                  <a:pt x="2077" y="1708"/>
                </a:lnTo>
                <a:lnTo>
                  <a:pt x="2072" y="1708"/>
                </a:lnTo>
                <a:lnTo>
                  <a:pt x="2068" y="1709"/>
                </a:lnTo>
                <a:lnTo>
                  <a:pt x="2064" y="1710"/>
                </a:lnTo>
                <a:lnTo>
                  <a:pt x="2060" y="1712"/>
                </a:lnTo>
                <a:lnTo>
                  <a:pt x="2057" y="1714"/>
                </a:lnTo>
                <a:lnTo>
                  <a:pt x="2055" y="1718"/>
                </a:lnTo>
                <a:lnTo>
                  <a:pt x="2053" y="1722"/>
                </a:lnTo>
                <a:lnTo>
                  <a:pt x="2052" y="1728"/>
                </a:lnTo>
                <a:lnTo>
                  <a:pt x="2050" y="1740"/>
                </a:lnTo>
                <a:lnTo>
                  <a:pt x="2046" y="1750"/>
                </a:lnTo>
                <a:lnTo>
                  <a:pt x="2041" y="1760"/>
                </a:lnTo>
                <a:lnTo>
                  <a:pt x="2037" y="1768"/>
                </a:lnTo>
                <a:lnTo>
                  <a:pt x="2034" y="1776"/>
                </a:lnTo>
                <a:lnTo>
                  <a:pt x="2031" y="1781"/>
                </a:lnTo>
                <a:lnTo>
                  <a:pt x="2031" y="1784"/>
                </a:lnTo>
                <a:lnTo>
                  <a:pt x="2031" y="1786"/>
                </a:lnTo>
                <a:lnTo>
                  <a:pt x="2032" y="1788"/>
                </a:lnTo>
                <a:lnTo>
                  <a:pt x="2034" y="1789"/>
                </a:lnTo>
                <a:lnTo>
                  <a:pt x="2036" y="1790"/>
                </a:lnTo>
                <a:lnTo>
                  <a:pt x="2040" y="1790"/>
                </a:lnTo>
                <a:lnTo>
                  <a:pt x="2045" y="1788"/>
                </a:lnTo>
                <a:lnTo>
                  <a:pt x="2050" y="1786"/>
                </a:lnTo>
                <a:lnTo>
                  <a:pt x="2062" y="1779"/>
                </a:lnTo>
                <a:lnTo>
                  <a:pt x="2076" y="1770"/>
                </a:lnTo>
                <a:lnTo>
                  <a:pt x="2091" y="1763"/>
                </a:lnTo>
                <a:lnTo>
                  <a:pt x="2103" y="1758"/>
                </a:lnTo>
                <a:lnTo>
                  <a:pt x="2108" y="1757"/>
                </a:lnTo>
                <a:lnTo>
                  <a:pt x="2113" y="1757"/>
                </a:lnTo>
                <a:lnTo>
                  <a:pt x="2117" y="1758"/>
                </a:lnTo>
                <a:lnTo>
                  <a:pt x="2120" y="1761"/>
                </a:lnTo>
                <a:lnTo>
                  <a:pt x="2124" y="1767"/>
                </a:lnTo>
                <a:lnTo>
                  <a:pt x="2129" y="1774"/>
                </a:lnTo>
                <a:lnTo>
                  <a:pt x="2134" y="1778"/>
                </a:lnTo>
                <a:lnTo>
                  <a:pt x="2138" y="1781"/>
                </a:lnTo>
                <a:lnTo>
                  <a:pt x="2141" y="1784"/>
                </a:lnTo>
                <a:lnTo>
                  <a:pt x="2144" y="1787"/>
                </a:lnTo>
                <a:lnTo>
                  <a:pt x="2146" y="1791"/>
                </a:lnTo>
                <a:lnTo>
                  <a:pt x="2146" y="1796"/>
                </a:lnTo>
                <a:lnTo>
                  <a:pt x="2147" y="1800"/>
                </a:lnTo>
                <a:lnTo>
                  <a:pt x="2150" y="1803"/>
                </a:lnTo>
                <a:lnTo>
                  <a:pt x="2154" y="1806"/>
                </a:lnTo>
                <a:lnTo>
                  <a:pt x="2158" y="1807"/>
                </a:lnTo>
                <a:lnTo>
                  <a:pt x="2162" y="1809"/>
                </a:lnTo>
                <a:lnTo>
                  <a:pt x="2166" y="1810"/>
                </a:lnTo>
                <a:lnTo>
                  <a:pt x="2169" y="1812"/>
                </a:lnTo>
                <a:lnTo>
                  <a:pt x="2171" y="1815"/>
                </a:lnTo>
                <a:lnTo>
                  <a:pt x="2176" y="1825"/>
                </a:lnTo>
                <a:lnTo>
                  <a:pt x="2184" y="1840"/>
                </a:lnTo>
                <a:lnTo>
                  <a:pt x="2188" y="1847"/>
                </a:lnTo>
                <a:lnTo>
                  <a:pt x="2192" y="1853"/>
                </a:lnTo>
                <a:lnTo>
                  <a:pt x="2196" y="1857"/>
                </a:lnTo>
                <a:lnTo>
                  <a:pt x="2201" y="1860"/>
                </a:lnTo>
                <a:lnTo>
                  <a:pt x="2210" y="1862"/>
                </a:lnTo>
                <a:lnTo>
                  <a:pt x="2220" y="1862"/>
                </a:lnTo>
                <a:lnTo>
                  <a:pt x="2224" y="1862"/>
                </a:lnTo>
                <a:lnTo>
                  <a:pt x="2228" y="1863"/>
                </a:lnTo>
                <a:lnTo>
                  <a:pt x="2232" y="1864"/>
                </a:lnTo>
                <a:lnTo>
                  <a:pt x="2236" y="1867"/>
                </a:lnTo>
                <a:lnTo>
                  <a:pt x="2242" y="1870"/>
                </a:lnTo>
                <a:lnTo>
                  <a:pt x="2252" y="1873"/>
                </a:lnTo>
                <a:lnTo>
                  <a:pt x="2265" y="1876"/>
                </a:lnTo>
                <a:lnTo>
                  <a:pt x="2278" y="1878"/>
                </a:lnTo>
                <a:lnTo>
                  <a:pt x="2301" y="1881"/>
                </a:lnTo>
                <a:lnTo>
                  <a:pt x="2310" y="1880"/>
                </a:lnTo>
                <a:lnTo>
                  <a:pt x="2295" y="1867"/>
                </a:lnTo>
                <a:lnTo>
                  <a:pt x="2270" y="1838"/>
                </a:lnTo>
                <a:lnTo>
                  <a:pt x="2257" y="1825"/>
                </a:lnTo>
                <a:lnTo>
                  <a:pt x="2248" y="1812"/>
                </a:lnTo>
                <a:lnTo>
                  <a:pt x="2245" y="1807"/>
                </a:lnTo>
                <a:lnTo>
                  <a:pt x="2243" y="1804"/>
                </a:lnTo>
                <a:lnTo>
                  <a:pt x="2243" y="1802"/>
                </a:lnTo>
                <a:lnTo>
                  <a:pt x="2243" y="1802"/>
                </a:lnTo>
                <a:lnTo>
                  <a:pt x="2243" y="1801"/>
                </a:lnTo>
                <a:lnTo>
                  <a:pt x="2244" y="1801"/>
                </a:lnTo>
                <a:lnTo>
                  <a:pt x="2248" y="1802"/>
                </a:lnTo>
                <a:lnTo>
                  <a:pt x="2252" y="1805"/>
                </a:lnTo>
                <a:lnTo>
                  <a:pt x="2258" y="1810"/>
                </a:lnTo>
                <a:lnTo>
                  <a:pt x="2266" y="1815"/>
                </a:lnTo>
                <a:lnTo>
                  <a:pt x="2281" y="1829"/>
                </a:lnTo>
                <a:lnTo>
                  <a:pt x="2298" y="1844"/>
                </a:lnTo>
                <a:lnTo>
                  <a:pt x="2315" y="1858"/>
                </a:lnTo>
                <a:lnTo>
                  <a:pt x="2329" y="1869"/>
                </a:lnTo>
                <a:lnTo>
                  <a:pt x="2335" y="1873"/>
                </a:lnTo>
                <a:lnTo>
                  <a:pt x="2339" y="1875"/>
                </a:lnTo>
                <a:lnTo>
                  <a:pt x="2341" y="1875"/>
                </a:lnTo>
                <a:lnTo>
                  <a:pt x="2342" y="1875"/>
                </a:lnTo>
                <a:lnTo>
                  <a:pt x="2343" y="1875"/>
                </a:lnTo>
                <a:lnTo>
                  <a:pt x="2343" y="1874"/>
                </a:lnTo>
                <a:lnTo>
                  <a:pt x="2343" y="1868"/>
                </a:lnTo>
                <a:lnTo>
                  <a:pt x="2342" y="1860"/>
                </a:lnTo>
                <a:lnTo>
                  <a:pt x="2340" y="1854"/>
                </a:lnTo>
                <a:lnTo>
                  <a:pt x="2337" y="1848"/>
                </a:lnTo>
                <a:lnTo>
                  <a:pt x="2334" y="1842"/>
                </a:lnTo>
                <a:lnTo>
                  <a:pt x="2332" y="1837"/>
                </a:lnTo>
                <a:lnTo>
                  <a:pt x="2331" y="1833"/>
                </a:lnTo>
                <a:lnTo>
                  <a:pt x="2332" y="1831"/>
                </a:lnTo>
                <a:lnTo>
                  <a:pt x="2339" y="1829"/>
                </a:lnTo>
                <a:lnTo>
                  <a:pt x="2349" y="1824"/>
                </a:lnTo>
                <a:lnTo>
                  <a:pt x="2355" y="1820"/>
                </a:lnTo>
                <a:lnTo>
                  <a:pt x="2359" y="1816"/>
                </a:lnTo>
                <a:lnTo>
                  <a:pt x="2360" y="1814"/>
                </a:lnTo>
                <a:lnTo>
                  <a:pt x="2361" y="1812"/>
                </a:lnTo>
                <a:lnTo>
                  <a:pt x="2361" y="1810"/>
                </a:lnTo>
                <a:lnTo>
                  <a:pt x="2360" y="1808"/>
                </a:lnTo>
                <a:lnTo>
                  <a:pt x="2349" y="1796"/>
                </a:lnTo>
                <a:lnTo>
                  <a:pt x="2331" y="1778"/>
                </a:lnTo>
                <a:lnTo>
                  <a:pt x="2311" y="1759"/>
                </a:lnTo>
                <a:lnTo>
                  <a:pt x="2297" y="1745"/>
                </a:lnTo>
                <a:lnTo>
                  <a:pt x="2293" y="1738"/>
                </a:lnTo>
                <a:lnTo>
                  <a:pt x="2288" y="1724"/>
                </a:lnTo>
                <a:lnTo>
                  <a:pt x="2282" y="1709"/>
                </a:lnTo>
                <a:lnTo>
                  <a:pt x="2277" y="1692"/>
                </a:lnTo>
                <a:lnTo>
                  <a:pt x="2274" y="1677"/>
                </a:lnTo>
                <a:lnTo>
                  <a:pt x="2272" y="1665"/>
                </a:lnTo>
                <a:lnTo>
                  <a:pt x="2272" y="1660"/>
                </a:lnTo>
                <a:lnTo>
                  <a:pt x="2273" y="1658"/>
                </a:lnTo>
                <a:lnTo>
                  <a:pt x="2275" y="1657"/>
                </a:lnTo>
                <a:lnTo>
                  <a:pt x="2278" y="1658"/>
                </a:lnTo>
                <a:lnTo>
                  <a:pt x="2293" y="1668"/>
                </a:lnTo>
                <a:lnTo>
                  <a:pt x="2311" y="1676"/>
                </a:lnTo>
                <a:lnTo>
                  <a:pt x="2318" y="1681"/>
                </a:lnTo>
                <a:lnTo>
                  <a:pt x="2324" y="1687"/>
                </a:lnTo>
                <a:lnTo>
                  <a:pt x="2326" y="1690"/>
                </a:lnTo>
                <a:lnTo>
                  <a:pt x="2329" y="1693"/>
                </a:lnTo>
                <a:lnTo>
                  <a:pt x="2330" y="1696"/>
                </a:lnTo>
                <a:lnTo>
                  <a:pt x="2331" y="1699"/>
                </a:lnTo>
                <a:lnTo>
                  <a:pt x="2331" y="1711"/>
                </a:lnTo>
                <a:lnTo>
                  <a:pt x="2332" y="1717"/>
                </a:lnTo>
                <a:lnTo>
                  <a:pt x="2335" y="1722"/>
                </a:lnTo>
                <a:lnTo>
                  <a:pt x="2339" y="1727"/>
                </a:lnTo>
                <a:lnTo>
                  <a:pt x="2347" y="1736"/>
                </a:lnTo>
                <a:lnTo>
                  <a:pt x="2357" y="1746"/>
                </a:lnTo>
                <a:lnTo>
                  <a:pt x="2361" y="1750"/>
                </a:lnTo>
                <a:lnTo>
                  <a:pt x="2365" y="1754"/>
                </a:lnTo>
                <a:lnTo>
                  <a:pt x="2367" y="1754"/>
                </a:lnTo>
                <a:lnTo>
                  <a:pt x="2369" y="1753"/>
                </a:lnTo>
                <a:lnTo>
                  <a:pt x="2371" y="1752"/>
                </a:lnTo>
                <a:lnTo>
                  <a:pt x="2373" y="1748"/>
                </a:lnTo>
                <a:lnTo>
                  <a:pt x="2376" y="1733"/>
                </a:lnTo>
                <a:lnTo>
                  <a:pt x="2378" y="1712"/>
                </a:lnTo>
                <a:lnTo>
                  <a:pt x="2379" y="1701"/>
                </a:lnTo>
                <a:lnTo>
                  <a:pt x="2380" y="1692"/>
                </a:lnTo>
                <a:lnTo>
                  <a:pt x="2382" y="1684"/>
                </a:lnTo>
                <a:lnTo>
                  <a:pt x="2385" y="1679"/>
                </a:lnTo>
                <a:lnTo>
                  <a:pt x="2395" y="1671"/>
                </a:lnTo>
                <a:lnTo>
                  <a:pt x="2402" y="1664"/>
                </a:lnTo>
                <a:lnTo>
                  <a:pt x="2405" y="1659"/>
                </a:lnTo>
                <a:lnTo>
                  <a:pt x="2406" y="1655"/>
                </a:lnTo>
                <a:lnTo>
                  <a:pt x="2406" y="1650"/>
                </a:lnTo>
                <a:lnTo>
                  <a:pt x="2404" y="1645"/>
                </a:lnTo>
                <a:lnTo>
                  <a:pt x="2399" y="1639"/>
                </a:lnTo>
                <a:lnTo>
                  <a:pt x="2392" y="1634"/>
                </a:lnTo>
                <a:lnTo>
                  <a:pt x="2384" y="1628"/>
                </a:lnTo>
                <a:lnTo>
                  <a:pt x="2375" y="1622"/>
                </a:lnTo>
                <a:lnTo>
                  <a:pt x="2357" y="1611"/>
                </a:lnTo>
                <a:lnTo>
                  <a:pt x="2345" y="1603"/>
                </a:lnTo>
                <a:lnTo>
                  <a:pt x="2330" y="1588"/>
                </a:lnTo>
                <a:lnTo>
                  <a:pt x="2300" y="1564"/>
                </a:lnTo>
                <a:lnTo>
                  <a:pt x="2272" y="1540"/>
                </a:lnTo>
                <a:lnTo>
                  <a:pt x="2255" y="1525"/>
                </a:lnTo>
                <a:lnTo>
                  <a:pt x="2252" y="1521"/>
                </a:lnTo>
                <a:lnTo>
                  <a:pt x="2250" y="1516"/>
                </a:lnTo>
                <a:lnTo>
                  <a:pt x="2247" y="1511"/>
                </a:lnTo>
                <a:lnTo>
                  <a:pt x="2245" y="1505"/>
                </a:lnTo>
                <a:lnTo>
                  <a:pt x="2244" y="1499"/>
                </a:lnTo>
                <a:lnTo>
                  <a:pt x="2244" y="1494"/>
                </a:lnTo>
                <a:lnTo>
                  <a:pt x="2244" y="1487"/>
                </a:lnTo>
                <a:lnTo>
                  <a:pt x="2246" y="1481"/>
                </a:lnTo>
                <a:lnTo>
                  <a:pt x="2248" y="1478"/>
                </a:lnTo>
                <a:lnTo>
                  <a:pt x="2250" y="1475"/>
                </a:lnTo>
                <a:lnTo>
                  <a:pt x="2253" y="1473"/>
                </a:lnTo>
                <a:lnTo>
                  <a:pt x="2256" y="1471"/>
                </a:lnTo>
                <a:lnTo>
                  <a:pt x="2264" y="1468"/>
                </a:lnTo>
                <a:lnTo>
                  <a:pt x="2270" y="1464"/>
                </a:lnTo>
                <a:lnTo>
                  <a:pt x="2275" y="1461"/>
                </a:lnTo>
                <a:lnTo>
                  <a:pt x="2278" y="1458"/>
                </a:lnTo>
                <a:lnTo>
                  <a:pt x="2279" y="1456"/>
                </a:lnTo>
                <a:lnTo>
                  <a:pt x="2278" y="1454"/>
                </a:lnTo>
                <a:lnTo>
                  <a:pt x="2277" y="1452"/>
                </a:lnTo>
                <a:lnTo>
                  <a:pt x="2274" y="1449"/>
                </a:lnTo>
                <a:lnTo>
                  <a:pt x="2270" y="1447"/>
                </a:lnTo>
                <a:lnTo>
                  <a:pt x="2267" y="1446"/>
                </a:lnTo>
                <a:lnTo>
                  <a:pt x="2262" y="1445"/>
                </a:lnTo>
                <a:lnTo>
                  <a:pt x="2259" y="1445"/>
                </a:lnTo>
                <a:lnTo>
                  <a:pt x="2253" y="1445"/>
                </a:lnTo>
                <a:lnTo>
                  <a:pt x="2247" y="1447"/>
                </a:lnTo>
                <a:lnTo>
                  <a:pt x="2237" y="1452"/>
                </a:lnTo>
                <a:lnTo>
                  <a:pt x="2234" y="1455"/>
                </a:lnTo>
                <a:lnTo>
                  <a:pt x="2229" y="1457"/>
                </a:lnTo>
                <a:lnTo>
                  <a:pt x="2221" y="1459"/>
                </a:lnTo>
                <a:lnTo>
                  <a:pt x="2216" y="1459"/>
                </a:lnTo>
                <a:lnTo>
                  <a:pt x="2213" y="1457"/>
                </a:lnTo>
                <a:lnTo>
                  <a:pt x="2212" y="1456"/>
                </a:lnTo>
                <a:lnTo>
                  <a:pt x="2212" y="1454"/>
                </a:lnTo>
                <a:lnTo>
                  <a:pt x="2213" y="1452"/>
                </a:lnTo>
                <a:lnTo>
                  <a:pt x="2214" y="1449"/>
                </a:lnTo>
                <a:lnTo>
                  <a:pt x="2218" y="1443"/>
                </a:lnTo>
                <a:lnTo>
                  <a:pt x="2224" y="1440"/>
                </a:lnTo>
                <a:lnTo>
                  <a:pt x="2229" y="1438"/>
                </a:lnTo>
                <a:lnTo>
                  <a:pt x="2234" y="1436"/>
                </a:lnTo>
                <a:lnTo>
                  <a:pt x="2237" y="1435"/>
                </a:lnTo>
                <a:lnTo>
                  <a:pt x="2239" y="1433"/>
                </a:lnTo>
                <a:lnTo>
                  <a:pt x="2238" y="1430"/>
                </a:lnTo>
                <a:lnTo>
                  <a:pt x="2235" y="1426"/>
                </a:lnTo>
                <a:lnTo>
                  <a:pt x="2229" y="1420"/>
                </a:lnTo>
                <a:lnTo>
                  <a:pt x="2222" y="1417"/>
                </a:lnTo>
                <a:lnTo>
                  <a:pt x="2214" y="1414"/>
                </a:lnTo>
                <a:lnTo>
                  <a:pt x="2207" y="1412"/>
                </a:lnTo>
                <a:lnTo>
                  <a:pt x="2201" y="1411"/>
                </a:lnTo>
                <a:lnTo>
                  <a:pt x="2194" y="1411"/>
                </a:lnTo>
                <a:lnTo>
                  <a:pt x="2190" y="1412"/>
                </a:lnTo>
                <a:lnTo>
                  <a:pt x="2187" y="1413"/>
                </a:lnTo>
                <a:lnTo>
                  <a:pt x="2183" y="1414"/>
                </a:lnTo>
                <a:lnTo>
                  <a:pt x="2178" y="1413"/>
                </a:lnTo>
                <a:lnTo>
                  <a:pt x="2171" y="1411"/>
                </a:lnTo>
                <a:lnTo>
                  <a:pt x="2164" y="1408"/>
                </a:lnTo>
                <a:lnTo>
                  <a:pt x="2159" y="1404"/>
                </a:lnTo>
                <a:lnTo>
                  <a:pt x="2156" y="1399"/>
                </a:lnTo>
                <a:lnTo>
                  <a:pt x="2156" y="1397"/>
                </a:lnTo>
                <a:lnTo>
                  <a:pt x="2156" y="1395"/>
                </a:lnTo>
                <a:lnTo>
                  <a:pt x="2158" y="1393"/>
                </a:lnTo>
                <a:lnTo>
                  <a:pt x="2160" y="1391"/>
                </a:lnTo>
                <a:lnTo>
                  <a:pt x="2171" y="1385"/>
                </a:lnTo>
                <a:lnTo>
                  <a:pt x="2180" y="1382"/>
                </a:lnTo>
                <a:lnTo>
                  <a:pt x="2183" y="1381"/>
                </a:lnTo>
                <a:lnTo>
                  <a:pt x="2185" y="1379"/>
                </a:lnTo>
                <a:lnTo>
                  <a:pt x="2185" y="1375"/>
                </a:lnTo>
                <a:lnTo>
                  <a:pt x="2184" y="1371"/>
                </a:lnTo>
                <a:lnTo>
                  <a:pt x="2181" y="1365"/>
                </a:lnTo>
                <a:lnTo>
                  <a:pt x="2177" y="1357"/>
                </a:lnTo>
                <a:lnTo>
                  <a:pt x="2172" y="1348"/>
                </a:lnTo>
                <a:lnTo>
                  <a:pt x="2167" y="1340"/>
                </a:lnTo>
                <a:lnTo>
                  <a:pt x="2165" y="1337"/>
                </a:lnTo>
                <a:lnTo>
                  <a:pt x="2162" y="1335"/>
                </a:lnTo>
                <a:lnTo>
                  <a:pt x="2160" y="1333"/>
                </a:lnTo>
                <a:lnTo>
                  <a:pt x="2158" y="1333"/>
                </a:lnTo>
                <a:lnTo>
                  <a:pt x="2155" y="1335"/>
                </a:lnTo>
                <a:lnTo>
                  <a:pt x="2152" y="1338"/>
                </a:lnTo>
                <a:lnTo>
                  <a:pt x="2151" y="1342"/>
                </a:lnTo>
                <a:lnTo>
                  <a:pt x="2149" y="1347"/>
                </a:lnTo>
                <a:lnTo>
                  <a:pt x="2147" y="1360"/>
                </a:lnTo>
                <a:lnTo>
                  <a:pt x="2143" y="1368"/>
                </a:lnTo>
                <a:lnTo>
                  <a:pt x="2142" y="1370"/>
                </a:lnTo>
                <a:lnTo>
                  <a:pt x="2140" y="1372"/>
                </a:lnTo>
                <a:lnTo>
                  <a:pt x="2138" y="1373"/>
                </a:lnTo>
                <a:lnTo>
                  <a:pt x="2136" y="1374"/>
                </a:lnTo>
                <a:lnTo>
                  <a:pt x="2132" y="1374"/>
                </a:lnTo>
                <a:lnTo>
                  <a:pt x="2128" y="1372"/>
                </a:lnTo>
                <a:lnTo>
                  <a:pt x="2125" y="1370"/>
                </a:lnTo>
                <a:lnTo>
                  <a:pt x="2122" y="1367"/>
                </a:lnTo>
                <a:lnTo>
                  <a:pt x="2116" y="1362"/>
                </a:lnTo>
                <a:lnTo>
                  <a:pt x="2108" y="1358"/>
                </a:lnTo>
                <a:lnTo>
                  <a:pt x="2105" y="1354"/>
                </a:lnTo>
                <a:lnTo>
                  <a:pt x="2102" y="1350"/>
                </a:lnTo>
                <a:lnTo>
                  <a:pt x="2100" y="1346"/>
                </a:lnTo>
                <a:lnTo>
                  <a:pt x="2098" y="1341"/>
                </a:lnTo>
                <a:lnTo>
                  <a:pt x="2098" y="1329"/>
                </a:lnTo>
                <a:lnTo>
                  <a:pt x="2099" y="1319"/>
                </a:lnTo>
                <a:lnTo>
                  <a:pt x="2100" y="1314"/>
                </a:lnTo>
                <a:lnTo>
                  <a:pt x="2099" y="1309"/>
                </a:lnTo>
                <a:lnTo>
                  <a:pt x="2098" y="1305"/>
                </a:lnTo>
                <a:lnTo>
                  <a:pt x="2094" y="1301"/>
                </a:lnTo>
                <a:lnTo>
                  <a:pt x="2078" y="1284"/>
                </a:lnTo>
                <a:lnTo>
                  <a:pt x="2067" y="1272"/>
                </a:lnTo>
                <a:lnTo>
                  <a:pt x="2064" y="1271"/>
                </a:lnTo>
                <a:lnTo>
                  <a:pt x="2063" y="1269"/>
                </a:lnTo>
                <a:lnTo>
                  <a:pt x="2062" y="1266"/>
                </a:lnTo>
                <a:lnTo>
                  <a:pt x="2063" y="1263"/>
                </a:lnTo>
                <a:lnTo>
                  <a:pt x="2064" y="1258"/>
                </a:lnTo>
                <a:lnTo>
                  <a:pt x="2069" y="1252"/>
                </a:lnTo>
                <a:lnTo>
                  <a:pt x="2070" y="1249"/>
                </a:lnTo>
                <a:lnTo>
                  <a:pt x="2070" y="1242"/>
                </a:lnTo>
                <a:lnTo>
                  <a:pt x="2068" y="1235"/>
                </a:lnTo>
                <a:lnTo>
                  <a:pt x="2064" y="1229"/>
                </a:lnTo>
                <a:lnTo>
                  <a:pt x="2060" y="1221"/>
                </a:lnTo>
                <a:lnTo>
                  <a:pt x="2055" y="1215"/>
                </a:lnTo>
                <a:lnTo>
                  <a:pt x="2052" y="1213"/>
                </a:lnTo>
                <a:lnTo>
                  <a:pt x="2049" y="1211"/>
                </a:lnTo>
                <a:lnTo>
                  <a:pt x="2047" y="1210"/>
                </a:lnTo>
                <a:lnTo>
                  <a:pt x="2042" y="1209"/>
                </a:lnTo>
                <a:lnTo>
                  <a:pt x="2025" y="1209"/>
                </a:lnTo>
                <a:lnTo>
                  <a:pt x="2004" y="1209"/>
                </a:lnTo>
                <a:lnTo>
                  <a:pt x="1993" y="1209"/>
                </a:lnTo>
                <a:lnTo>
                  <a:pt x="1986" y="1211"/>
                </a:lnTo>
                <a:lnTo>
                  <a:pt x="1983" y="1211"/>
                </a:lnTo>
                <a:lnTo>
                  <a:pt x="1981" y="1212"/>
                </a:lnTo>
                <a:lnTo>
                  <a:pt x="1980" y="1214"/>
                </a:lnTo>
                <a:lnTo>
                  <a:pt x="1980" y="1215"/>
                </a:lnTo>
                <a:lnTo>
                  <a:pt x="1984" y="1219"/>
                </a:lnTo>
                <a:lnTo>
                  <a:pt x="1990" y="1226"/>
                </a:lnTo>
                <a:lnTo>
                  <a:pt x="1998" y="1232"/>
                </a:lnTo>
                <a:lnTo>
                  <a:pt x="2008" y="1238"/>
                </a:lnTo>
                <a:lnTo>
                  <a:pt x="2025" y="1250"/>
                </a:lnTo>
                <a:lnTo>
                  <a:pt x="2033" y="1255"/>
                </a:lnTo>
                <a:lnTo>
                  <a:pt x="2037" y="1255"/>
                </a:lnTo>
                <a:lnTo>
                  <a:pt x="2047" y="1256"/>
                </a:lnTo>
                <a:lnTo>
                  <a:pt x="2051" y="1256"/>
                </a:lnTo>
                <a:lnTo>
                  <a:pt x="2054" y="1258"/>
                </a:lnTo>
                <a:lnTo>
                  <a:pt x="2056" y="1259"/>
                </a:lnTo>
                <a:lnTo>
                  <a:pt x="2056" y="1260"/>
                </a:lnTo>
                <a:lnTo>
                  <a:pt x="2056" y="1261"/>
                </a:lnTo>
                <a:lnTo>
                  <a:pt x="2056" y="1262"/>
                </a:lnTo>
                <a:lnTo>
                  <a:pt x="2050" y="1269"/>
                </a:lnTo>
                <a:lnTo>
                  <a:pt x="2042" y="1275"/>
                </a:lnTo>
                <a:lnTo>
                  <a:pt x="2039" y="1278"/>
                </a:lnTo>
                <a:lnTo>
                  <a:pt x="2036" y="1282"/>
                </a:lnTo>
                <a:lnTo>
                  <a:pt x="2033" y="1286"/>
                </a:lnTo>
                <a:lnTo>
                  <a:pt x="2032" y="1292"/>
                </a:lnTo>
                <a:lnTo>
                  <a:pt x="2030" y="1304"/>
                </a:lnTo>
                <a:lnTo>
                  <a:pt x="2027" y="1318"/>
                </a:lnTo>
                <a:lnTo>
                  <a:pt x="2024" y="1322"/>
                </a:lnTo>
                <a:lnTo>
                  <a:pt x="2020" y="1325"/>
                </a:lnTo>
                <a:lnTo>
                  <a:pt x="2018" y="1325"/>
                </a:lnTo>
                <a:lnTo>
                  <a:pt x="2016" y="1325"/>
                </a:lnTo>
                <a:lnTo>
                  <a:pt x="2014" y="1323"/>
                </a:lnTo>
                <a:lnTo>
                  <a:pt x="2011" y="1321"/>
                </a:lnTo>
                <a:lnTo>
                  <a:pt x="2003" y="1309"/>
                </a:lnTo>
                <a:lnTo>
                  <a:pt x="1996" y="1300"/>
                </a:lnTo>
                <a:lnTo>
                  <a:pt x="1994" y="1297"/>
                </a:lnTo>
                <a:lnTo>
                  <a:pt x="1993" y="1296"/>
                </a:lnTo>
                <a:lnTo>
                  <a:pt x="1991" y="1298"/>
                </a:lnTo>
                <a:lnTo>
                  <a:pt x="1990" y="1302"/>
                </a:lnTo>
                <a:lnTo>
                  <a:pt x="1988" y="1307"/>
                </a:lnTo>
                <a:lnTo>
                  <a:pt x="1985" y="1314"/>
                </a:lnTo>
                <a:lnTo>
                  <a:pt x="1982" y="1320"/>
                </a:lnTo>
                <a:lnTo>
                  <a:pt x="1979" y="1324"/>
                </a:lnTo>
                <a:lnTo>
                  <a:pt x="1975" y="1328"/>
                </a:lnTo>
                <a:lnTo>
                  <a:pt x="1972" y="1330"/>
                </a:lnTo>
                <a:lnTo>
                  <a:pt x="1971" y="1330"/>
                </a:lnTo>
                <a:lnTo>
                  <a:pt x="1970" y="1330"/>
                </a:lnTo>
                <a:lnTo>
                  <a:pt x="1969" y="1330"/>
                </a:lnTo>
                <a:lnTo>
                  <a:pt x="1969" y="1328"/>
                </a:lnTo>
                <a:lnTo>
                  <a:pt x="1970" y="1317"/>
                </a:lnTo>
                <a:lnTo>
                  <a:pt x="1974" y="1300"/>
                </a:lnTo>
                <a:lnTo>
                  <a:pt x="1976" y="1292"/>
                </a:lnTo>
                <a:lnTo>
                  <a:pt x="1978" y="1283"/>
                </a:lnTo>
                <a:lnTo>
                  <a:pt x="1978" y="1276"/>
                </a:lnTo>
                <a:lnTo>
                  <a:pt x="1976" y="1271"/>
                </a:lnTo>
                <a:lnTo>
                  <a:pt x="1970" y="1254"/>
                </a:lnTo>
                <a:lnTo>
                  <a:pt x="1964" y="1230"/>
                </a:lnTo>
                <a:lnTo>
                  <a:pt x="1960" y="1217"/>
                </a:lnTo>
                <a:lnTo>
                  <a:pt x="1957" y="1207"/>
                </a:lnTo>
                <a:lnTo>
                  <a:pt x="1953" y="1198"/>
                </a:lnTo>
                <a:lnTo>
                  <a:pt x="1951" y="1195"/>
                </a:lnTo>
                <a:lnTo>
                  <a:pt x="1946" y="1197"/>
                </a:lnTo>
                <a:lnTo>
                  <a:pt x="1936" y="1205"/>
                </a:lnTo>
                <a:lnTo>
                  <a:pt x="1922" y="1215"/>
                </a:lnTo>
                <a:lnTo>
                  <a:pt x="1907" y="1228"/>
                </a:lnTo>
                <a:lnTo>
                  <a:pt x="1894" y="1241"/>
                </a:lnTo>
                <a:lnTo>
                  <a:pt x="1882" y="1254"/>
                </a:lnTo>
                <a:lnTo>
                  <a:pt x="1878" y="1259"/>
                </a:lnTo>
                <a:lnTo>
                  <a:pt x="1875" y="1264"/>
                </a:lnTo>
                <a:lnTo>
                  <a:pt x="1874" y="1269"/>
                </a:lnTo>
                <a:lnTo>
                  <a:pt x="1874" y="1271"/>
                </a:lnTo>
                <a:lnTo>
                  <a:pt x="1882" y="1282"/>
                </a:lnTo>
                <a:lnTo>
                  <a:pt x="1891" y="1294"/>
                </a:lnTo>
                <a:lnTo>
                  <a:pt x="1894" y="1299"/>
                </a:lnTo>
                <a:lnTo>
                  <a:pt x="1896" y="1304"/>
                </a:lnTo>
                <a:lnTo>
                  <a:pt x="1897" y="1308"/>
                </a:lnTo>
                <a:lnTo>
                  <a:pt x="1897" y="1311"/>
                </a:lnTo>
                <a:lnTo>
                  <a:pt x="1893" y="1316"/>
                </a:lnTo>
                <a:lnTo>
                  <a:pt x="1888" y="1321"/>
                </a:lnTo>
                <a:lnTo>
                  <a:pt x="1887" y="1322"/>
                </a:lnTo>
                <a:lnTo>
                  <a:pt x="1886" y="1324"/>
                </a:lnTo>
                <a:lnTo>
                  <a:pt x="1885" y="1326"/>
                </a:lnTo>
                <a:lnTo>
                  <a:pt x="1886" y="1329"/>
                </a:lnTo>
                <a:lnTo>
                  <a:pt x="1888" y="1335"/>
                </a:lnTo>
                <a:lnTo>
                  <a:pt x="1892" y="1342"/>
                </a:lnTo>
                <a:lnTo>
                  <a:pt x="1894" y="1349"/>
                </a:lnTo>
                <a:lnTo>
                  <a:pt x="1894" y="1357"/>
                </a:lnTo>
                <a:lnTo>
                  <a:pt x="1894" y="1367"/>
                </a:lnTo>
                <a:lnTo>
                  <a:pt x="1892" y="1380"/>
                </a:lnTo>
                <a:lnTo>
                  <a:pt x="1891" y="1391"/>
                </a:lnTo>
                <a:lnTo>
                  <a:pt x="1888" y="1395"/>
                </a:lnTo>
                <a:lnTo>
                  <a:pt x="1883" y="1392"/>
                </a:lnTo>
                <a:lnTo>
                  <a:pt x="1874" y="1387"/>
                </a:lnTo>
                <a:lnTo>
                  <a:pt x="1870" y="1384"/>
                </a:lnTo>
                <a:lnTo>
                  <a:pt x="1865" y="1379"/>
                </a:lnTo>
                <a:lnTo>
                  <a:pt x="1862" y="1374"/>
                </a:lnTo>
                <a:lnTo>
                  <a:pt x="1861" y="1369"/>
                </a:lnTo>
                <a:lnTo>
                  <a:pt x="1860" y="1362"/>
                </a:lnTo>
                <a:lnTo>
                  <a:pt x="1857" y="1354"/>
                </a:lnTo>
                <a:lnTo>
                  <a:pt x="1854" y="1345"/>
                </a:lnTo>
                <a:lnTo>
                  <a:pt x="1851" y="1336"/>
                </a:lnTo>
                <a:lnTo>
                  <a:pt x="1843" y="1318"/>
                </a:lnTo>
                <a:lnTo>
                  <a:pt x="1839" y="1306"/>
                </a:lnTo>
                <a:lnTo>
                  <a:pt x="1838" y="1302"/>
                </a:lnTo>
                <a:lnTo>
                  <a:pt x="1839" y="1299"/>
                </a:lnTo>
                <a:lnTo>
                  <a:pt x="1840" y="1297"/>
                </a:lnTo>
                <a:lnTo>
                  <a:pt x="1842" y="1295"/>
                </a:lnTo>
                <a:lnTo>
                  <a:pt x="1847" y="1291"/>
                </a:lnTo>
                <a:lnTo>
                  <a:pt x="1848" y="1287"/>
                </a:lnTo>
                <a:lnTo>
                  <a:pt x="1845" y="1283"/>
                </a:lnTo>
                <a:lnTo>
                  <a:pt x="1840" y="1277"/>
                </a:lnTo>
                <a:lnTo>
                  <a:pt x="1838" y="1273"/>
                </a:lnTo>
                <a:lnTo>
                  <a:pt x="1836" y="1269"/>
                </a:lnTo>
                <a:lnTo>
                  <a:pt x="1836" y="1265"/>
                </a:lnTo>
                <a:lnTo>
                  <a:pt x="1838" y="1262"/>
                </a:lnTo>
                <a:lnTo>
                  <a:pt x="1851" y="1248"/>
                </a:lnTo>
                <a:lnTo>
                  <a:pt x="1869" y="1223"/>
                </a:lnTo>
                <a:lnTo>
                  <a:pt x="1878" y="1211"/>
                </a:lnTo>
                <a:lnTo>
                  <a:pt x="1884" y="1200"/>
                </a:lnTo>
                <a:lnTo>
                  <a:pt x="1886" y="1195"/>
                </a:lnTo>
                <a:lnTo>
                  <a:pt x="1888" y="1192"/>
                </a:lnTo>
                <a:lnTo>
                  <a:pt x="1888" y="1189"/>
                </a:lnTo>
                <a:lnTo>
                  <a:pt x="1888" y="1188"/>
                </a:lnTo>
                <a:lnTo>
                  <a:pt x="1882" y="1187"/>
                </a:lnTo>
                <a:lnTo>
                  <a:pt x="1873" y="1188"/>
                </a:lnTo>
                <a:lnTo>
                  <a:pt x="1859" y="1189"/>
                </a:lnTo>
                <a:lnTo>
                  <a:pt x="1844" y="1192"/>
                </a:lnTo>
                <a:lnTo>
                  <a:pt x="1830" y="1195"/>
                </a:lnTo>
                <a:lnTo>
                  <a:pt x="1817" y="1199"/>
                </a:lnTo>
                <a:lnTo>
                  <a:pt x="1812" y="1203"/>
                </a:lnTo>
                <a:lnTo>
                  <a:pt x="1807" y="1205"/>
                </a:lnTo>
                <a:lnTo>
                  <a:pt x="1804" y="1208"/>
                </a:lnTo>
                <a:lnTo>
                  <a:pt x="1801" y="1210"/>
                </a:lnTo>
                <a:lnTo>
                  <a:pt x="1794" y="1227"/>
                </a:lnTo>
                <a:lnTo>
                  <a:pt x="1782" y="1250"/>
                </a:lnTo>
                <a:lnTo>
                  <a:pt x="1776" y="1262"/>
                </a:lnTo>
                <a:lnTo>
                  <a:pt x="1771" y="1275"/>
                </a:lnTo>
                <a:lnTo>
                  <a:pt x="1767" y="1287"/>
                </a:lnTo>
                <a:lnTo>
                  <a:pt x="1766" y="1299"/>
                </a:lnTo>
                <a:lnTo>
                  <a:pt x="1767" y="1322"/>
                </a:lnTo>
                <a:lnTo>
                  <a:pt x="1768" y="1343"/>
                </a:lnTo>
                <a:lnTo>
                  <a:pt x="1770" y="1352"/>
                </a:lnTo>
                <a:lnTo>
                  <a:pt x="1772" y="1360"/>
                </a:lnTo>
                <a:lnTo>
                  <a:pt x="1775" y="1366"/>
                </a:lnTo>
                <a:lnTo>
                  <a:pt x="1779" y="1370"/>
                </a:lnTo>
                <a:lnTo>
                  <a:pt x="1786" y="1373"/>
                </a:lnTo>
                <a:lnTo>
                  <a:pt x="1794" y="1375"/>
                </a:lnTo>
                <a:lnTo>
                  <a:pt x="1805" y="1379"/>
                </a:lnTo>
                <a:lnTo>
                  <a:pt x="1815" y="1381"/>
                </a:lnTo>
                <a:lnTo>
                  <a:pt x="1823" y="1383"/>
                </a:lnTo>
                <a:lnTo>
                  <a:pt x="1830" y="1385"/>
                </a:lnTo>
                <a:lnTo>
                  <a:pt x="1832" y="1386"/>
                </a:lnTo>
                <a:lnTo>
                  <a:pt x="1833" y="1387"/>
                </a:lnTo>
                <a:lnTo>
                  <a:pt x="1833" y="1389"/>
                </a:lnTo>
                <a:lnTo>
                  <a:pt x="1831" y="1390"/>
                </a:lnTo>
                <a:lnTo>
                  <a:pt x="1816" y="1394"/>
                </a:lnTo>
                <a:lnTo>
                  <a:pt x="1797" y="1398"/>
                </a:lnTo>
                <a:lnTo>
                  <a:pt x="1789" y="1401"/>
                </a:lnTo>
                <a:lnTo>
                  <a:pt x="1783" y="1403"/>
                </a:lnTo>
                <a:lnTo>
                  <a:pt x="1782" y="1403"/>
                </a:lnTo>
                <a:lnTo>
                  <a:pt x="1781" y="1404"/>
                </a:lnTo>
                <a:lnTo>
                  <a:pt x="1781" y="1405"/>
                </a:lnTo>
                <a:lnTo>
                  <a:pt x="1782" y="1406"/>
                </a:lnTo>
                <a:lnTo>
                  <a:pt x="1800" y="1418"/>
                </a:lnTo>
                <a:lnTo>
                  <a:pt x="1834" y="1438"/>
                </a:lnTo>
                <a:lnTo>
                  <a:pt x="1864" y="1458"/>
                </a:lnTo>
                <a:lnTo>
                  <a:pt x="1878" y="1468"/>
                </a:lnTo>
                <a:lnTo>
                  <a:pt x="1877" y="1474"/>
                </a:lnTo>
                <a:lnTo>
                  <a:pt x="1876" y="1489"/>
                </a:lnTo>
                <a:lnTo>
                  <a:pt x="1875" y="1497"/>
                </a:lnTo>
                <a:lnTo>
                  <a:pt x="1875" y="1504"/>
                </a:lnTo>
                <a:lnTo>
                  <a:pt x="1876" y="1511"/>
                </a:lnTo>
                <a:lnTo>
                  <a:pt x="1877" y="1514"/>
                </a:lnTo>
                <a:lnTo>
                  <a:pt x="1881" y="1517"/>
                </a:lnTo>
                <a:lnTo>
                  <a:pt x="1886" y="1520"/>
                </a:lnTo>
                <a:lnTo>
                  <a:pt x="1888" y="1521"/>
                </a:lnTo>
                <a:lnTo>
                  <a:pt x="1889" y="1523"/>
                </a:lnTo>
                <a:lnTo>
                  <a:pt x="1891" y="1524"/>
                </a:lnTo>
                <a:lnTo>
                  <a:pt x="1891" y="1527"/>
                </a:lnTo>
                <a:lnTo>
                  <a:pt x="1888" y="1529"/>
                </a:lnTo>
                <a:lnTo>
                  <a:pt x="1885" y="1531"/>
                </a:lnTo>
                <a:lnTo>
                  <a:pt x="1881" y="1534"/>
                </a:lnTo>
                <a:lnTo>
                  <a:pt x="1876" y="1536"/>
                </a:lnTo>
                <a:lnTo>
                  <a:pt x="1872" y="1538"/>
                </a:lnTo>
                <a:lnTo>
                  <a:pt x="1866" y="1540"/>
                </a:lnTo>
                <a:lnTo>
                  <a:pt x="1863" y="1544"/>
                </a:lnTo>
                <a:lnTo>
                  <a:pt x="1861" y="1548"/>
                </a:lnTo>
                <a:lnTo>
                  <a:pt x="1859" y="1558"/>
                </a:lnTo>
                <a:lnTo>
                  <a:pt x="1859" y="1568"/>
                </a:lnTo>
                <a:lnTo>
                  <a:pt x="1859" y="1573"/>
                </a:lnTo>
                <a:lnTo>
                  <a:pt x="1858" y="1579"/>
                </a:lnTo>
                <a:lnTo>
                  <a:pt x="1856" y="1583"/>
                </a:lnTo>
                <a:lnTo>
                  <a:pt x="1853" y="1588"/>
                </a:lnTo>
                <a:lnTo>
                  <a:pt x="1843" y="1605"/>
                </a:lnTo>
                <a:lnTo>
                  <a:pt x="1836" y="1616"/>
                </a:lnTo>
                <a:lnTo>
                  <a:pt x="1835" y="1617"/>
                </a:lnTo>
                <a:lnTo>
                  <a:pt x="1833" y="1616"/>
                </a:lnTo>
                <a:lnTo>
                  <a:pt x="1831" y="1615"/>
                </a:lnTo>
                <a:lnTo>
                  <a:pt x="1828" y="1613"/>
                </a:lnTo>
                <a:lnTo>
                  <a:pt x="1822" y="1607"/>
                </a:lnTo>
                <a:lnTo>
                  <a:pt x="1817" y="1600"/>
                </a:lnTo>
                <a:lnTo>
                  <a:pt x="1812" y="1591"/>
                </a:lnTo>
                <a:lnTo>
                  <a:pt x="1809" y="1583"/>
                </a:lnTo>
                <a:lnTo>
                  <a:pt x="1809" y="1579"/>
                </a:lnTo>
                <a:lnTo>
                  <a:pt x="1808" y="1574"/>
                </a:lnTo>
                <a:lnTo>
                  <a:pt x="1809" y="1571"/>
                </a:lnTo>
                <a:lnTo>
                  <a:pt x="1810" y="1568"/>
                </a:lnTo>
                <a:lnTo>
                  <a:pt x="1816" y="1557"/>
                </a:lnTo>
                <a:lnTo>
                  <a:pt x="1820" y="1545"/>
                </a:lnTo>
                <a:lnTo>
                  <a:pt x="1821" y="1535"/>
                </a:lnTo>
                <a:lnTo>
                  <a:pt x="1821" y="1525"/>
                </a:lnTo>
                <a:lnTo>
                  <a:pt x="1819" y="1521"/>
                </a:lnTo>
                <a:lnTo>
                  <a:pt x="1815" y="1516"/>
                </a:lnTo>
                <a:lnTo>
                  <a:pt x="1809" y="1512"/>
                </a:lnTo>
                <a:lnTo>
                  <a:pt x="1801" y="1508"/>
                </a:lnTo>
                <a:lnTo>
                  <a:pt x="1794" y="1505"/>
                </a:lnTo>
                <a:lnTo>
                  <a:pt x="1788" y="1503"/>
                </a:lnTo>
                <a:lnTo>
                  <a:pt x="1784" y="1502"/>
                </a:lnTo>
                <a:lnTo>
                  <a:pt x="1782" y="1503"/>
                </a:lnTo>
                <a:lnTo>
                  <a:pt x="1779" y="1514"/>
                </a:lnTo>
                <a:lnTo>
                  <a:pt x="1778" y="1536"/>
                </a:lnTo>
                <a:lnTo>
                  <a:pt x="1777" y="1546"/>
                </a:lnTo>
                <a:lnTo>
                  <a:pt x="1776" y="1556"/>
                </a:lnTo>
                <a:lnTo>
                  <a:pt x="1774" y="1559"/>
                </a:lnTo>
                <a:lnTo>
                  <a:pt x="1773" y="1561"/>
                </a:lnTo>
                <a:lnTo>
                  <a:pt x="1772" y="1562"/>
                </a:lnTo>
                <a:lnTo>
                  <a:pt x="1770" y="1562"/>
                </a:lnTo>
                <a:lnTo>
                  <a:pt x="1763" y="1559"/>
                </a:lnTo>
                <a:lnTo>
                  <a:pt x="1757" y="1557"/>
                </a:lnTo>
                <a:lnTo>
                  <a:pt x="1756" y="1555"/>
                </a:lnTo>
                <a:lnTo>
                  <a:pt x="1755" y="1552"/>
                </a:lnTo>
                <a:lnTo>
                  <a:pt x="1755" y="1548"/>
                </a:lnTo>
                <a:lnTo>
                  <a:pt x="1755" y="1543"/>
                </a:lnTo>
                <a:lnTo>
                  <a:pt x="1757" y="1528"/>
                </a:lnTo>
                <a:lnTo>
                  <a:pt x="1760" y="1515"/>
                </a:lnTo>
                <a:lnTo>
                  <a:pt x="1760" y="1507"/>
                </a:lnTo>
                <a:lnTo>
                  <a:pt x="1759" y="1501"/>
                </a:lnTo>
                <a:lnTo>
                  <a:pt x="1756" y="1496"/>
                </a:lnTo>
                <a:lnTo>
                  <a:pt x="1753" y="1492"/>
                </a:lnTo>
                <a:lnTo>
                  <a:pt x="1748" y="1487"/>
                </a:lnTo>
                <a:lnTo>
                  <a:pt x="1741" y="1485"/>
                </a:lnTo>
                <a:lnTo>
                  <a:pt x="1732" y="1482"/>
                </a:lnTo>
                <a:lnTo>
                  <a:pt x="1724" y="1480"/>
                </a:lnTo>
                <a:lnTo>
                  <a:pt x="1717" y="1477"/>
                </a:lnTo>
                <a:lnTo>
                  <a:pt x="1711" y="1473"/>
                </a:lnTo>
                <a:lnTo>
                  <a:pt x="1710" y="1471"/>
                </a:lnTo>
                <a:lnTo>
                  <a:pt x="1709" y="1468"/>
                </a:lnTo>
                <a:lnTo>
                  <a:pt x="1709" y="1464"/>
                </a:lnTo>
                <a:lnTo>
                  <a:pt x="1710" y="1461"/>
                </a:lnTo>
                <a:lnTo>
                  <a:pt x="1716" y="1448"/>
                </a:lnTo>
                <a:lnTo>
                  <a:pt x="1719" y="1438"/>
                </a:lnTo>
                <a:lnTo>
                  <a:pt x="1720" y="1434"/>
                </a:lnTo>
                <a:lnTo>
                  <a:pt x="1720" y="1430"/>
                </a:lnTo>
                <a:lnTo>
                  <a:pt x="1720" y="1427"/>
                </a:lnTo>
                <a:lnTo>
                  <a:pt x="1719" y="1424"/>
                </a:lnTo>
                <a:lnTo>
                  <a:pt x="1707" y="1410"/>
                </a:lnTo>
                <a:lnTo>
                  <a:pt x="1687" y="1385"/>
                </a:lnTo>
                <a:lnTo>
                  <a:pt x="1683" y="1377"/>
                </a:lnTo>
                <a:lnTo>
                  <a:pt x="1679" y="1370"/>
                </a:lnTo>
                <a:lnTo>
                  <a:pt x="1676" y="1363"/>
                </a:lnTo>
                <a:lnTo>
                  <a:pt x="1674" y="1355"/>
                </a:lnTo>
                <a:lnTo>
                  <a:pt x="1672" y="1349"/>
                </a:lnTo>
                <a:lnTo>
                  <a:pt x="1672" y="1342"/>
                </a:lnTo>
                <a:lnTo>
                  <a:pt x="1673" y="1336"/>
                </a:lnTo>
                <a:lnTo>
                  <a:pt x="1676" y="1330"/>
                </a:lnTo>
                <a:lnTo>
                  <a:pt x="1689" y="1314"/>
                </a:lnTo>
                <a:lnTo>
                  <a:pt x="1698" y="1305"/>
                </a:lnTo>
                <a:lnTo>
                  <a:pt x="1700" y="1302"/>
                </a:lnTo>
                <a:lnTo>
                  <a:pt x="1701" y="1299"/>
                </a:lnTo>
                <a:lnTo>
                  <a:pt x="1700" y="1295"/>
                </a:lnTo>
                <a:lnTo>
                  <a:pt x="1697" y="1291"/>
                </a:lnTo>
                <a:lnTo>
                  <a:pt x="1690" y="1285"/>
                </a:lnTo>
                <a:lnTo>
                  <a:pt x="1684" y="1281"/>
                </a:lnTo>
                <a:lnTo>
                  <a:pt x="1676" y="1277"/>
                </a:lnTo>
                <a:lnTo>
                  <a:pt x="1669" y="1274"/>
                </a:lnTo>
                <a:lnTo>
                  <a:pt x="1667" y="1272"/>
                </a:lnTo>
                <a:lnTo>
                  <a:pt x="1665" y="1271"/>
                </a:lnTo>
                <a:lnTo>
                  <a:pt x="1665" y="1269"/>
                </a:lnTo>
                <a:lnTo>
                  <a:pt x="1665" y="1267"/>
                </a:lnTo>
                <a:lnTo>
                  <a:pt x="1667" y="1265"/>
                </a:lnTo>
                <a:lnTo>
                  <a:pt x="1669" y="1264"/>
                </a:lnTo>
                <a:lnTo>
                  <a:pt x="1675" y="1263"/>
                </a:lnTo>
                <a:lnTo>
                  <a:pt x="1681" y="1261"/>
                </a:lnTo>
                <a:lnTo>
                  <a:pt x="1694" y="1259"/>
                </a:lnTo>
                <a:lnTo>
                  <a:pt x="1702" y="1259"/>
                </a:lnTo>
                <a:lnTo>
                  <a:pt x="1706" y="1259"/>
                </a:lnTo>
                <a:lnTo>
                  <a:pt x="1709" y="1261"/>
                </a:lnTo>
                <a:lnTo>
                  <a:pt x="1713" y="1267"/>
                </a:lnTo>
                <a:lnTo>
                  <a:pt x="1720" y="1275"/>
                </a:lnTo>
                <a:lnTo>
                  <a:pt x="1723" y="1276"/>
                </a:lnTo>
                <a:lnTo>
                  <a:pt x="1725" y="1277"/>
                </a:lnTo>
                <a:lnTo>
                  <a:pt x="1727" y="1277"/>
                </a:lnTo>
                <a:lnTo>
                  <a:pt x="1729" y="1276"/>
                </a:lnTo>
                <a:lnTo>
                  <a:pt x="1731" y="1274"/>
                </a:lnTo>
                <a:lnTo>
                  <a:pt x="1734" y="1270"/>
                </a:lnTo>
                <a:lnTo>
                  <a:pt x="1737" y="1259"/>
                </a:lnTo>
                <a:lnTo>
                  <a:pt x="1738" y="1251"/>
                </a:lnTo>
                <a:lnTo>
                  <a:pt x="1740" y="1241"/>
                </a:lnTo>
                <a:lnTo>
                  <a:pt x="1744" y="1225"/>
                </a:lnTo>
                <a:lnTo>
                  <a:pt x="1747" y="1216"/>
                </a:lnTo>
                <a:lnTo>
                  <a:pt x="1749" y="1209"/>
                </a:lnTo>
                <a:lnTo>
                  <a:pt x="1752" y="1203"/>
                </a:lnTo>
                <a:lnTo>
                  <a:pt x="1754" y="1199"/>
                </a:lnTo>
                <a:lnTo>
                  <a:pt x="1763" y="1193"/>
                </a:lnTo>
                <a:lnTo>
                  <a:pt x="1773" y="1185"/>
                </a:lnTo>
                <a:lnTo>
                  <a:pt x="1777" y="1179"/>
                </a:lnTo>
                <a:lnTo>
                  <a:pt x="1779" y="1175"/>
                </a:lnTo>
                <a:lnTo>
                  <a:pt x="1781" y="1172"/>
                </a:lnTo>
                <a:lnTo>
                  <a:pt x="1781" y="1170"/>
                </a:lnTo>
                <a:lnTo>
                  <a:pt x="1779" y="1167"/>
                </a:lnTo>
                <a:lnTo>
                  <a:pt x="1777" y="1165"/>
                </a:lnTo>
                <a:lnTo>
                  <a:pt x="1775" y="1163"/>
                </a:lnTo>
                <a:lnTo>
                  <a:pt x="1772" y="1162"/>
                </a:lnTo>
                <a:lnTo>
                  <a:pt x="1769" y="1161"/>
                </a:lnTo>
                <a:lnTo>
                  <a:pt x="1766" y="1161"/>
                </a:lnTo>
                <a:lnTo>
                  <a:pt x="1759" y="1161"/>
                </a:lnTo>
                <a:lnTo>
                  <a:pt x="1751" y="1162"/>
                </a:lnTo>
                <a:lnTo>
                  <a:pt x="1744" y="1164"/>
                </a:lnTo>
                <a:lnTo>
                  <a:pt x="1737" y="1165"/>
                </a:lnTo>
                <a:lnTo>
                  <a:pt x="1730" y="1165"/>
                </a:lnTo>
                <a:lnTo>
                  <a:pt x="1725" y="1164"/>
                </a:lnTo>
                <a:lnTo>
                  <a:pt x="1721" y="1163"/>
                </a:lnTo>
                <a:lnTo>
                  <a:pt x="1717" y="1162"/>
                </a:lnTo>
                <a:lnTo>
                  <a:pt x="1712" y="1162"/>
                </a:lnTo>
                <a:lnTo>
                  <a:pt x="1708" y="1162"/>
                </a:lnTo>
                <a:lnTo>
                  <a:pt x="1702" y="1163"/>
                </a:lnTo>
                <a:lnTo>
                  <a:pt x="1697" y="1165"/>
                </a:lnTo>
                <a:lnTo>
                  <a:pt x="1687" y="1169"/>
                </a:lnTo>
                <a:lnTo>
                  <a:pt x="1673" y="1175"/>
                </a:lnTo>
                <a:lnTo>
                  <a:pt x="1665" y="1179"/>
                </a:lnTo>
                <a:lnTo>
                  <a:pt x="1660" y="1184"/>
                </a:lnTo>
                <a:lnTo>
                  <a:pt x="1657" y="1186"/>
                </a:lnTo>
                <a:lnTo>
                  <a:pt x="1655" y="1188"/>
                </a:lnTo>
                <a:lnTo>
                  <a:pt x="1654" y="1191"/>
                </a:lnTo>
                <a:lnTo>
                  <a:pt x="1653" y="1193"/>
                </a:lnTo>
                <a:lnTo>
                  <a:pt x="1654" y="1197"/>
                </a:lnTo>
                <a:lnTo>
                  <a:pt x="1655" y="1200"/>
                </a:lnTo>
                <a:lnTo>
                  <a:pt x="1656" y="1204"/>
                </a:lnTo>
                <a:lnTo>
                  <a:pt x="1658" y="1206"/>
                </a:lnTo>
                <a:lnTo>
                  <a:pt x="1660" y="1209"/>
                </a:lnTo>
                <a:lnTo>
                  <a:pt x="1661" y="1213"/>
                </a:lnTo>
                <a:lnTo>
                  <a:pt x="1661" y="1217"/>
                </a:lnTo>
                <a:lnTo>
                  <a:pt x="1661" y="1222"/>
                </a:lnTo>
                <a:lnTo>
                  <a:pt x="1659" y="1236"/>
                </a:lnTo>
                <a:lnTo>
                  <a:pt x="1657" y="1251"/>
                </a:lnTo>
                <a:lnTo>
                  <a:pt x="1656" y="1262"/>
                </a:lnTo>
                <a:lnTo>
                  <a:pt x="1655" y="1271"/>
                </a:lnTo>
                <a:lnTo>
                  <a:pt x="1657" y="1279"/>
                </a:lnTo>
                <a:lnTo>
                  <a:pt x="1662" y="1289"/>
                </a:lnTo>
                <a:lnTo>
                  <a:pt x="1663" y="1296"/>
                </a:lnTo>
                <a:lnTo>
                  <a:pt x="1665" y="1302"/>
                </a:lnTo>
                <a:lnTo>
                  <a:pt x="1665" y="1308"/>
                </a:lnTo>
                <a:lnTo>
                  <a:pt x="1664" y="1315"/>
                </a:lnTo>
                <a:lnTo>
                  <a:pt x="1660" y="1327"/>
                </a:lnTo>
                <a:lnTo>
                  <a:pt x="1654" y="1338"/>
                </a:lnTo>
                <a:lnTo>
                  <a:pt x="1649" y="1347"/>
                </a:lnTo>
                <a:lnTo>
                  <a:pt x="1645" y="1353"/>
                </a:lnTo>
                <a:lnTo>
                  <a:pt x="1642" y="1357"/>
                </a:lnTo>
                <a:lnTo>
                  <a:pt x="1636" y="1360"/>
                </a:lnTo>
                <a:lnTo>
                  <a:pt x="1633" y="1363"/>
                </a:lnTo>
                <a:lnTo>
                  <a:pt x="1631" y="1367"/>
                </a:lnTo>
                <a:lnTo>
                  <a:pt x="1630" y="1371"/>
                </a:lnTo>
                <a:lnTo>
                  <a:pt x="1630" y="1379"/>
                </a:lnTo>
                <a:lnTo>
                  <a:pt x="1632" y="1385"/>
                </a:lnTo>
                <a:lnTo>
                  <a:pt x="1634" y="1390"/>
                </a:lnTo>
                <a:lnTo>
                  <a:pt x="1636" y="1394"/>
                </a:lnTo>
                <a:lnTo>
                  <a:pt x="1638" y="1396"/>
                </a:lnTo>
                <a:lnTo>
                  <a:pt x="1640" y="1399"/>
                </a:lnTo>
                <a:lnTo>
                  <a:pt x="1641" y="1403"/>
                </a:lnTo>
                <a:lnTo>
                  <a:pt x="1641" y="1407"/>
                </a:lnTo>
                <a:lnTo>
                  <a:pt x="1640" y="1412"/>
                </a:lnTo>
                <a:lnTo>
                  <a:pt x="1636" y="1421"/>
                </a:lnTo>
                <a:lnTo>
                  <a:pt x="1634" y="1427"/>
                </a:lnTo>
                <a:lnTo>
                  <a:pt x="1632" y="1431"/>
                </a:lnTo>
                <a:lnTo>
                  <a:pt x="1632" y="1437"/>
                </a:lnTo>
                <a:lnTo>
                  <a:pt x="1634" y="1441"/>
                </a:lnTo>
                <a:lnTo>
                  <a:pt x="1641" y="1448"/>
                </a:lnTo>
                <a:lnTo>
                  <a:pt x="1651" y="1455"/>
                </a:lnTo>
                <a:lnTo>
                  <a:pt x="1661" y="1462"/>
                </a:lnTo>
                <a:lnTo>
                  <a:pt x="1672" y="1471"/>
                </a:lnTo>
                <a:lnTo>
                  <a:pt x="1681" y="1478"/>
                </a:lnTo>
                <a:lnTo>
                  <a:pt x="1684" y="1481"/>
                </a:lnTo>
                <a:lnTo>
                  <a:pt x="1686" y="1484"/>
                </a:lnTo>
                <a:lnTo>
                  <a:pt x="1688" y="1486"/>
                </a:lnTo>
                <a:lnTo>
                  <a:pt x="1688" y="1490"/>
                </a:lnTo>
                <a:lnTo>
                  <a:pt x="1686" y="1503"/>
                </a:lnTo>
                <a:lnTo>
                  <a:pt x="1685" y="1525"/>
                </a:lnTo>
                <a:lnTo>
                  <a:pt x="1684" y="1537"/>
                </a:lnTo>
                <a:lnTo>
                  <a:pt x="1683" y="1547"/>
                </a:lnTo>
                <a:lnTo>
                  <a:pt x="1680" y="1557"/>
                </a:lnTo>
                <a:lnTo>
                  <a:pt x="1677" y="1563"/>
                </a:lnTo>
                <a:lnTo>
                  <a:pt x="1666" y="1571"/>
                </a:lnTo>
                <a:lnTo>
                  <a:pt x="1656" y="1580"/>
                </a:lnTo>
                <a:lnTo>
                  <a:pt x="1651" y="1583"/>
                </a:lnTo>
                <a:lnTo>
                  <a:pt x="1647" y="1586"/>
                </a:lnTo>
                <a:lnTo>
                  <a:pt x="1645" y="1589"/>
                </a:lnTo>
                <a:lnTo>
                  <a:pt x="1645" y="1592"/>
                </a:lnTo>
                <a:lnTo>
                  <a:pt x="1650" y="1601"/>
                </a:lnTo>
                <a:lnTo>
                  <a:pt x="1654" y="1610"/>
                </a:lnTo>
                <a:lnTo>
                  <a:pt x="1656" y="1614"/>
                </a:lnTo>
                <a:lnTo>
                  <a:pt x="1656" y="1617"/>
                </a:lnTo>
                <a:lnTo>
                  <a:pt x="1656" y="1618"/>
                </a:lnTo>
                <a:lnTo>
                  <a:pt x="1655" y="1620"/>
                </a:lnTo>
                <a:lnTo>
                  <a:pt x="1654" y="1621"/>
                </a:lnTo>
                <a:lnTo>
                  <a:pt x="1653" y="1621"/>
                </a:lnTo>
                <a:lnTo>
                  <a:pt x="1647" y="1620"/>
                </a:lnTo>
                <a:lnTo>
                  <a:pt x="1643" y="1617"/>
                </a:lnTo>
                <a:lnTo>
                  <a:pt x="1638" y="1615"/>
                </a:lnTo>
                <a:lnTo>
                  <a:pt x="1634" y="1612"/>
                </a:lnTo>
                <a:lnTo>
                  <a:pt x="1631" y="1609"/>
                </a:lnTo>
                <a:lnTo>
                  <a:pt x="1628" y="1606"/>
                </a:lnTo>
                <a:lnTo>
                  <a:pt x="1625" y="1602"/>
                </a:lnTo>
                <a:lnTo>
                  <a:pt x="1624" y="1599"/>
                </a:lnTo>
                <a:lnTo>
                  <a:pt x="1627" y="1590"/>
                </a:lnTo>
                <a:lnTo>
                  <a:pt x="1631" y="1580"/>
                </a:lnTo>
                <a:lnTo>
                  <a:pt x="1632" y="1573"/>
                </a:lnTo>
                <a:lnTo>
                  <a:pt x="1632" y="1568"/>
                </a:lnTo>
                <a:lnTo>
                  <a:pt x="1631" y="1566"/>
                </a:lnTo>
                <a:lnTo>
                  <a:pt x="1630" y="1563"/>
                </a:lnTo>
                <a:lnTo>
                  <a:pt x="1629" y="1561"/>
                </a:lnTo>
                <a:lnTo>
                  <a:pt x="1625" y="1559"/>
                </a:lnTo>
                <a:lnTo>
                  <a:pt x="1620" y="1556"/>
                </a:lnTo>
                <a:lnTo>
                  <a:pt x="1617" y="1551"/>
                </a:lnTo>
                <a:lnTo>
                  <a:pt x="1615" y="1548"/>
                </a:lnTo>
                <a:lnTo>
                  <a:pt x="1615" y="1546"/>
                </a:lnTo>
                <a:lnTo>
                  <a:pt x="1616" y="1543"/>
                </a:lnTo>
                <a:lnTo>
                  <a:pt x="1617" y="1542"/>
                </a:lnTo>
                <a:lnTo>
                  <a:pt x="1620" y="1541"/>
                </a:lnTo>
                <a:lnTo>
                  <a:pt x="1623" y="1540"/>
                </a:lnTo>
                <a:lnTo>
                  <a:pt x="1628" y="1540"/>
                </a:lnTo>
                <a:lnTo>
                  <a:pt x="1631" y="1537"/>
                </a:lnTo>
                <a:lnTo>
                  <a:pt x="1634" y="1534"/>
                </a:lnTo>
                <a:lnTo>
                  <a:pt x="1637" y="1528"/>
                </a:lnTo>
                <a:lnTo>
                  <a:pt x="1639" y="1522"/>
                </a:lnTo>
                <a:lnTo>
                  <a:pt x="1641" y="1516"/>
                </a:lnTo>
                <a:lnTo>
                  <a:pt x="1642" y="1509"/>
                </a:lnTo>
                <a:lnTo>
                  <a:pt x="1643" y="1502"/>
                </a:lnTo>
                <a:lnTo>
                  <a:pt x="1642" y="1495"/>
                </a:lnTo>
                <a:lnTo>
                  <a:pt x="1639" y="1485"/>
                </a:lnTo>
                <a:lnTo>
                  <a:pt x="1635" y="1476"/>
                </a:lnTo>
                <a:lnTo>
                  <a:pt x="1631" y="1468"/>
                </a:lnTo>
                <a:lnTo>
                  <a:pt x="1628" y="1463"/>
                </a:lnTo>
                <a:lnTo>
                  <a:pt x="1624" y="1460"/>
                </a:lnTo>
                <a:lnTo>
                  <a:pt x="1621" y="1457"/>
                </a:lnTo>
                <a:lnTo>
                  <a:pt x="1618" y="1456"/>
                </a:lnTo>
                <a:lnTo>
                  <a:pt x="1615" y="1455"/>
                </a:lnTo>
                <a:lnTo>
                  <a:pt x="1612" y="1455"/>
                </a:lnTo>
                <a:lnTo>
                  <a:pt x="1609" y="1457"/>
                </a:lnTo>
                <a:lnTo>
                  <a:pt x="1607" y="1459"/>
                </a:lnTo>
                <a:lnTo>
                  <a:pt x="1592" y="1477"/>
                </a:lnTo>
                <a:lnTo>
                  <a:pt x="1589" y="1480"/>
                </a:lnTo>
                <a:lnTo>
                  <a:pt x="1581" y="1483"/>
                </a:lnTo>
                <a:lnTo>
                  <a:pt x="1566" y="1491"/>
                </a:lnTo>
                <a:lnTo>
                  <a:pt x="1563" y="1494"/>
                </a:lnTo>
                <a:lnTo>
                  <a:pt x="1559" y="1497"/>
                </a:lnTo>
                <a:lnTo>
                  <a:pt x="1557" y="1500"/>
                </a:lnTo>
                <a:lnTo>
                  <a:pt x="1556" y="1504"/>
                </a:lnTo>
                <a:lnTo>
                  <a:pt x="1556" y="1508"/>
                </a:lnTo>
                <a:lnTo>
                  <a:pt x="1556" y="1512"/>
                </a:lnTo>
                <a:lnTo>
                  <a:pt x="1559" y="1517"/>
                </a:lnTo>
                <a:lnTo>
                  <a:pt x="1563" y="1521"/>
                </a:lnTo>
                <a:lnTo>
                  <a:pt x="1572" y="1528"/>
                </a:lnTo>
                <a:lnTo>
                  <a:pt x="1579" y="1534"/>
                </a:lnTo>
                <a:lnTo>
                  <a:pt x="1586" y="1537"/>
                </a:lnTo>
                <a:lnTo>
                  <a:pt x="1590" y="1538"/>
                </a:lnTo>
                <a:lnTo>
                  <a:pt x="1594" y="1539"/>
                </a:lnTo>
                <a:lnTo>
                  <a:pt x="1596" y="1539"/>
                </a:lnTo>
                <a:lnTo>
                  <a:pt x="1597" y="1539"/>
                </a:lnTo>
                <a:lnTo>
                  <a:pt x="1598" y="1540"/>
                </a:lnTo>
                <a:lnTo>
                  <a:pt x="1599" y="1542"/>
                </a:lnTo>
                <a:lnTo>
                  <a:pt x="1601" y="1543"/>
                </a:lnTo>
                <a:lnTo>
                  <a:pt x="1603" y="1544"/>
                </a:lnTo>
                <a:lnTo>
                  <a:pt x="1607" y="1544"/>
                </a:lnTo>
                <a:lnTo>
                  <a:pt x="1610" y="1545"/>
                </a:lnTo>
                <a:lnTo>
                  <a:pt x="1611" y="1546"/>
                </a:lnTo>
                <a:lnTo>
                  <a:pt x="1611" y="1547"/>
                </a:lnTo>
                <a:lnTo>
                  <a:pt x="1608" y="1549"/>
                </a:lnTo>
                <a:lnTo>
                  <a:pt x="1598" y="1555"/>
                </a:lnTo>
                <a:lnTo>
                  <a:pt x="1588" y="1560"/>
                </a:lnTo>
                <a:lnTo>
                  <a:pt x="1584" y="1562"/>
                </a:lnTo>
                <a:lnTo>
                  <a:pt x="1579" y="1564"/>
                </a:lnTo>
                <a:lnTo>
                  <a:pt x="1577" y="1567"/>
                </a:lnTo>
                <a:lnTo>
                  <a:pt x="1576" y="1570"/>
                </a:lnTo>
                <a:lnTo>
                  <a:pt x="1578" y="1578"/>
                </a:lnTo>
                <a:lnTo>
                  <a:pt x="1580" y="1586"/>
                </a:lnTo>
                <a:lnTo>
                  <a:pt x="1581" y="1590"/>
                </a:lnTo>
                <a:lnTo>
                  <a:pt x="1581" y="1592"/>
                </a:lnTo>
                <a:lnTo>
                  <a:pt x="1580" y="1593"/>
                </a:lnTo>
                <a:lnTo>
                  <a:pt x="1577" y="1592"/>
                </a:lnTo>
                <a:lnTo>
                  <a:pt x="1559" y="1589"/>
                </a:lnTo>
                <a:lnTo>
                  <a:pt x="1527" y="1587"/>
                </a:lnTo>
                <a:lnTo>
                  <a:pt x="1510" y="1585"/>
                </a:lnTo>
                <a:lnTo>
                  <a:pt x="1493" y="1583"/>
                </a:lnTo>
                <a:lnTo>
                  <a:pt x="1487" y="1581"/>
                </a:lnTo>
                <a:lnTo>
                  <a:pt x="1481" y="1580"/>
                </a:lnTo>
                <a:lnTo>
                  <a:pt x="1477" y="1578"/>
                </a:lnTo>
                <a:lnTo>
                  <a:pt x="1472" y="1576"/>
                </a:lnTo>
                <a:lnTo>
                  <a:pt x="1458" y="1563"/>
                </a:lnTo>
                <a:lnTo>
                  <a:pt x="1440" y="1550"/>
                </a:lnTo>
                <a:lnTo>
                  <a:pt x="1431" y="1545"/>
                </a:lnTo>
                <a:lnTo>
                  <a:pt x="1422" y="1543"/>
                </a:lnTo>
                <a:lnTo>
                  <a:pt x="1419" y="1543"/>
                </a:lnTo>
                <a:lnTo>
                  <a:pt x="1416" y="1544"/>
                </a:lnTo>
                <a:lnTo>
                  <a:pt x="1413" y="1545"/>
                </a:lnTo>
                <a:lnTo>
                  <a:pt x="1412" y="1548"/>
                </a:lnTo>
                <a:lnTo>
                  <a:pt x="1408" y="1556"/>
                </a:lnTo>
                <a:lnTo>
                  <a:pt x="1403" y="1562"/>
                </a:lnTo>
                <a:lnTo>
                  <a:pt x="1398" y="1568"/>
                </a:lnTo>
                <a:lnTo>
                  <a:pt x="1394" y="1573"/>
                </a:lnTo>
                <a:lnTo>
                  <a:pt x="1390" y="1578"/>
                </a:lnTo>
                <a:lnTo>
                  <a:pt x="1388" y="1583"/>
                </a:lnTo>
                <a:lnTo>
                  <a:pt x="1387" y="1585"/>
                </a:lnTo>
                <a:lnTo>
                  <a:pt x="1387" y="1587"/>
                </a:lnTo>
                <a:lnTo>
                  <a:pt x="1387" y="1589"/>
                </a:lnTo>
                <a:lnTo>
                  <a:pt x="1388" y="1590"/>
                </a:lnTo>
                <a:lnTo>
                  <a:pt x="1394" y="1600"/>
                </a:lnTo>
                <a:lnTo>
                  <a:pt x="1401" y="1611"/>
                </a:lnTo>
                <a:lnTo>
                  <a:pt x="1403" y="1616"/>
                </a:lnTo>
                <a:lnTo>
                  <a:pt x="1405" y="1621"/>
                </a:lnTo>
                <a:lnTo>
                  <a:pt x="1406" y="1625"/>
                </a:lnTo>
                <a:lnTo>
                  <a:pt x="1405" y="1628"/>
                </a:lnTo>
                <a:lnTo>
                  <a:pt x="1400" y="1636"/>
                </a:lnTo>
                <a:lnTo>
                  <a:pt x="1395" y="1649"/>
                </a:lnTo>
                <a:lnTo>
                  <a:pt x="1392" y="1654"/>
                </a:lnTo>
                <a:lnTo>
                  <a:pt x="1389" y="1657"/>
                </a:lnTo>
                <a:lnTo>
                  <a:pt x="1387" y="1657"/>
                </a:lnTo>
                <a:lnTo>
                  <a:pt x="1384" y="1657"/>
                </a:lnTo>
                <a:lnTo>
                  <a:pt x="1383" y="1656"/>
                </a:lnTo>
                <a:lnTo>
                  <a:pt x="1381" y="1653"/>
                </a:lnTo>
                <a:lnTo>
                  <a:pt x="1374" y="1638"/>
                </a:lnTo>
                <a:lnTo>
                  <a:pt x="1366" y="1622"/>
                </a:lnTo>
                <a:lnTo>
                  <a:pt x="1360" y="1614"/>
                </a:lnTo>
                <a:lnTo>
                  <a:pt x="1355" y="1606"/>
                </a:lnTo>
                <a:lnTo>
                  <a:pt x="1350" y="1600"/>
                </a:lnTo>
                <a:lnTo>
                  <a:pt x="1345" y="1594"/>
                </a:lnTo>
                <a:lnTo>
                  <a:pt x="1334" y="1588"/>
                </a:lnTo>
                <a:lnTo>
                  <a:pt x="1327" y="1584"/>
                </a:lnTo>
                <a:lnTo>
                  <a:pt x="1323" y="1583"/>
                </a:lnTo>
                <a:lnTo>
                  <a:pt x="1321" y="1583"/>
                </a:lnTo>
                <a:lnTo>
                  <a:pt x="1301" y="1592"/>
                </a:lnTo>
                <a:lnTo>
                  <a:pt x="1289" y="1592"/>
                </a:lnTo>
                <a:lnTo>
                  <a:pt x="1263" y="1592"/>
                </a:lnTo>
                <a:lnTo>
                  <a:pt x="1236" y="1591"/>
                </a:lnTo>
                <a:lnTo>
                  <a:pt x="1221" y="1589"/>
                </a:lnTo>
                <a:lnTo>
                  <a:pt x="1217" y="1587"/>
                </a:lnTo>
                <a:lnTo>
                  <a:pt x="1214" y="1583"/>
                </a:lnTo>
                <a:lnTo>
                  <a:pt x="1214" y="1581"/>
                </a:lnTo>
                <a:lnTo>
                  <a:pt x="1215" y="1579"/>
                </a:lnTo>
                <a:lnTo>
                  <a:pt x="1217" y="1577"/>
                </a:lnTo>
                <a:lnTo>
                  <a:pt x="1220" y="1574"/>
                </a:lnTo>
                <a:lnTo>
                  <a:pt x="1225" y="1571"/>
                </a:lnTo>
                <a:lnTo>
                  <a:pt x="1229" y="1569"/>
                </a:lnTo>
                <a:lnTo>
                  <a:pt x="1233" y="1565"/>
                </a:lnTo>
                <a:lnTo>
                  <a:pt x="1236" y="1562"/>
                </a:lnTo>
                <a:lnTo>
                  <a:pt x="1239" y="1556"/>
                </a:lnTo>
                <a:lnTo>
                  <a:pt x="1240" y="1552"/>
                </a:lnTo>
                <a:lnTo>
                  <a:pt x="1238" y="1547"/>
                </a:lnTo>
                <a:lnTo>
                  <a:pt x="1232" y="1537"/>
                </a:lnTo>
                <a:lnTo>
                  <a:pt x="1226" y="1530"/>
                </a:lnTo>
                <a:lnTo>
                  <a:pt x="1221" y="1525"/>
                </a:lnTo>
                <a:lnTo>
                  <a:pt x="1218" y="1523"/>
                </a:lnTo>
                <a:lnTo>
                  <a:pt x="1214" y="1521"/>
                </a:lnTo>
                <a:lnTo>
                  <a:pt x="1211" y="1520"/>
                </a:lnTo>
                <a:lnTo>
                  <a:pt x="1206" y="1519"/>
                </a:lnTo>
                <a:lnTo>
                  <a:pt x="1198" y="1519"/>
                </a:lnTo>
                <a:lnTo>
                  <a:pt x="1191" y="1519"/>
                </a:lnTo>
                <a:lnTo>
                  <a:pt x="1185" y="1520"/>
                </a:lnTo>
                <a:lnTo>
                  <a:pt x="1179" y="1521"/>
                </a:lnTo>
                <a:lnTo>
                  <a:pt x="1175" y="1522"/>
                </a:lnTo>
                <a:lnTo>
                  <a:pt x="1170" y="1522"/>
                </a:lnTo>
                <a:lnTo>
                  <a:pt x="1165" y="1521"/>
                </a:lnTo>
                <a:lnTo>
                  <a:pt x="1162" y="1519"/>
                </a:lnTo>
                <a:lnTo>
                  <a:pt x="1155" y="1514"/>
                </a:lnTo>
                <a:lnTo>
                  <a:pt x="1142" y="1505"/>
                </a:lnTo>
                <a:lnTo>
                  <a:pt x="1127" y="1496"/>
                </a:lnTo>
                <a:lnTo>
                  <a:pt x="1109" y="1486"/>
                </a:lnTo>
                <a:lnTo>
                  <a:pt x="1091" y="1478"/>
                </a:lnTo>
                <a:lnTo>
                  <a:pt x="1075" y="1472"/>
                </a:lnTo>
                <a:lnTo>
                  <a:pt x="1068" y="1470"/>
                </a:lnTo>
                <a:lnTo>
                  <a:pt x="1063" y="1470"/>
                </a:lnTo>
                <a:lnTo>
                  <a:pt x="1059" y="1470"/>
                </a:lnTo>
                <a:lnTo>
                  <a:pt x="1055" y="1472"/>
                </a:lnTo>
                <a:lnTo>
                  <a:pt x="1048" y="1481"/>
                </a:lnTo>
                <a:lnTo>
                  <a:pt x="1042" y="1490"/>
                </a:lnTo>
                <a:lnTo>
                  <a:pt x="1039" y="1492"/>
                </a:lnTo>
                <a:lnTo>
                  <a:pt x="1037" y="1493"/>
                </a:lnTo>
                <a:lnTo>
                  <a:pt x="1033" y="1494"/>
                </a:lnTo>
                <a:lnTo>
                  <a:pt x="1030" y="1492"/>
                </a:lnTo>
                <a:lnTo>
                  <a:pt x="1028" y="1489"/>
                </a:lnTo>
                <a:lnTo>
                  <a:pt x="1025" y="1480"/>
                </a:lnTo>
                <a:lnTo>
                  <a:pt x="1022" y="1471"/>
                </a:lnTo>
                <a:lnTo>
                  <a:pt x="1019" y="1461"/>
                </a:lnTo>
                <a:lnTo>
                  <a:pt x="1016" y="1452"/>
                </a:lnTo>
                <a:lnTo>
                  <a:pt x="1013" y="1445"/>
                </a:lnTo>
                <a:lnTo>
                  <a:pt x="1011" y="1442"/>
                </a:lnTo>
                <a:lnTo>
                  <a:pt x="1010" y="1441"/>
                </a:lnTo>
                <a:lnTo>
                  <a:pt x="1008" y="1441"/>
                </a:lnTo>
                <a:lnTo>
                  <a:pt x="1007" y="1442"/>
                </a:lnTo>
                <a:lnTo>
                  <a:pt x="1000" y="1456"/>
                </a:lnTo>
                <a:lnTo>
                  <a:pt x="992" y="1472"/>
                </a:lnTo>
                <a:lnTo>
                  <a:pt x="987" y="1479"/>
                </a:lnTo>
                <a:lnTo>
                  <a:pt x="983" y="1485"/>
                </a:lnTo>
                <a:lnTo>
                  <a:pt x="982" y="1486"/>
                </a:lnTo>
                <a:lnTo>
                  <a:pt x="980" y="1489"/>
                </a:lnTo>
                <a:lnTo>
                  <a:pt x="979" y="1489"/>
                </a:lnTo>
                <a:lnTo>
                  <a:pt x="978" y="1489"/>
                </a:lnTo>
                <a:lnTo>
                  <a:pt x="972" y="1474"/>
                </a:lnTo>
                <a:lnTo>
                  <a:pt x="959" y="1448"/>
                </a:lnTo>
                <a:lnTo>
                  <a:pt x="953" y="1434"/>
                </a:lnTo>
                <a:lnTo>
                  <a:pt x="947" y="1424"/>
                </a:lnTo>
                <a:lnTo>
                  <a:pt x="943" y="1419"/>
                </a:lnTo>
                <a:lnTo>
                  <a:pt x="940" y="1417"/>
                </a:lnTo>
                <a:lnTo>
                  <a:pt x="938" y="1416"/>
                </a:lnTo>
                <a:lnTo>
                  <a:pt x="935" y="1416"/>
                </a:lnTo>
                <a:lnTo>
                  <a:pt x="932" y="1419"/>
                </a:lnTo>
                <a:lnTo>
                  <a:pt x="929" y="1421"/>
                </a:lnTo>
                <a:lnTo>
                  <a:pt x="928" y="1425"/>
                </a:lnTo>
                <a:lnTo>
                  <a:pt x="927" y="1428"/>
                </a:lnTo>
                <a:lnTo>
                  <a:pt x="927" y="1431"/>
                </a:lnTo>
                <a:lnTo>
                  <a:pt x="927" y="1434"/>
                </a:lnTo>
                <a:lnTo>
                  <a:pt x="929" y="1437"/>
                </a:lnTo>
                <a:lnTo>
                  <a:pt x="930" y="1441"/>
                </a:lnTo>
                <a:lnTo>
                  <a:pt x="932" y="1445"/>
                </a:lnTo>
                <a:lnTo>
                  <a:pt x="934" y="1448"/>
                </a:lnTo>
                <a:lnTo>
                  <a:pt x="934" y="1451"/>
                </a:lnTo>
                <a:lnTo>
                  <a:pt x="934" y="1454"/>
                </a:lnTo>
                <a:lnTo>
                  <a:pt x="933" y="1457"/>
                </a:lnTo>
                <a:lnTo>
                  <a:pt x="930" y="1461"/>
                </a:lnTo>
                <a:lnTo>
                  <a:pt x="927" y="1464"/>
                </a:lnTo>
                <a:lnTo>
                  <a:pt x="922" y="1468"/>
                </a:lnTo>
                <a:lnTo>
                  <a:pt x="919" y="1469"/>
                </a:lnTo>
                <a:lnTo>
                  <a:pt x="916" y="1470"/>
                </a:lnTo>
                <a:lnTo>
                  <a:pt x="913" y="1469"/>
                </a:lnTo>
                <a:lnTo>
                  <a:pt x="910" y="1469"/>
                </a:lnTo>
                <a:lnTo>
                  <a:pt x="904" y="1465"/>
                </a:lnTo>
                <a:lnTo>
                  <a:pt x="897" y="1462"/>
                </a:lnTo>
                <a:lnTo>
                  <a:pt x="891" y="1459"/>
                </a:lnTo>
                <a:lnTo>
                  <a:pt x="886" y="1457"/>
                </a:lnTo>
                <a:lnTo>
                  <a:pt x="883" y="1457"/>
                </a:lnTo>
                <a:lnTo>
                  <a:pt x="881" y="1458"/>
                </a:lnTo>
                <a:lnTo>
                  <a:pt x="879" y="1460"/>
                </a:lnTo>
                <a:lnTo>
                  <a:pt x="878" y="1462"/>
                </a:lnTo>
                <a:lnTo>
                  <a:pt x="875" y="1468"/>
                </a:lnTo>
                <a:lnTo>
                  <a:pt x="873" y="1472"/>
                </a:lnTo>
                <a:lnTo>
                  <a:pt x="870" y="1475"/>
                </a:lnTo>
                <a:lnTo>
                  <a:pt x="868" y="1478"/>
                </a:lnTo>
                <a:lnTo>
                  <a:pt x="862" y="1484"/>
                </a:lnTo>
                <a:lnTo>
                  <a:pt x="854" y="1495"/>
                </a:lnTo>
                <a:lnTo>
                  <a:pt x="846" y="1511"/>
                </a:lnTo>
                <a:lnTo>
                  <a:pt x="838" y="1524"/>
                </a:lnTo>
                <a:lnTo>
                  <a:pt x="831" y="1536"/>
                </a:lnTo>
                <a:lnTo>
                  <a:pt x="829" y="1539"/>
                </a:lnTo>
                <a:lnTo>
                  <a:pt x="824" y="1538"/>
                </a:lnTo>
                <a:lnTo>
                  <a:pt x="815" y="1534"/>
                </a:lnTo>
                <a:lnTo>
                  <a:pt x="810" y="1530"/>
                </a:lnTo>
                <a:lnTo>
                  <a:pt x="806" y="1527"/>
                </a:lnTo>
                <a:lnTo>
                  <a:pt x="805" y="1526"/>
                </a:lnTo>
                <a:lnTo>
                  <a:pt x="804" y="1524"/>
                </a:lnTo>
                <a:lnTo>
                  <a:pt x="804" y="1523"/>
                </a:lnTo>
                <a:lnTo>
                  <a:pt x="804" y="1521"/>
                </a:lnTo>
                <a:lnTo>
                  <a:pt x="805" y="1517"/>
                </a:lnTo>
                <a:lnTo>
                  <a:pt x="805" y="1512"/>
                </a:lnTo>
                <a:lnTo>
                  <a:pt x="803" y="1505"/>
                </a:lnTo>
                <a:lnTo>
                  <a:pt x="801" y="1499"/>
                </a:lnTo>
                <a:lnTo>
                  <a:pt x="799" y="1494"/>
                </a:lnTo>
                <a:lnTo>
                  <a:pt x="796" y="1489"/>
                </a:lnTo>
                <a:lnTo>
                  <a:pt x="791" y="1485"/>
                </a:lnTo>
                <a:lnTo>
                  <a:pt x="787" y="1485"/>
                </a:lnTo>
                <a:lnTo>
                  <a:pt x="779" y="1485"/>
                </a:lnTo>
                <a:lnTo>
                  <a:pt x="772" y="1487"/>
                </a:lnTo>
                <a:lnTo>
                  <a:pt x="768" y="1490"/>
                </a:lnTo>
                <a:lnTo>
                  <a:pt x="766" y="1492"/>
                </a:lnTo>
                <a:lnTo>
                  <a:pt x="766" y="1497"/>
                </a:lnTo>
                <a:lnTo>
                  <a:pt x="767" y="1502"/>
                </a:lnTo>
                <a:lnTo>
                  <a:pt x="770" y="1515"/>
                </a:lnTo>
                <a:lnTo>
                  <a:pt x="773" y="1525"/>
                </a:lnTo>
                <a:lnTo>
                  <a:pt x="773" y="1529"/>
                </a:lnTo>
                <a:lnTo>
                  <a:pt x="773" y="1533"/>
                </a:lnTo>
                <a:lnTo>
                  <a:pt x="772" y="1535"/>
                </a:lnTo>
                <a:lnTo>
                  <a:pt x="770" y="1538"/>
                </a:lnTo>
                <a:lnTo>
                  <a:pt x="768" y="1539"/>
                </a:lnTo>
                <a:lnTo>
                  <a:pt x="764" y="1538"/>
                </a:lnTo>
                <a:lnTo>
                  <a:pt x="760" y="1537"/>
                </a:lnTo>
                <a:lnTo>
                  <a:pt x="756" y="1535"/>
                </a:lnTo>
                <a:lnTo>
                  <a:pt x="747" y="1531"/>
                </a:lnTo>
                <a:lnTo>
                  <a:pt x="743" y="1529"/>
                </a:lnTo>
                <a:lnTo>
                  <a:pt x="737" y="1522"/>
                </a:lnTo>
                <a:lnTo>
                  <a:pt x="719" y="1505"/>
                </a:lnTo>
                <a:lnTo>
                  <a:pt x="710" y="1497"/>
                </a:lnTo>
                <a:lnTo>
                  <a:pt x="699" y="1489"/>
                </a:lnTo>
                <a:lnTo>
                  <a:pt x="689" y="1483"/>
                </a:lnTo>
                <a:lnTo>
                  <a:pt x="681" y="1480"/>
                </a:lnTo>
                <a:lnTo>
                  <a:pt x="663" y="1477"/>
                </a:lnTo>
                <a:lnTo>
                  <a:pt x="641" y="1473"/>
                </a:lnTo>
                <a:lnTo>
                  <a:pt x="623" y="1469"/>
                </a:lnTo>
                <a:lnTo>
                  <a:pt x="615" y="1468"/>
                </a:lnTo>
                <a:lnTo>
                  <a:pt x="613" y="1463"/>
                </a:lnTo>
                <a:lnTo>
                  <a:pt x="608" y="1454"/>
                </a:lnTo>
                <a:lnTo>
                  <a:pt x="604" y="1449"/>
                </a:lnTo>
                <a:lnTo>
                  <a:pt x="598" y="1446"/>
                </a:lnTo>
                <a:lnTo>
                  <a:pt x="594" y="1446"/>
                </a:lnTo>
                <a:lnTo>
                  <a:pt x="590" y="1445"/>
                </a:lnTo>
                <a:lnTo>
                  <a:pt x="585" y="1446"/>
                </a:lnTo>
                <a:lnTo>
                  <a:pt x="581" y="1447"/>
                </a:lnTo>
                <a:lnTo>
                  <a:pt x="564" y="1454"/>
                </a:lnTo>
                <a:lnTo>
                  <a:pt x="556" y="1459"/>
                </a:lnTo>
                <a:lnTo>
                  <a:pt x="553" y="1461"/>
                </a:lnTo>
                <a:lnTo>
                  <a:pt x="550" y="1461"/>
                </a:lnTo>
                <a:lnTo>
                  <a:pt x="547" y="1460"/>
                </a:lnTo>
                <a:lnTo>
                  <a:pt x="544" y="1457"/>
                </a:lnTo>
                <a:lnTo>
                  <a:pt x="537" y="1450"/>
                </a:lnTo>
                <a:lnTo>
                  <a:pt x="528" y="1442"/>
                </a:lnTo>
                <a:lnTo>
                  <a:pt x="524" y="1439"/>
                </a:lnTo>
                <a:lnTo>
                  <a:pt x="521" y="1438"/>
                </a:lnTo>
                <a:lnTo>
                  <a:pt x="518" y="1438"/>
                </a:lnTo>
                <a:lnTo>
                  <a:pt x="516" y="1440"/>
                </a:lnTo>
                <a:lnTo>
                  <a:pt x="514" y="1442"/>
                </a:lnTo>
                <a:lnTo>
                  <a:pt x="510" y="1443"/>
                </a:lnTo>
                <a:lnTo>
                  <a:pt x="505" y="1445"/>
                </a:lnTo>
                <a:lnTo>
                  <a:pt x="501" y="1446"/>
                </a:lnTo>
                <a:lnTo>
                  <a:pt x="494" y="1446"/>
                </a:lnTo>
                <a:lnTo>
                  <a:pt x="491" y="1446"/>
                </a:lnTo>
                <a:lnTo>
                  <a:pt x="482" y="1441"/>
                </a:lnTo>
                <a:lnTo>
                  <a:pt x="465" y="1431"/>
                </a:lnTo>
                <a:lnTo>
                  <a:pt x="454" y="1426"/>
                </a:lnTo>
                <a:lnTo>
                  <a:pt x="445" y="1421"/>
                </a:lnTo>
                <a:lnTo>
                  <a:pt x="437" y="1419"/>
                </a:lnTo>
                <a:lnTo>
                  <a:pt x="433" y="1419"/>
                </a:lnTo>
                <a:lnTo>
                  <a:pt x="427" y="1425"/>
                </a:lnTo>
                <a:lnTo>
                  <a:pt x="421" y="1431"/>
                </a:lnTo>
                <a:lnTo>
                  <a:pt x="418" y="1433"/>
                </a:lnTo>
                <a:lnTo>
                  <a:pt x="415" y="1434"/>
                </a:lnTo>
                <a:lnTo>
                  <a:pt x="413" y="1434"/>
                </a:lnTo>
                <a:lnTo>
                  <a:pt x="411" y="1431"/>
                </a:lnTo>
                <a:lnTo>
                  <a:pt x="408" y="1419"/>
                </a:lnTo>
                <a:lnTo>
                  <a:pt x="403" y="1406"/>
                </a:lnTo>
                <a:lnTo>
                  <a:pt x="399" y="1399"/>
                </a:lnTo>
                <a:lnTo>
                  <a:pt x="394" y="1395"/>
                </a:lnTo>
                <a:lnTo>
                  <a:pt x="391" y="1394"/>
                </a:lnTo>
                <a:lnTo>
                  <a:pt x="388" y="1394"/>
                </a:lnTo>
                <a:lnTo>
                  <a:pt x="385" y="1394"/>
                </a:lnTo>
                <a:lnTo>
                  <a:pt x="382" y="1394"/>
                </a:lnTo>
                <a:lnTo>
                  <a:pt x="374" y="1397"/>
                </a:lnTo>
                <a:lnTo>
                  <a:pt x="369" y="1401"/>
                </a:lnTo>
                <a:lnTo>
                  <a:pt x="366" y="1405"/>
                </a:lnTo>
                <a:lnTo>
                  <a:pt x="363" y="1408"/>
                </a:lnTo>
                <a:lnTo>
                  <a:pt x="361" y="1414"/>
                </a:lnTo>
                <a:lnTo>
                  <a:pt x="360" y="1419"/>
                </a:lnTo>
                <a:lnTo>
                  <a:pt x="360" y="1423"/>
                </a:lnTo>
                <a:lnTo>
                  <a:pt x="360" y="1425"/>
                </a:lnTo>
                <a:lnTo>
                  <a:pt x="360" y="1426"/>
                </a:lnTo>
                <a:lnTo>
                  <a:pt x="358" y="1426"/>
                </a:lnTo>
                <a:lnTo>
                  <a:pt x="356" y="1423"/>
                </a:lnTo>
                <a:lnTo>
                  <a:pt x="353" y="1415"/>
                </a:lnTo>
                <a:lnTo>
                  <a:pt x="352" y="1408"/>
                </a:lnTo>
                <a:lnTo>
                  <a:pt x="352" y="1403"/>
                </a:lnTo>
                <a:lnTo>
                  <a:pt x="351" y="1399"/>
                </a:lnTo>
                <a:lnTo>
                  <a:pt x="349" y="1395"/>
                </a:lnTo>
                <a:lnTo>
                  <a:pt x="346" y="1392"/>
                </a:lnTo>
                <a:lnTo>
                  <a:pt x="343" y="1390"/>
                </a:lnTo>
                <a:lnTo>
                  <a:pt x="337" y="1386"/>
                </a:lnTo>
                <a:lnTo>
                  <a:pt x="327" y="1381"/>
                </a:lnTo>
                <a:lnTo>
                  <a:pt x="321" y="1377"/>
                </a:lnTo>
                <a:lnTo>
                  <a:pt x="316" y="1376"/>
                </a:lnTo>
                <a:lnTo>
                  <a:pt x="313" y="1376"/>
                </a:lnTo>
                <a:lnTo>
                  <a:pt x="309" y="1376"/>
                </a:lnTo>
                <a:lnTo>
                  <a:pt x="306" y="1376"/>
                </a:lnTo>
                <a:lnTo>
                  <a:pt x="303" y="1379"/>
                </a:lnTo>
                <a:lnTo>
                  <a:pt x="290" y="1387"/>
                </a:lnTo>
                <a:lnTo>
                  <a:pt x="273" y="1398"/>
                </a:lnTo>
                <a:lnTo>
                  <a:pt x="265" y="1403"/>
                </a:lnTo>
                <a:lnTo>
                  <a:pt x="259" y="1407"/>
                </a:lnTo>
                <a:lnTo>
                  <a:pt x="256" y="1407"/>
                </a:lnTo>
                <a:lnTo>
                  <a:pt x="254" y="1408"/>
                </a:lnTo>
                <a:lnTo>
                  <a:pt x="252" y="1408"/>
                </a:lnTo>
                <a:lnTo>
                  <a:pt x="251" y="1407"/>
                </a:lnTo>
                <a:lnTo>
                  <a:pt x="249" y="1403"/>
                </a:lnTo>
                <a:lnTo>
                  <a:pt x="247" y="1401"/>
                </a:lnTo>
                <a:lnTo>
                  <a:pt x="245" y="1401"/>
                </a:lnTo>
                <a:lnTo>
                  <a:pt x="242" y="1403"/>
                </a:lnTo>
                <a:lnTo>
                  <a:pt x="236" y="1407"/>
                </a:lnTo>
                <a:lnTo>
                  <a:pt x="230" y="1411"/>
                </a:lnTo>
                <a:lnTo>
                  <a:pt x="225" y="1417"/>
                </a:lnTo>
                <a:lnTo>
                  <a:pt x="215" y="1427"/>
                </a:lnTo>
                <a:lnTo>
                  <a:pt x="209" y="1431"/>
                </a:lnTo>
                <a:lnTo>
                  <a:pt x="203" y="1435"/>
                </a:lnTo>
                <a:lnTo>
                  <a:pt x="197" y="1438"/>
                </a:lnTo>
                <a:lnTo>
                  <a:pt x="192" y="1440"/>
                </a:lnTo>
                <a:lnTo>
                  <a:pt x="187" y="1441"/>
                </a:lnTo>
                <a:lnTo>
                  <a:pt x="183" y="1443"/>
                </a:lnTo>
                <a:lnTo>
                  <a:pt x="177" y="1447"/>
                </a:lnTo>
                <a:lnTo>
                  <a:pt x="173" y="1451"/>
                </a:lnTo>
                <a:lnTo>
                  <a:pt x="169" y="1456"/>
                </a:lnTo>
                <a:lnTo>
                  <a:pt x="165" y="1461"/>
                </a:lnTo>
                <a:lnTo>
                  <a:pt x="163" y="1467"/>
                </a:lnTo>
                <a:lnTo>
                  <a:pt x="160" y="1472"/>
                </a:lnTo>
                <a:lnTo>
                  <a:pt x="154" y="1484"/>
                </a:lnTo>
                <a:lnTo>
                  <a:pt x="147" y="1499"/>
                </a:lnTo>
                <a:lnTo>
                  <a:pt x="143" y="1505"/>
                </a:lnTo>
                <a:lnTo>
                  <a:pt x="139" y="1511"/>
                </a:lnTo>
                <a:lnTo>
                  <a:pt x="136" y="1514"/>
                </a:lnTo>
                <a:lnTo>
                  <a:pt x="133" y="1516"/>
                </a:lnTo>
                <a:lnTo>
                  <a:pt x="124" y="1518"/>
                </a:lnTo>
                <a:lnTo>
                  <a:pt x="108" y="1523"/>
                </a:lnTo>
                <a:lnTo>
                  <a:pt x="100" y="1525"/>
                </a:lnTo>
                <a:lnTo>
                  <a:pt x="93" y="1528"/>
                </a:lnTo>
                <a:lnTo>
                  <a:pt x="87" y="1531"/>
                </a:lnTo>
                <a:lnTo>
                  <a:pt x="84" y="1535"/>
                </a:lnTo>
                <a:lnTo>
                  <a:pt x="80" y="1541"/>
                </a:lnTo>
                <a:lnTo>
                  <a:pt x="77" y="1548"/>
                </a:lnTo>
                <a:lnTo>
                  <a:pt x="76" y="1552"/>
                </a:lnTo>
                <a:lnTo>
                  <a:pt x="75" y="1556"/>
                </a:lnTo>
                <a:lnTo>
                  <a:pt x="75" y="1559"/>
                </a:lnTo>
                <a:lnTo>
                  <a:pt x="77" y="1561"/>
                </a:lnTo>
                <a:lnTo>
                  <a:pt x="88" y="1568"/>
                </a:lnTo>
                <a:lnTo>
                  <a:pt x="107" y="1582"/>
                </a:lnTo>
                <a:lnTo>
                  <a:pt x="117" y="1589"/>
                </a:lnTo>
                <a:lnTo>
                  <a:pt x="125" y="1595"/>
                </a:lnTo>
                <a:lnTo>
                  <a:pt x="131" y="1602"/>
                </a:lnTo>
                <a:lnTo>
                  <a:pt x="135" y="1607"/>
                </a:lnTo>
                <a:lnTo>
                  <a:pt x="139" y="1617"/>
                </a:lnTo>
                <a:lnTo>
                  <a:pt x="146" y="1628"/>
                </a:lnTo>
                <a:lnTo>
                  <a:pt x="153" y="1636"/>
                </a:lnTo>
                <a:lnTo>
                  <a:pt x="155" y="1639"/>
                </a:lnTo>
                <a:lnTo>
                  <a:pt x="160" y="1639"/>
                </a:lnTo>
                <a:lnTo>
                  <a:pt x="169" y="1638"/>
                </a:lnTo>
                <a:lnTo>
                  <a:pt x="173" y="1639"/>
                </a:lnTo>
                <a:lnTo>
                  <a:pt x="177" y="1640"/>
                </a:lnTo>
                <a:lnTo>
                  <a:pt x="180" y="1642"/>
                </a:lnTo>
                <a:lnTo>
                  <a:pt x="181" y="1643"/>
                </a:lnTo>
                <a:lnTo>
                  <a:pt x="182" y="1644"/>
                </a:lnTo>
                <a:lnTo>
                  <a:pt x="182" y="1646"/>
                </a:lnTo>
                <a:lnTo>
                  <a:pt x="185" y="1658"/>
                </a:lnTo>
                <a:lnTo>
                  <a:pt x="189" y="1667"/>
                </a:lnTo>
                <a:lnTo>
                  <a:pt x="189" y="1670"/>
                </a:lnTo>
                <a:lnTo>
                  <a:pt x="189" y="1674"/>
                </a:lnTo>
                <a:lnTo>
                  <a:pt x="189" y="1679"/>
                </a:lnTo>
                <a:lnTo>
                  <a:pt x="187" y="1684"/>
                </a:lnTo>
                <a:lnTo>
                  <a:pt x="186" y="1687"/>
                </a:lnTo>
                <a:lnTo>
                  <a:pt x="185" y="1688"/>
                </a:lnTo>
                <a:lnTo>
                  <a:pt x="183" y="1689"/>
                </a:lnTo>
                <a:lnTo>
                  <a:pt x="181" y="1690"/>
                </a:lnTo>
                <a:lnTo>
                  <a:pt x="177" y="1690"/>
                </a:lnTo>
                <a:lnTo>
                  <a:pt x="174" y="1688"/>
                </a:lnTo>
                <a:lnTo>
                  <a:pt x="170" y="1686"/>
                </a:lnTo>
                <a:lnTo>
                  <a:pt x="165" y="1683"/>
                </a:lnTo>
                <a:lnTo>
                  <a:pt x="140" y="1664"/>
                </a:lnTo>
                <a:lnTo>
                  <a:pt x="136" y="1659"/>
                </a:lnTo>
                <a:lnTo>
                  <a:pt x="130" y="1664"/>
                </a:lnTo>
                <a:lnTo>
                  <a:pt x="119" y="1675"/>
                </a:lnTo>
                <a:lnTo>
                  <a:pt x="103" y="1689"/>
                </a:lnTo>
                <a:lnTo>
                  <a:pt x="88" y="1700"/>
                </a:lnTo>
                <a:lnTo>
                  <a:pt x="81" y="1704"/>
                </a:lnTo>
                <a:lnTo>
                  <a:pt x="74" y="1706"/>
                </a:lnTo>
                <a:lnTo>
                  <a:pt x="66" y="1709"/>
                </a:lnTo>
                <a:lnTo>
                  <a:pt x="60" y="1710"/>
                </a:lnTo>
                <a:lnTo>
                  <a:pt x="55" y="1710"/>
                </a:lnTo>
                <a:lnTo>
                  <a:pt x="51" y="1712"/>
                </a:lnTo>
                <a:lnTo>
                  <a:pt x="50" y="1712"/>
                </a:lnTo>
                <a:lnTo>
                  <a:pt x="49" y="1713"/>
                </a:lnTo>
                <a:lnTo>
                  <a:pt x="49" y="1714"/>
                </a:lnTo>
                <a:lnTo>
                  <a:pt x="50" y="1716"/>
                </a:lnTo>
                <a:lnTo>
                  <a:pt x="65" y="1730"/>
                </a:lnTo>
                <a:lnTo>
                  <a:pt x="79" y="1741"/>
                </a:lnTo>
                <a:lnTo>
                  <a:pt x="79" y="1746"/>
                </a:lnTo>
                <a:lnTo>
                  <a:pt x="81" y="1754"/>
                </a:lnTo>
                <a:lnTo>
                  <a:pt x="82" y="1758"/>
                </a:lnTo>
                <a:lnTo>
                  <a:pt x="84" y="1761"/>
                </a:lnTo>
                <a:lnTo>
                  <a:pt x="87" y="1764"/>
                </a:lnTo>
                <a:lnTo>
                  <a:pt x="92" y="1767"/>
                </a:lnTo>
                <a:lnTo>
                  <a:pt x="97" y="1770"/>
                </a:lnTo>
                <a:lnTo>
                  <a:pt x="105" y="1772"/>
                </a:lnTo>
                <a:lnTo>
                  <a:pt x="114" y="1776"/>
                </a:lnTo>
                <a:lnTo>
                  <a:pt x="123" y="1777"/>
                </a:lnTo>
                <a:lnTo>
                  <a:pt x="140" y="1780"/>
                </a:lnTo>
                <a:lnTo>
                  <a:pt x="150" y="1782"/>
                </a:lnTo>
                <a:lnTo>
                  <a:pt x="157" y="1782"/>
                </a:lnTo>
                <a:lnTo>
                  <a:pt x="164" y="1780"/>
                </a:lnTo>
                <a:lnTo>
                  <a:pt x="168" y="1779"/>
                </a:lnTo>
                <a:lnTo>
                  <a:pt x="172" y="1778"/>
                </a:lnTo>
                <a:lnTo>
                  <a:pt x="174" y="1776"/>
                </a:lnTo>
                <a:lnTo>
                  <a:pt x="176" y="1774"/>
                </a:lnTo>
                <a:lnTo>
                  <a:pt x="181" y="1767"/>
                </a:lnTo>
                <a:lnTo>
                  <a:pt x="185" y="1762"/>
                </a:lnTo>
                <a:lnTo>
                  <a:pt x="187" y="1761"/>
                </a:lnTo>
                <a:lnTo>
                  <a:pt x="188" y="1761"/>
                </a:lnTo>
                <a:lnTo>
                  <a:pt x="189" y="1762"/>
                </a:lnTo>
                <a:lnTo>
                  <a:pt x="190" y="1765"/>
                </a:lnTo>
                <a:lnTo>
                  <a:pt x="192" y="1775"/>
                </a:lnTo>
                <a:lnTo>
                  <a:pt x="196" y="1782"/>
                </a:lnTo>
                <a:lnTo>
                  <a:pt x="199" y="1787"/>
                </a:lnTo>
                <a:lnTo>
                  <a:pt x="204" y="1790"/>
                </a:lnTo>
                <a:lnTo>
                  <a:pt x="206" y="1794"/>
                </a:lnTo>
                <a:lnTo>
                  <a:pt x="206" y="1798"/>
                </a:lnTo>
                <a:lnTo>
                  <a:pt x="204" y="1802"/>
                </a:lnTo>
                <a:lnTo>
                  <a:pt x="199" y="1805"/>
                </a:lnTo>
                <a:lnTo>
                  <a:pt x="182" y="1811"/>
                </a:lnTo>
                <a:lnTo>
                  <a:pt x="169" y="1813"/>
                </a:lnTo>
                <a:lnTo>
                  <a:pt x="168" y="1819"/>
                </a:lnTo>
                <a:lnTo>
                  <a:pt x="165" y="1828"/>
                </a:lnTo>
                <a:lnTo>
                  <a:pt x="163" y="1833"/>
                </a:lnTo>
                <a:lnTo>
                  <a:pt x="160" y="1837"/>
                </a:lnTo>
                <a:lnTo>
                  <a:pt x="159" y="1838"/>
                </a:lnTo>
                <a:lnTo>
                  <a:pt x="158" y="1840"/>
                </a:lnTo>
                <a:lnTo>
                  <a:pt x="155" y="1841"/>
                </a:lnTo>
                <a:lnTo>
                  <a:pt x="154" y="1840"/>
                </a:lnTo>
                <a:lnTo>
                  <a:pt x="148" y="1835"/>
                </a:lnTo>
                <a:lnTo>
                  <a:pt x="142" y="1832"/>
                </a:lnTo>
                <a:lnTo>
                  <a:pt x="139" y="1831"/>
                </a:lnTo>
                <a:lnTo>
                  <a:pt x="136" y="1831"/>
                </a:lnTo>
                <a:lnTo>
                  <a:pt x="132" y="1832"/>
                </a:lnTo>
                <a:lnTo>
                  <a:pt x="130" y="1835"/>
                </a:lnTo>
                <a:lnTo>
                  <a:pt x="123" y="1843"/>
                </a:lnTo>
                <a:lnTo>
                  <a:pt x="117" y="1850"/>
                </a:lnTo>
                <a:lnTo>
                  <a:pt x="114" y="1853"/>
                </a:lnTo>
                <a:lnTo>
                  <a:pt x="113" y="1856"/>
                </a:lnTo>
                <a:lnTo>
                  <a:pt x="111" y="1859"/>
                </a:lnTo>
                <a:lnTo>
                  <a:pt x="113" y="1863"/>
                </a:lnTo>
                <a:lnTo>
                  <a:pt x="114" y="1866"/>
                </a:lnTo>
                <a:lnTo>
                  <a:pt x="115" y="1868"/>
                </a:lnTo>
                <a:lnTo>
                  <a:pt x="114" y="1870"/>
                </a:lnTo>
                <a:lnTo>
                  <a:pt x="114" y="1872"/>
                </a:lnTo>
                <a:lnTo>
                  <a:pt x="110" y="1874"/>
                </a:lnTo>
                <a:lnTo>
                  <a:pt x="107" y="1878"/>
                </a:lnTo>
                <a:lnTo>
                  <a:pt x="102" y="1880"/>
                </a:lnTo>
                <a:lnTo>
                  <a:pt x="97" y="1882"/>
                </a:lnTo>
                <a:lnTo>
                  <a:pt x="95" y="1885"/>
                </a:lnTo>
                <a:lnTo>
                  <a:pt x="93" y="1889"/>
                </a:lnTo>
                <a:lnTo>
                  <a:pt x="92" y="1895"/>
                </a:lnTo>
                <a:lnTo>
                  <a:pt x="92" y="1904"/>
                </a:lnTo>
                <a:lnTo>
                  <a:pt x="92" y="1915"/>
                </a:lnTo>
                <a:lnTo>
                  <a:pt x="94" y="1924"/>
                </a:lnTo>
                <a:lnTo>
                  <a:pt x="96" y="1933"/>
                </a:lnTo>
                <a:lnTo>
                  <a:pt x="98" y="1940"/>
                </a:lnTo>
                <a:lnTo>
                  <a:pt x="101" y="1947"/>
                </a:lnTo>
                <a:lnTo>
                  <a:pt x="104" y="1953"/>
                </a:lnTo>
                <a:lnTo>
                  <a:pt x="107" y="1957"/>
                </a:lnTo>
                <a:lnTo>
                  <a:pt x="110" y="1960"/>
                </a:lnTo>
                <a:lnTo>
                  <a:pt x="122" y="1971"/>
                </a:lnTo>
                <a:lnTo>
                  <a:pt x="141" y="1990"/>
                </a:lnTo>
                <a:lnTo>
                  <a:pt x="144" y="1994"/>
                </a:lnTo>
                <a:lnTo>
                  <a:pt x="148" y="1996"/>
                </a:lnTo>
                <a:lnTo>
                  <a:pt x="151" y="1996"/>
                </a:lnTo>
                <a:lnTo>
                  <a:pt x="154" y="1997"/>
                </a:lnTo>
                <a:lnTo>
                  <a:pt x="161" y="1996"/>
                </a:lnTo>
                <a:lnTo>
                  <a:pt x="167" y="1993"/>
                </a:lnTo>
                <a:lnTo>
                  <a:pt x="172" y="1989"/>
                </a:lnTo>
                <a:lnTo>
                  <a:pt x="177" y="1987"/>
                </a:lnTo>
                <a:lnTo>
                  <a:pt x="179" y="1986"/>
                </a:lnTo>
                <a:lnTo>
                  <a:pt x="181" y="1986"/>
                </a:lnTo>
                <a:lnTo>
                  <a:pt x="183" y="1986"/>
                </a:lnTo>
                <a:lnTo>
                  <a:pt x="184" y="1987"/>
                </a:lnTo>
                <a:lnTo>
                  <a:pt x="185" y="1991"/>
                </a:lnTo>
                <a:lnTo>
                  <a:pt x="185" y="1999"/>
                </a:lnTo>
                <a:lnTo>
                  <a:pt x="184" y="2006"/>
                </a:lnTo>
                <a:lnTo>
                  <a:pt x="182" y="2015"/>
                </a:lnTo>
                <a:lnTo>
                  <a:pt x="182" y="2024"/>
                </a:lnTo>
                <a:lnTo>
                  <a:pt x="182" y="2032"/>
                </a:lnTo>
                <a:lnTo>
                  <a:pt x="182" y="2037"/>
                </a:lnTo>
                <a:lnTo>
                  <a:pt x="184" y="2041"/>
                </a:lnTo>
                <a:lnTo>
                  <a:pt x="185" y="2044"/>
                </a:lnTo>
                <a:lnTo>
                  <a:pt x="188" y="2047"/>
                </a:lnTo>
                <a:lnTo>
                  <a:pt x="194" y="2051"/>
                </a:lnTo>
                <a:lnTo>
                  <a:pt x="201" y="2053"/>
                </a:lnTo>
                <a:lnTo>
                  <a:pt x="207" y="2053"/>
                </a:lnTo>
                <a:lnTo>
                  <a:pt x="213" y="2052"/>
                </a:lnTo>
                <a:lnTo>
                  <a:pt x="218" y="2051"/>
                </a:lnTo>
                <a:lnTo>
                  <a:pt x="224" y="2048"/>
                </a:lnTo>
                <a:lnTo>
                  <a:pt x="228" y="2046"/>
                </a:lnTo>
                <a:lnTo>
                  <a:pt x="231" y="2043"/>
                </a:lnTo>
                <a:lnTo>
                  <a:pt x="233" y="2042"/>
                </a:lnTo>
                <a:lnTo>
                  <a:pt x="235" y="2042"/>
                </a:lnTo>
                <a:lnTo>
                  <a:pt x="237" y="2043"/>
                </a:lnTo>
                <a:lnTo>
                  <a:pt x="239" y="2045"/>
                </a:lnTo>
                <a:lnTo>
                  <a:pt x="241" y="2048"/>
                </a:lnTo>
                <a:lnTo>
                  <a:pt x="245" y="2050"/>
                </a:lnTo>
                <a:lnTo>
                  <a:pt x="248" y="2051"/>
                </a:lnTo>
                <a:lnTo>
                  <a:pt x="252" y="2052"/>
                </a:lnTo>
                <a:lnTo>
                  <a:pt x="258" y="2051"/>
                </a:lnTo>
                <a:lnTo>
                  <a:pt x="264" y="2048"/>
                </a:lnTo>
                <a:lnTo>
                  <a:pt x="272" y="2044"/>
                </a:lnTo>
                <a:lnTo>
                  <a:pt x="279" y="2040"/>
                </a:lnTo>
                <a:lnTo>
                  <a:pt x="285" y="2035"/>
                </a:lnTo>
                <a:lnTo>
                  <a:pt x="291" y="2033"/>
                </a:lnTo>
                <a:lnTo>
                  <a:pt x="292" y="2032"/>
                </a:lnTo>
                <a:lnTo>
                  <a:pt x="293" y="2033"/>
                </a:lnTo>
                <a:lnTo>
                  <a:pt x="293" y="2033"/>
                </a:lnTo>
                <a:lnTo>
                  <a:pt x="293" y="2035"/>
                </a:lnTo>
                <a:lnTo>
                  <a:pt x="287" y="2043"/>
                </a:lnTo>
                <a:lnTo>
                  <a:pt x="282" y="2047"/>
                </a:lnTo>
                <a:lnTo>
                  <a:pt x="281" y="2049"/>
                </a:lnTo>
                <a:lnTo>
                  <a:pt x="280" y="2051"/>
                </a:lnTo>
                <a:lnTo>
                  <a:pt x="279" y="2054"/>
                </a:lnTo>
                <a:lnTo>
                  <a:pt x="280" y="2059"/>
                </a:lnTo>
                <a:lnTo>
                  <a:pt x="284" y="2070"/>
                </a:lnTo>
                <a:lnTo>
                  <a:pt x="286" y="2073"/>
                </a:lnTo>
                <a:lnTo>
                  <a:pt x="278" y="2084"/>
                </a:lnTo>
                <a:lnTo>
                  <a:pt x="265" y="2100"/>
                </a:lnTo>
                <a:lnTo>
                  <a:pt x="250" y="2113"/>
                </a:lnTo>
                <a:lnTo>
                  <a:pt x="220" y="2134"/>
                </a:lnTo>
                <a:lnTo>
                  <a:pt x="189" y="2155"/>
                </a:lnTo>
                <a:lnTo>
                  <a:pt x="170" y="2167"/>
                </a:lnTo>
                <a:lnTo>
                  <a:pt x="160" y="2176"/>
                </a:lnTo>
                <a:lnTo>
                  <a:pt x="148" y="2185"/>
                </a:lnTo>
                <a:lnTo>
                  <a:pt x="138" y="2195"/>
                </a:lnTo>
                <a:lnTo>
                  <a:pt x="130" y="2200"/>
                </a:lnTo>
                <a:lnTo>
                  <a:pt x="124" y="2201"/>
                </a:lnTo>
                <a:lnTo>
                  <a:pt x="117" y="2202"/>
                </a:lnTo>
                <a:lnTo>
                  <a:pt x="114" y="2203"/>
                </a:lnTo>
                <a:lnTo>
                  <a:pt x="110" y="2204"/>
                </a:lnTo>
                <a:lnTo>
                  <a:pt x="108" y="2205"/>
                </a:lnTo>
                <a:lnTo>
                  <a:pt x="108" y="2208"/>
                </a:lnTo>
                <a:lnTo>
                  <a:pt x="108" y="2213"/>
                </a:lnTo>
                <a:lnTo>
                  <a:pt x="107" y="2217"/>
                </a:lnTo>
                <a:lnTo>
                  <a:pt x="107" y="2219"/>
                </a:lnTo>
                <a:lnTo>
                  <a:pt x="105" y="2220"/>
                </a:lnTo>
                <a:lnTo>
                  <a:pt x="103" y="2221"/>
                </a:lnTo>
                <a:lnTo>
                  <a:pt x="100" y="2221"/>
                </a:lnTo>
                <a:lnTo>
                  <a:pt x="92" y="2222"/>
                </a:lnTo>
                <a:lnTo>
                  <a:pt x="83" y="2223"/>
                </a:lnTo>
                <a:lnTo>
                  <a:pt x="80" y="2224"/>
                </a:lnTo>
                <a:lnTo>
                  <a:pt x="77" y="2225"/>
                </a:lnTo>
                <a:lnTo>
                  <a:pt x="74" y="2226"/>
                </a:lnTo>
                <a:lnTo>
                  <a:pt x="73" y="2228"/>
                </a:lnTo>
                <a:lnTo>
                  <a:pt x="70" y="2232"/>
                </a:lnTo>
                <a:lnTo>
                  <a:pt x="64" y="2237"/>
                </a:lnTo>
                <a:lnTo>
                  <a:pt x="59" y="2240"/>
                </a:lnTo>
                <a:lnTo>
                  <a:pt x="53" y="2242"/>
                </a:lnTo>
                <a:lnTo>
                  <a:pt x="46" y="2244"/>
                </a:lnTo>
                <a:lnTo>
                  <a:pt x="40" y="2249"/>
                </a:lnTo>
                <a:lnTo>
                  <a:pt x="36" y="2254"/>
                </a:lnTo>
                <a:lnTo>
                  <a:pt x="32" y="2261"/>
                </a:lnTo>
                <a:lnTo>
                  <a:pt x="29" y="2263"/>
                </a:lnTo>
                <a:lnTo>
                  <a:pt x="24" y="2263"/>
                </a:lnTo>
                <a:lnTo>
                  <a:pt x="19" y="2263"/>
                </a:lnTo>
                <a:lnTo>
                  <a:pt x="13" y="2263"/>
                </a:lnTo>
                <a:lnTo>
                  <a:pt x="8" y="2264"/>
                </a:lnTo>
                <a:lnTo>
                  <a:pt x="4" y="2265"/>
                </a:lnTo>
                <a:lnTo>
                  <a:pt x="2" y="2266"/>
                </a:lnTo>
                <a:lnTo>
                  <a:pt x="1" y="2268"/>
                </a:lnTo>
                <a:lnTo>
                  <a:pt x="0" y="2270"/>
                </a:lnTo>
                <a:lnTo>
                  <a:pt x="1" y="2273"/>
                </a:lnTo>
                <a:lnTo>
                  <a:pt x="2" y="2280"/>
                </a:lnTo>
                <a:lnTo>
                  <a:pt x="5" y="2285"/>
                </a:lnTo>
                <a:lnTo>
                  <a:pt x="7" y="2288"/>
                </a:lnTo>
                <a:lnTo>
                  <a:pt x="8" y="2290"/>
                </a:lnTo>
                <a:lnTo>
                  <a:pt x="10" y="2290"/>
                </a:lnTo>
                <a:lnTo>
                  <a:pt x="12" y="2290"/>
                </a:lnTo>
                <a:lnTo>
                  <a:pt x="14" y="2289"/>
                </a:lnTo>
                <a:lnTo>
                  <a:pt x="15" y="2287"/>
                </a:lnTo>
                <a:lnTo>
                  <a:pt x="19" y="2282"/>
                </a:lnTo>
                <a:lnTo>
                  <a:pt x="24" y="2274"/>
                </a:lnTo>
                <a:lnTo>
                  <a:pt x="27" y="2272"/>
                </a:lnTo>
                <a:lnTo>
                  <a:pt x="30" y="2270"/>
                </a:lnTo>
                <a:lnTo>
                  <a:pt x="32" y="2268"/>
                </a:lnTo>
                <a:lnTo>
                  <a:pt x="35" y="2268"/>
                </a:lnTo>
                <a:lnTo>
                  <a:pt x="41" y="2269"/>
                </a:lnTo>
                <a:lnTo>
                  <a:pt x="50" y="2267"/>
                </a:lnTo>
                <a:lnTo>
                  <a:pt x="55" y="2266"/>
                </a:lnTo>
                <a:lnTo>
                  <a:pt x="59" y="2264"/>
                </a:lnTo>
                <a:lnTo>
                  <a:pt x="64" y="2261"/>
                </a:lnTo>
                <a:lnTo>
                  <a:pt x="69" y="2258"/>
                </a:lnTo>
                <a:lnTo>
                  <a:pt x="73" y="2253"/>
                </a:lnTo>
                <a:lnTo>
                  <a:pt x="75" y="2248"/>
                </a:lnTo>
                <a:lnTo>
                  <a:pt x="76" y="2244"/>
                </a:lnTo>
                <a:lnTo>
                  <a:pt x="77" y="2240"/>
                </a:lnTo>
                <a:lnTo>
                  <a:pt x="79" y="2236"/>
                </a:lnTo>
                <a:lnTo>
                  <a:pt x="81" y="2232"/>
                </a:lnTo>
                <a:lnTo>
                  <a:pt x="85" y="2230"/>
                </a:lnTo>
                <a:lnTo>
                  <a:pt x="92" y="2230"/>
                </a:lnTo>
                <a:lnTo>
                  <a:pt x="103" y="2232"/>
                </a:lnTo>
                <a:lnTo>
                  <a:pt x="113" y="2233"/>
                </a:lnTo>
                <a:lnTo>
                  <a:pt x="116" y="2233"/>
                </a:lnTo>
                <a:lnTo>
                  <a:pt x="120" y="2231"/>
                </a:lnTo>
                <a:lnTo>
                  <a:pt x="124" y="2228"/>
                </a:lnTo>
                <a:lnTo>
                  <a:pt x="128" y="2223"/>
                </a:lnTo>
                <a:lnTo>
                  <a:pt x="137" y="2214"/>
                </a:lnTo>
                <a:lnTo>
                  <a:pt x="144" y="2206"/>
                </a:lnTo>
                <a:lnTo>
                  <a:pt x="147" y="2204"/>
                </a:lnTo>
                <a:lnTo>
                  <a:pt x="151" y="2203"/>
                </a:lnTo>
                <a:lnTo>
                  <a:pt x="155" y="2204"/>
                </a:lnTo>
                <a:lnTo>
                  <a:pt x="161" y="2205"/>
                </a:lnTo>
                <a:lnTo>
                  <a:pt x="167" y="2206"/>
                </a:lnTo>
                <a:lnTo>
                  <a:pt x="172" y="2206"/>
                </a:lnTo>
                <a:lnTo>
                  <a:pt x="176" y="2204"/>
                </a:lnTo>
                <a:lnTo>
                  <a:pt x="182" y="2203"/>
                </a:lnTo>
                <a:lnTo>
                  <a:pt x="187" y="2199"/>
                </a:lnTo>
                <a:lnTo>
                  <a:pt x="190" y="2197"/>
                </a:lnTo>
                <a:lnTo>
                  <a:pt x="191" y="2192"/>
                </a:lnTo>
                <a:lnTo>
                  <a:pt x="194" y="2183"/>
                </a:lnTo>
                <a:lnTo>
                  <a:pt x="196" y="2181"/>
                </a:lnTo>
                <a:lnTo>
                  <a:pt x="197" y="2180"/>
                </a:lnTo>
                <a:lnTo>
                  <a:pt x="199" y="2179"/>
                </a:lnTo>
                <a:lnTo>
                  <a:pt x="203" y="2178"/>
                </a:lnTo>
                <a:lnTo>
                  <a:pt x="205" y="2178"/>
                </a:lnTo>
                <a:lnTo>
                  <a:pt x="208" y="2179"/>
                </a:lnTo>
                <a:lnTo>
                  <a:pt x="212" y="2181"/>
                </a:lnTo>
                <a:lnTo>
                  <a:pt x="215" y="2184"/>
                </a:lnTo>
                <a:lnTo>
                  <a:pt x="224" y="2192"/>
                </a:lnTo>
                <a:lnTo>
                  <a:pt x="233" y="2197"/>
                </a:lnTo>
                <a:lnTo>
                  <a:pt x="242" y="2201"/>
                </a:lnTo>
                <a:lnTo>
                  <a:pt x="251" y="2203"/>
                </a:lnTo>
                <a:lnTo>
                  <a:pt x="257" y="2204"/>
                </a:lnTo>
                <a:lnTo>
                  <a:pt x="261" y="2204"/>
                </a:lnTo>
                <a:lnTo>
                  <a:pt x="262" y="2202"/>
                </a:lnTo>
                <a:lnTo>
                  <a:pt x="262" y="2201"/>
                </a:lnTo>
                <a:lnTo>
                  <a:pt x="261" y="2199"/>
                </a:lnTo>
                <a:lnTo>
                  <a:pt x="259" y="2196"/>
                </a:lnTo>
                <a:lnTo>
                  <a:pt x="248" y="2184"/>
                </a:lnTo>
                <a:lnTo>
                  <a:pt x="237" y="2174"/>
                </a:lnTo>
                <a:lnTo>
                  <a:pt x="232" y="2170"/>
                </a:lnTo>
                <a:lnTo>
                  <a:pt x="230" y="2165"/>
                </a:lnTo>
                <a:lnTo>
                  <a:pt x="229" y="2164"/>
                </a:lnTo>
                <a:lnTo>
                  <a:pt x="229" y="2163"/>
                </a:lnTo>
                <a:lnTo>
                  <a:pt x="230" y="2162"/>
                </a:lnTo>
                <a:lnTo>
                  <a:pt x="231" y="2162"/>
                </a:lnTo>
                <a:lnTo>
                  <a:pt x="239" y="2161"/>
                </a:lnTo>
                <a:lnTo>
                  <a:pt x="252" y="2160"/>
                </a:lnTo>
                <a:lnTo>
                  <a:pt x="258" y="2159"/>
                </a:lnTo>
                <a:lnTo>
                  <a:pt x="263" y="2158"/>
                </a:lnTo>
                <a:lnTo>
                  <a:pt x="268" y="2156"/>
                </a:lnTo>
                <a:lnTo>
                  <a:pt x="270" y="2153"/>
                </a:lnTo>
                <a:lnTo>
                  <a:pt x="274" y="2148"/>
                </a:lnTo>
                <a:lnTo>
                  <a:pt x="280" y="2140"/>
                </a:lnTo>
                <a:lnTo>
                  <a:pt x="290" y="2132"/>
                </a:lnTo>
                <a:lnTo>
                  <a:pt x="300" y="2122"/>
                </a:lnTo>
                <a:lnTo>
                  <a:pt x="311" y="2113"/>
                </a:lnTo>
                <a:lnTo>
                  <a:pt x="320" y="2104"/>
                </a:lnTo>
                <a:lnTo>
                  <a:pt x="326" y="2096"/>
                </a:lnTo>
                <a:lnTo>
                  <a:pt x="330" y="2089"/>
                </a:lnTo>
                <a:lnTo>
                  <a:pt x="333" y="2083"/>
                </a:lnTo>
                <a:lnTo>
                  <a:pt x="337" y="2075"/>
                </a:lnTo>
                <a:lnTo>
                  <a:pt x="342" y="2067"/>
                </a:lnTo>
                <a:lnTo>
                  <a:pt x="348" y="2059"/>
                </a:lnTo>
                <a:lnTo>
                  <a:pt x="360" y="2044"/>
                </a:lnTo>
                <a:lnTo>
                  <a:pt x="367" y="2034"/>
                </a:lnTo>
                <a:lnTo>
                  <a:pt x="374" y="2021"/>
                </a:lnTo>
                <a:lnTo>
                  <a:pt x="385" y="1996"/>
                </a:lnTo>
                <a:lnTo>
                  <a:pt x="394" y="1973"/>
                </a:lnTo>
                <a:lnTo>
                  <a:pt x="397" y="1963"/>
                </a:lnTo>
                <a:lnTo>
                  <a:pt x="406" y="1955"/>
                </a:lnTo>
                <a:lnTo>
                  <a:pt x="423" y="1939"/>
                </a:lnTo>
                <a:lnTo>
                  <a:pt x="432" y="1932"/>
                </a:lnTo>
                <a:lnTo>
                  <a:pt x="440" y="1925"/>
                </a:lnTo>
                <a:lnTo>
                  <a:pt x="444" y="1924"/>
                </a:lnTo>
                <a:lnTo>
                  <a:pt x="446" y="1923"/>
                </a:lnTo>
                <a:lnTo>
                  <a:pt x="448" y="1924"/>
                </a:lnTo>
                <a:lnTo>
                  <a:pt x="449" y="1926"/>
                </a:lnTo>
                <a:lnTo>
                  <a:pt x="450" y="1936"/>
                </a:lnTo>
                <a:lnTo>
                  <a:pt x="450" y="1942"/>
                </a:lnTo>
                <a:lnTo>
                  <a:pt x="449" y="1944"/>
                </a:lnTo>
                <a:lnTo>
                  <a:pt x="448" y="1945"/>
                </a:lnTo>
                <a:lnTo>
                  <a:pt x="446" y="1946"/>
                </a:lnTo>
                <a:lnTo>
                  <a:pt x="444" y="1946"/>
                </a:lnTo>
                <a:lnTo>
                  <a:pt x="438" y="1946"/>
                </a:lnTo>
                <a:lnTo>
                  <a:pt x="434" y="1946"/>
                </a:lnTo>
                <a:lnTo>
                  <a:pt x="432" y="1946"/>
                </a:lnTo>
                <a:lnTo>
                  <a:pt x="429" y="1948"/>
                </a:lnTo>
                <a:lnTo>
                  <a:pt x="427" y="1952"/>
                </a:lnTo>
                <a:lnTo>
                  <a:pt x="425" y="1956"/>
                </a:lnTo>
                <a:lnTo>
                  <a:pt x="419" y="1966"/>
                </a:lnTo>
                <a:lnTo>
                  <a:pt x="414" y="1977"/>
                </a:lnTo>
                <a:lnTo>
                  <a:pt x="411" y="1981"/>
                </a:lnTo>
                <a:lnTo>
                  <a:pt x="410" y="1985"/>
                </a:lnTo>
                <a:lnTo>
                  <a:pt x="409" y="1989"/>
                </a:lnTo>
                <a:lnTo>
                  <a:pt x="410" y="1993"/>
                </a:lnTo>
                <a:lnTo>
                  <a:pt x="410" y="1997"/>
                </a:lnTo>
                <a:lnTo>
                  <a:pt x="410" y="2001"/>
                </a:lnTo>
                <a:lnTo>
                  <a:pt x="409" y="2005"/>
                </a:lnTo>
                <a:lnTo>
                  <a:pt x="408" y="2010"/>
                </a:lnTo>
                <a:lnTo>
                  <a:pt x="404" y="2019"/>
                </a:lnTo>
                <a:lnTo>
                  <a:pt x="399" y="2024"/>
                </a:lnTo>
                <a:lnTo>
                  <a:pt x="395" y="2031"/>
                </a:lnTo>
                <a:lnTo>
                  <a:pt x="391" y="2044"/>
                </a:lnTo>
                <a:lnTo>
                  <a:pt x="388" y="2051"/>
                </a:lnTo>
                <a:lnTo>
                  <a:pt x="385" y="2059"/>
                </a:lnTo>
                <a:lnTo>
                  <a:pt x="381" y="2065"/>
                </a:lnTo>
                <a:lnTo>
                  <a:pt x="375" y="2070"/>
                </a:lnTo>
                <a:lnTo>
                  <a:pt x="363" y="2077"/>
                </a:lnTo>
                <a:lnTo>
                  <a:pt x="351" y="2081"/>
                </a:lnTo>
                <a:lnTo>
                  <a:pt x="347" y="2083"/>
                </a:lnTo>
                <a:lnTo>
                  <a:pt x="344" y="2085"/>
                </a:lnTo>
                <a:lnTo>
                  <a:pt x="342" y="2088"/>
                </a:lnTo>
                <a:lnTo>
                  <a:pt x="342" y="2092"/>
                </a:lnTo>
                <a:lnTo>
                  <a:pt x="343" y="2096"/>
                </a:lnTo>
                <a:lnTo>
                  <a:pt x="346" y="2100"/>
                </a:lnTo>
                <a:lnTo>
                  <a:pt x="349" y="2103"/>
                </a:lnTo>
                <a:lnTo>
                  <a:pt x="353" y="2105"/>
                </a:lnTo>
                <a:lnTo>
                  <a:pt x="357" y="2108"/>
                </a:lnTo>
                <a:lnTo>
                  <a:pt x="359" y="2110"/>
                </a:lnTo>
                <a:lnTo>
                  <a:pt x="360" y="2111"/>
                </a:lnTo>
                <a:lnTo>
                  <a:pt x="360" y="2113"/>
                </a:lnTo>
                <a:lnTo>
                  <a:pt x="359" y="2115"/>
                </a:lnTo>
                <a:lnTo>
                  <a:pt x="357" y="2117"/>
                </a:lnTo>
                <a:lnTo>
                  <a:pt x="353" y="2121"/>
                </a:lnTo>
                <a:lnTo>
                  <a:pt x="351" y="2126"/>
                </a:lnTo>
                <a:lnTo>
                  <a:pt x="349" y="2129"/>
                </a:lnTo>
                <a:lnTo>
                  <a:pt x="348" y="2133"/>
                </a:lnTo>
                <a:lnTo>
                  <a:pt x="348" y="2136"/>
                </a:lnTo>
                <a:lnTo>
                  <a:pt x="348" y="2139"/>
                </a:lnTo>
                <a:lnTo>
                  <a:pt x="349" y="2140"/>
                </a:lnTo>
                <a:lnTo>
                  <a:pt x="351" y="2141"/>
                </a:lnTo>
                <a:lnTo>
                  <a:pt x="355" y="2141"/>
                </a:lnTo>
                <a:lnTo>
                  <a:pt x="358" y="2139"/>
                </a:lnTo>
                <a:lnTo>
                  <a:pt x="362" y="2136"/>
                </a:lnTo>
                <a:lnTo>
                  <a:pt x="366" y="2133"/>
                </a:lnTo>
                <a:lnTo>
                  <a:pt x="372" y="2127"/>
                </a:lnTo>
                <a:lnTo>
                  <a:pt x="375" y="2123"/>
                </a:lnTo>
                <a:lnTo>
                  <a:pt x="387" y="2118"/>
                </a:lnTo>
                <a:lnTo>
                  <a:pt x="403" y="2108"/>
                </a:lnTo>
                <a:lnTo>
                  <a:pt x="405" y="2104"/>
                </a:lnTo>
                <a:lnTo>
                  <a:pt x="406" y="2098"/>
                </a:lnTo>
                <a:lnTo>
                  <a:pt x="407" y="2091"/>
                </a:lnTo>
                <a:lnTo>
                  <a:pt x="408" y="2084"/>
                </a:lnTo>
                <a:lnTo>
                  <a:pt x="408" y="2069"/>
                </a:lnTo>
                <a:lnTo>
                  <a:pt x="408" y="2064"/>
                </a:lnTo>
                <a:lnTo>
                  <a:pt x="407" y="2060"/>
                </a:lnTo>
                <a:lnTo>
                  <a:pt x="405" y="2049"/>
                </a:lnTo>
                <a:lnTo>
                  <a:pt x="406" y="2043"/>
                </a:lnTo>
                <a:lnTo>
                  <a:pt x="409" y="2035"/>
                </a:lnTo>
                <a:lnTo>
                  <a:pt x="411" y="2031"/>
                </a:lnTo>
                <a:lnTo>
                  <a:pt x="414" y="2028"/>
                </a:lnTo>
                <a:lnTo>
                  <a:pt x="418" y="2025"/>
                </a:lnTo>
                <a:lnTo>
                  <a:pt x="424" y="2022"/>
                </a:lnTo>
                <a:lnTo>
                  <a:pt x="443" y="2009"/>
                </a:lnTo>
                <a:lnTo>
                  <a:pt x="454" y="2001"/>
                </a:lnTo>
                <a:lnTo>
                  <a:pt x="462" y="1995"/>
                </a:lnTo>
                <a:lnTo>
                  <a:pt x="467" y="1993"/>
                </a:lnTo>
                <a:lnTo>
                  <a:pt x="471" y="1988"/>
                </a:lnTo>
                <a:lnTo>
                  <a:pt x="477" y="1982"/>
                </a:lnTo>
                <a:lnTo>
                  <a:pt x="480" y="1979"/>
                </a:lnTo>
                <a:lnTo>
                  <a:pt x="483" y="1978"/>
                </a:lnTo>
                <a:lnTo>
                  <a:pt x="486" y="1978"/>
                </a:lnTo>
                <a:lnTo>
                  <a:pt x="488" y="1978"/>
                </a:lnTo>
                <a:lnTo>
                  <a:pt x="490" y="1980"/>
                </a:lnTo>
                <a:lnTo>
                  <a:pt x="491" y="1981"/>
                </a:lnTo>
                <a:lnTo>
                  <a:pt x="493" y="1983"/>
                </a:lnTo>
                <a:lnTo>
                  <a:pt x="495" y="1984"/>
                </a:lnTo>
                <a:lnTo>
                  <a:pt x="497" y="1984"/>
                </a:lnTo>
                <a:lnTo>
                  <a:pt x="499" y="1984"/>
                </a:lnTo>
                <a:lnTo>
                  <a:pt x="503" y="1981"/>
                </a:lnTo>
                <a:lnTo>
                  <a:pt x="506" y="1977"/>
                </a:lnTo>
                <a:lnTo>
                  <a:pt x="509" y="1972"/>
                </a:lnTo>
                <a:lnTo>
                  <a:pt x="510" y="1966"/>
                </a:lnTo>
                <a:lnTo>
                  <a:pt x="510" y="1961"/>
                </a:lnTo>
                <a:lnTo>
                  <a:pt x="508" y="1958"/>
                </a:lnTo>
                <a:lnTo>
                  <a:pt x="505" y="1954"/>
                </a:lnTo>
                <a:lnTo>
                  <a:pt x="505" y="1950"/>
                </a:lnTo>
                <a:lnTo>
                  <a:pt x="505" y="1944"/>
                </a:lnTo>
                <a:lnTo>
                  <a:pt x="508" y="1939"/>
                </a:lnTo>
                <a:lnTo>
                  <a:pt x="510" y="1937"/>
                </a:lnTo>
                <a:lnTo>
                  <a:pt x="511" y="1936"/>
                </a:lnTo>
                <a:lnTo>
                  <a:pt x="513" y="1934"/>
                </a:lnTo>
                <a:lnTo>
                  <a:pt x="515" y="1934"/>
                </a:lnTo>
                <a:lnTo>
                  <a:pt x="517" y="1934"/>
                </a:lnTo>
                <a:lnTo>
                  <a:pt x="519" y="1935"/>
                </a:lnTo>
                <a:lnTo>
                  <a:pt x="521" y="1937"/>
                </a:lnTo>
                <a:lnTo>
                  <a:pt x="524" y="1940"/>
                </a:lnTo>
                <a:lnTo>
                  <a:pt x="530" y="1947"/>
                </a:lnTo>
                <a:lnTo>
                  <a:pt x="535" y="1953"/>
                </a:lnTo>
                <a:lnTo>
                  <a:pt x="540" y="1957"/>
                </a:lnTo>
                <a:lnTo>
                  <a:pt x="545" y="1960"/>
                </a:lnTo>
                <a:lnTo>
                  <a:pt x="553" y="1964"/>
                </a:lnTo>
                <a:lnTo>
                  <a:pt x="555" y="1966"/>
                </a:lnTo>
                <a:lnTo>
                  <a:pt x="564" y="1972"/>
                </a:lnTo>
                <a:lnTo>
                  <a:pt x="586" y="1981"/>
                </a:lnTo>
                <a:lnTo>
                  <a:pt x="590" y="1982"/>
                </a:lnTo>
                <a:lnTo>
                  <a:pt x="594" y="1982"/>
                </a:lnTo>
                <a:lnTo>
                  <a:pt x="598" y="1980"/>
                </a:lnTo>
                <a:lnTo>
                  <a:pt x="601" y="1978"/>
                </a:lnTo>
                <a:lnTo>
                  <a:pt x="606" y="1977"/>
                </a:lnTo>
                <a:lnTo>
                  <a:pt x="612" y="1978"/>
                </a:lnTo>
                <a:lnTo>
                  <a:pt x="622" y="1980"/>
                </a:lnTo>
                <a:lnTo>
                  <a:pt x="634" y="1986"/>
                </a:lnTo>
                <a:lnTo>
                  <a:pt x="657" y="2000"/>
                </a:lnTo>
                <a:lnTo>
                  <a:pt x="674" y="2010"/>
                </a:lnTo>
                <a:lnTo>
                  <a:pt x="687" y="2020"/>
                </a:lnTo>
                <a:lnTo>
                  <a:pt x="698" y="2028"/>
                </a:lnTo>
                <a:lnTo>
                  <a:pt x="706" y="2032"/>
                </a:lnTo>
                <a:lnTo>
                  <a:pt x="713" y="2034"/>
                </a:lnTo>
                <a:lnTo>
                  <a:pt x="721" y="2037"/>
                </a:lnTo>
                <a:lnTo>
                  <a:pt x="729" y="2038"/>
                </a:lnTo>
                <a:lnTo>
                  <a:pt x="733" y="2039"/>
                </a:lnTo>
                <a:lnTo>
                  <a:pt x="736" y="2041"/>
                </a:lnTo>
                <a:lnTo>
                  <a:pt x="739" y="2042"/>
                </a:lnTo>
                <a:lnTo>
                  <a:pt x="741" y="2045"/>
                </a:lnTo>
                <a:lnTo>
                  <a:pt x="744" y="2048"/>
                </a:lnTo>
                <a:lnTo>
                  <a:pt x="745" y="2052"/>
                </a:lnTo>
                <a:lnTo>
                  <a:pt x="747" y="2056"/>
                </a:lnTo>
                <a:lnTo>
                  <a:pt x="747" y="2063"/>
                </a:lnTo>
                <a:lnTo>
                  <a:pt x="750" y="2085"/>
                </a:lnTo>
                <a:lnTo>
                  <a:pt x="752" y="2103"/>
                </a:lnTo>
                <a:lnTo>
                  <a:pt x="754" y="2110"/>
                </a:lnTo>
                <a:lnTo>
                  <a:pt x="756" y="2116"/>
                </a:lnTo>
                <a:lnTo>
                  <a:pt x="760" y="2121"/>
                </a:lnTo>
                <a:lnTo>
                  <a:pt x="765" y="2126"/>
                </a:lnTo>
                <a:lnTo>
                  <a:pt x="783" y="2140"/>
                </a:lnTo>
                <a:lnTo>
                  <a:pt x="807" y="2163"/>
                </a:lnTo>
                <a:lnTo>
                  <a:pt x="832" y="2185"/>
                </a:lnTo>
                <a:lnTo>
                  <a:pt x="850" y="2201"/>
                </a:lnTo>
                <a:lnTo>
                  <a:pt x="857" y="2204"/>
                </a:lnTo>
                <a:lnTo>
                  <a:pt x="864" y="2206"/>
                </a:lnTo>
                <a:lnTo>
                  <a:pt x="872" y="2207"/>
                </a:lnTo>
                <a:lnTo>
                  <a:pt x="879" y="2209"/>
                </a:lnTo>
                <a:lnTo>
                  <a:pt x="886" y="2210"/>
                </a:lnTo>
                <a:lnTo>
                  <a:pt x="892" y="2214"/>
                </a:lnTo>
                <a:lnTo>
                  <a:pt x="895" y="2217"/>
                </a:lnTo>
                <a:lnTo>
                  <a:pt x="898" y="2219"/>
                </a:lnTo>
                <a:lnTo>
                  <a:pt x="900" y="2223"/>
                </a:lnTo>
                <a:lnTo>
                  <a:pt x="901" y="2227"/>
                </a:lnTo>
                <a:lnTo>
                  <a:pt x="906" y="2239"/>
                </a:lnTo>
                <a:lnTo>
                  <a:pt x="912" y="2250"/>
                </a:lnTo>
                <a:lnTo>
                  <a:pt x="918" y="2262"/>
                </a:lnTo>
                <a:lnTo>
                  <a:pt x="926" y="2272"/>
                </a:lnTo>
                <a:lnTo>
                  <a:pt x="937" y="2290"/>
                </a:lnTo>
                <a:lnTo>
                  <a:pt x="942" y="2297"/>
                </a:lnTo>
                <a:lnTo>
                  <a:pt x="944" y="2301"/>
                </a:lnTo>
                <a:lnTo>
                  <a:pt x="947" y="2309"/>
                </a:lnTo>
                <a:lnTo>
                  <a:pt x="948" y="2315"/>
                </a:lnTo>
                <a:lnTo>
                  <a:pt x="948" y="2324"/>
                </a:lnTo>
                <a:lnTo>
                  <a:pt x="945" y="2332"/>
                </a:lnTo>
                <a:lnTo>
                  <a:pt x="942" y="2342"/>
                </a:lnTo>
                <a:lnTo>
                  <a:pt x="941" y="2348"/>
                </a:lnTo>
                <a:lnTo>
                  <a:pt x="941" y="2352"/>
                </a:lnTo>
                <a:lnTo>
                  <a:pt x="943" y="2356"/>
                </a:lnTo>
                <a:lnTo>
                  <a:pt x="945" y="2360"/>
                </a:lnTo>
                <a:lnTo>
                  <a:pt x="952" y="2367"/>
                </a:lnTo>
                <a:lnTo>
                  <a:pt x="961" y="2374"/>
                </a:lnTo>
                <a:lnTo>
                  <a:pt x="972" y="2380"/>
                </a:lnTo>
                <a:lnTo>
                  <a:pt x="982" y="2389"/>
                </a:lnTo>
                <a:lnTo>
                  <a:pt x="987" y="2393"/>
                </a:lnTo>
                <a:lnTo>
                  <a:pt x="992" y="2398"/>
                </a:lnTo>
                <a:lnTo>
                  <a:pt x="995" y="2404"/>
                </a:lnTo>
                <a:lnTo>
                  <a:pt x="998" y="2411"/>
                </a:lnTo>
                <a:lnTo>
                  <a:pt x="1009" y="2436"/>
                </a:lnTo>
                <a:lnTo>
                  <a:pt x="1019" y="2460"/>
                </a:lnTo>
                <a:lnTo>
                  <a:pt x="1023" y="2472"/>
                </a:lnTo>
                <a:lnTo>
                  <a:pt x="1025" y="2485"/>
                </a:lnTo>
                <a:lnTo>
                  <a:pt x="1027" y="2500"/>
                </a:lnTo>
                <a:lnTo>
                  <a:pt x="1027" y="2515"/>
                </a:lnTo>
                <a:lnTo>
                  <a:pt x="1025" y="2532"/>
                </a:lnTo>
                <a:lnTo>
                  <a:pt x="1022" y="2547"/>
                </a:lnTo>
                <a:lnTo>
                  <a:pt x="1017" y="2562"/>
                </a:lnTo>
                <a:lnTo>
                  <a:pt x="1013" y="2576"/>
                </a:lnTo>
                <a:lnTo>
                  <a:pt x="1007" y="2590"/>
                </a:lnTo>
                <a:lnTo>
                  <a:pt x="1003" y="2602"/>
                </a:lnTo>
                <a:lnTo>
                  <a:pt x="1001" y="2614"/>
                </a:lnTo>
                <a:lnTo>
                  <a:pt x="1000" y="2626"/>
                </a:lnTo>
                <a:lnTo>
                  <a:pt x="1001" y="2632"/>
                </a:lnTo>
                <a:lnTo>
                  <a:pt x="1003" y="2639"/>
                </a:lnTo>
                <a:lnTo>
                  <a:pt x="1005" y="2645"/>
                </a:lnTo>
                <a:lnTo>
                  <a:pt x="1007" y="2653"/>
                </a:lnTo>
                <a:lnTo>
                  <a:pt x="1015" y="2667"/>
                </a:lnTo>
                <a:lnTo>
                  <a:pt x="1022" y="2683"/>
                </a:lnTo>
                <a:lnTo>
                  <a:pt x="1040" y="2713"/>
                </a:lnTo>
                <a:lnTo>
                  <a:pt x="1053" y="2742"/>
                </a:lnTo>
                <a:lnTo>
                  <a:pt x="1066" y="2768"/>
                </a:lnTo>
                <a:lnTo>
                  <a:pt x="1079" y="2794"/>
                </a:lnTo>
                <a:lnTo>
                  <a:pt x="1086" y="2806"/>
                </a:lnTo>
                <a:lnTo>
                  <a:pt x="1092" y="2816"/>
                </a:lnTo>
                <a:lnTo>
                  <a:pt x="1099" y="2824"/>
                </a:lnTo>
                <a:lnTo>
                  <a:pt x="1106" y="2831"/>
                </a:lnTo>
                <a:lnTo>
                  <a:pt x="1123" y="2837"/>
                </a:lnTo>
                <a:lnTo>
                  <a:pt x="1140" y="2843"/>
                </a:lnTo>
                <a:lnTo>
                  <a:pt x="1149" y="2845"/>
                </a:lnTo>
                <a:lnTo>
                  <a:pt x="1157" y="2850"/>
                </a:lnTo>
                <a:lnTo>
                  <a:pt x="1163" y="2854"/>
                </a:lnTo>
                <a:lnTo>
                  <a:pt x="1168" y="2858"/>
                </a:lnTo>
                <a:lnTo>
                  <a:pt x="1175" y="2872"/>
                </a:lnTo>
                <a:lnTo>
                  <a:pt x="1184" y="2886"/>
                </a:lnTo>
                <a:lnTo>
                  <a:pt x="1192" y="2900"/>
                </a:lnTo>
                <a:lnTo>
                  <a:pt x="1196" y="2910"/>
                </a:lnTo>
                <a:lnTo>
                  <a:pt x="1198" y="2920"/>
                </a:lnTo>
                <a:lnTo>
                  <a:pt x="1199" y="2931"/>
                </a:lnTo>
                <a:lnTo>
                  <a:pt x="1201" y="2938"/>
                </a:lnTo>
                <a:lnTo>
                  <a:pt x="1202" y="2943"/>
                </a:lnTo>
                <a:lnTo>
                  <a:pt x="1205" y="2949"/>
                </a:lnTo>
                <a:lnTo>
                  <a:pt x="1207" y="2953"/>
                </a:lnTo>
                <a:lnTo>
                  <a:pt x="1212" y="2957"/>
                </a:lnTo>
                <a:lnTo>
                  <a:pt x="1216" y="2960"/>
                </a:lnTo>
                <a:lnTo>
                  <a:pt x="1221" y="2962"/>
                </a:lnTo>
                <a:lnTo>
                  <a:pt x="1225" y="2964"/>
                </a:lnTo>
                <a:lnTo>
                  <a:pt x="1229" y="2966"/>
                </a:lnTo>
                <a:lnTo>
                  <a:pt x="1234" y="2968"/>
                </a:lnTo>
                <a:lnTo>
                  <a:pt x="1237" y="2970"/>
                </a:lnTo>
                <a:lnTo>
                  <a:pt x="1239" y="2974"/>
                </a:lnTo>
                <a:lnTo>
                  <a:pt x="1241" y="2989"/>
                </a:lnTo>
                <a:lnTo>
                  <a:pt x="1240" y="2996"/>
                </a:lnTo>
                <a:lnTo>
                  <a:pt x="1238" y="2997"/>
                </a:lnTo>
                <a:lnTo>
                  <a:pt x="1235" y="3000"/>
                </a:lnTo>
                <a:lnTo>
                  <a:pt x="1233" y="3003"/>
                </a:lnTo>
                <a:lnTo>
                  <a:pt x="1232" y="3005"/>
                </a:lnTo>
                <a:lnTo>
                  <a:pt x="1232" y="3008"/>
                </a:lnTo>
                <a:lnTo>
                  <a:pt x="1233" y="3010"/>
                </a:lnTo>
                <a:lnTo>
                  <a:pt x="1235" y="3013"/>
                </a:lnTo>
                <a:lnTo>
                  <a:pt x="1239" y="3015"/>
                </a:lnTo>
                <a:lnTo>
                  <a:pt x="1243" y="3017"/>
                </a:lnTo>
                <a:lnTo>
                  <a:pt x="1248" y="3019"/>
                </a:lnTo>
                <a:lnTo>
                  <a:pt x="1259" y="3023"/>
                </a:lnTo>
                <a:lnTo>
                  <a:pt x="1267" y="3028"/>
                </a:lnTo>
                <a:lnTo>
                  <a:pt x="1273" y="3035"/>
                </a:lnTo>
                <a:lnTo>
                  <a:pt x="1280" y="3044"/>
                </a:lnTo>
                <a:lnTo>
                  <a:pt x="1283" y="3050"/>
                </a:lnTo>
                <a:lnTo>
                  <a:pt x="1285" y="3055"/>
                </a:lnTo>
                <a:lnTo>
                  <a:pt x="1287" y="3060"/>
                </a:lnTo>
                <a:lnTo>
                  <a:pt x="1287" y="3065"/>
                </a:lnTo>
                <a:lnTo>
                  <a:pt x="1287" y="3074"/>
                </a:lnTo>
                <a:lnTo>
                  <a:pt x="1287" y="3079"/>
                </a:lnTo>
                <a:lnTo>
                  <a:pt x="1289" y="3082"/>
                </a:lnTo>
                <a:lnTo>
                  <a:pt x="1294" y="3087"/>
                </a:lnTo>
                <a:lnTo>
                  <a:pt x="1309" y="3092"/>
                </a:lnTo>
                <a:lnTo>
                  <a:pt x="1324" y="3097"/>
                </a:lnTo>
                <a:lnTo>
                  <a:pt x="1327" y="3100"/>
                </a:lnTo>
                <a:lnTo>
                  <a:pt x="1330" y="3101"/>
                </a:lnTo>
                <a:lnTo>
                  <a:pt x="1332" y="3101"/>
                </a:lnTo>
                <a:lnTo>
                  <a:pt x="1334" y="3102"/>
                </a:lnTo>
                <a:lnTo>
                  <a:pt x="1335" y="3102"/>
                </a:lnTo>
                <a:lnTo>
                  <a:pt x="1336" y="3103"/>
                </a:lnTo>
                <a:lnTo>
                  <a:pt x="1337" y="3105"/>
                </a:lnTo>
                <a:lnTo>
                  <a:pt x="1337" y="3108"/>
                </a:lnTo>
                <a:lnTo>
                  <a:pt x="1337" y="3116"/>
                </a:lnTo>
                <a:lnTo>
                  <a:pt x="1338" y="3121"/>
                </a:lnTo>
                <a:lnTo>
                  <a:pt x="1339" y="3124"/>
                </a:lnTo>
                <a:lnTo>
                  <a:pt x="1342" y="3125"/>
                </a:lnTo>
                <a:lnTo>
                  <a:pt x="1347" y="3124"/>
                </a:lnTo>
                <a:lnTo>
                  <a:pt x="1353" y="3122"/>
                </a:lnTo>
                <a:lnTo>
                  <a:pt x="1356" y="3120"/>
                </a:lnTo>
                <a:lnTo>
                  <a:pt x="1358" y="3118"/>
                </a:lnTo>
                <a:lnTo>
                  <a:pt x="1359" y="3115"/>
                </a:lnTo>
                <a:lnTo>
                  <a:pt x="1359" y="3110"/>
                </a:lnTo>
                <a:lnTo>
                  <a:pt x="1357" y="3104"/>
                </a:lnTo>
                <a:lnTo>
                  <a:pt x="1353" y="3098"/>
                </a:lnTo>
                <a:lnTo>
                  <a:pt x="1347" y="3091"/>
                </a:lnTo>
                <a:lnTo>
                  <a:pt x="1339" y="3083"/>
                </a:lnTo>
                <a:lnTo>
                  <a:pt x="1330" y="3072"/>
                </a:lnTo>
                <a:lnTo>
                  <a:pt x="1323" y="3060"/>
                </a:lnTo>
                <a:lnTo>
                  <a:pt x="1317" y="3050"/>
                </a:lnTo>
                <a:lnTo>
                  <a:pt x="1314" y="3041"/>
                </a:lnTo>
                <a:lnTo>
                  <a:pt x="1312" y="3036"/>
                </a:lnTo>
                <a:lnTo>
                  <a:pt x="1310" y="3032"/>
                </a:lnTo>
                <a:lnTo>
                  <a:pt x="1307" y="3029"/>
                </a:lnTo>
                <a:lnTo>
                  <a:pt x="1305" y="3027"/>
                </a:lnTo>
                <a:lnTo>
                  <a:pt x="1295" y="3015"/>
                </a:lnTo>
                <a:lnTo>
                  <a:pt x="1278" y="2992"/>
                </a:lnTo>
                <a:lnTo>
                  <a:pt x="1260" y="2969"/>
                </a:lnTo>
                <a:lnTo>
                  <a:pt x="1250" y="2957"/>
                </a:lnTo>
                <a:lnTo>
                  <a:pt x="1247" y="2951"/>
                </a:lnTo>
                <a:lnTo>
                  <a:pt x="1242" y="2941"/>
                </a:lnTo>
                <a:lnTo>
                  <a:pt x="1240" y="2934"/>
                </a:lnTo>
                <a:lnTo>
                  <a:pt x="1239" y="2929"/>
                </a:lnTo>
                <a:lnTo>
                  <a:pt x="1239" y="2926"/>
                </a:lnTo>
                <a:lnTo>
                  <a:pt x="1239" y="2924"/>
                </a:lnTo>
                <a:lnTo>
                  <a:pt x="1240" y="2923"/>
                </a:lnTo>
                <a:lnTo>
                  <a:pt x="1241" y="2921"/>
                </a:lnTo>
                <a:lnTo>
                  <a:pt x="1247" y="2917"/>
                </a:lnTo>
                <a:lnTo>
                  <a:pt x="1252" y="2915"/>
                </a:lnTo>
                <a:lnTo>
                  <a:pt x="1256" y="2915"/>
                </a:lnTo>
                <a:lnTo>
                  <a:pt x="1259" y="2915"/>
                </a:lnTo>
                <a:lnTo>
                  <a:pt x="1261" y="2917"/>
                </a:lnTo>
                <a:lnTo>
                  <a:pt x="1264" y="2921"/>
                </a:lnTo>
                <a:lnTo>
                  <a:pt x="1269" y="2933"/>
                </a:lnTo>
                <a:lnTo>
                  <a:pt x="1276" y="2944"/>
                </a:lnTo>
                <a:lnTo>
                  <a:pt x="1279" y="2948"/>
                </a:lnTo>
                <a:lnTo>
                  <a:pt x="1280" y="2952"/>
                </a:lnTo>
                <a:lnTo>
                  <a:pt x="1280" y="2956"/>
                </a:lnTo>
                <a:lnTo>
                  <a:pt x="1280" y="2962"/>
                </a:lnTo>
                <a:lnTo>
                  <a:pt x="1280" y="2966"/>
                </a:lnTo>
                <a:lnTo>
                  <a:pt x="1282" y="2971"/>
                </a:lnTo>
                <a:lnTo>
                  <a:pt x="1285" y="2975"/>
                </a:lnTo>
                <a:lnTo>
                  <a:pt x="1290" y="2981"/>
                </a:lnTo>
                <a:lnTo>
                  <a:pt x="1298" y="2986"/>
                </a:lnTo>
                <a:lnTo>
                  <a:pt x="1306" y="2994"/>
                </a:lnTo>
                <a:lnTo>
                  <a:pt x="1314" y="3004"/>
                </a:lnTo>
                <a:lnTo>
                  <a:pt x="1322" y="3013"/>
                </a:lnTo>
                <a:lnTo>
                  <a:pt x="1335" y="3032"/>
                </a:lnTo>
                <a:lnTo>
                  <a:pt x="1343" y="3042"/>
                </a:lnTo>
                <a:lnTo>
                  <a:pt x="1348" y="3049"/>
                </a:lnTo>
                <a:lnTo>
                  <a:pt x="1357" y="3055"/>
                </a:lnTo>
                <a:lnTo>
                  <a:pt x="1368" y="3063"/>
                </a:lnTo>
                <a:lnTo>
                  <a:pt x="1380" y="3074"/>
                </a:lnTo>
                <a:lnTo>
                  <a:pt x="1392" y="3084"/>
                </a:lnTo>
                <a:lnTo>
                  <a:pt x="1401" y="3093"/>
                </a:lnTo>
                <a:lnTo>
                  <a:pt x="1405" y="3097"/>
                </a:lnTo>
                <a:lnTo>
                  <a:pt x="1410" y="3101"/>
                </a:lnTo>
                <a:lnTo>
                  <a:pt x="1413" y="3106"/>
                </a:lnTo>
                <a:lnTo>
                  <a:pt x="1417" y="3113"/>
                </a:lnTo>
                <a:lnTo>
                  <a:pt x="1421" y="3119"/>
                </a:lnTo>
                <a:lnTo>
                  <a:pt x="1425" y="3124"/>
                </a:lnTo>
                <a:lnTo>
                  <a:pt x="1431" y="3129"/>
                </a:lnTo>
                <a:lnTo>
                  <a:pt x="1435" y="3134"/>
                </a:lnTo>
                <a:lnTo>
                  <a:pt x="1439" y="3138"/>
                </a:lnTo>
                <a:lnTo>
                  <a:pt x="1442" y="3142"/>
                </a:lnTo>
                <a:lnTo>
                  <a:pt x="1443" y="3146"/>
                </a:lnTo>
                <a:lnTo>
                  <a:pt x="1442" y="3152"/>
                </a:lnTo>
                <a:lnTo>
                  <a:pt x="1438" y="3162"/>
                </a:lnTo>
                <a:lnTo>
                  <a:pt x="1433" y="3168"/>
                </a:lnTo>
                <a:lnTo>
                  <a:pt x="1432" y="3171"/>
                </a:lnTo>
                <a:lnTo>
                  <a:pt x="1431" y="3173"/>
                </a:lnTo>
                <a:lnTo>
                  <a:pt x="1431" y="3175"/>
                </a:lnTo>
                <a:lnTo>
                  <a:pt x="1431" y="3178"/>
                </a:lnTo>
                <a:lnTo>
                  <a:pt x="1436" y="3185"/>
                </a:lnTo>
                <a:lnTo>
                  <a:pt x="1446" y="3196"/>
                </a:lnTo>
                <a:lnTo>
                  <a:pt x="1461" y="3209"/>
                </a:lnTo>
                <a:lnTo>
                  <a:pt x="1477" y="3222"/>
                </a:lnTo>
                <a:lnTo>
                  <a:pt x="1487" y="3227"/>
                </a:lnTo>
                <a:lnTo>
                  <a:pt x="1499" y="3233"/>
                </a:lnTo>
                <a:lnTo>
                  <a:pt x="1513" y="3238"/>
                </a:lnTo>
                <a:lnTo>
                  <a:pt x="1528" y="3245"/>
                </a:lnTo>
                <a:lnTo>
                  <a:pt x="1555" y="3254"/>
                </a:lnTo>
                <a:lnTo>
                  <a:pt x="1577" y="3262"/>
                </a:lnTo>
                <a:lnTo>
                  <a:pt x="1596" y="3273"/>
                </a:lnTo>
                <a:lnTo>
                  <a:pt x="1617" y="3284"/>
                </a:lnTo>
                <a:lnTo>
                  <a:pt x="1628" y="3290"/>
                </a:lnTo>
                <a:lnTo>
                  <a:pt x="1636" y="3294"/>
                </a:lnTo>
                <a:lnTo>
                  <a:pt x="1639" y="3294"/>
                </a:lnTo>
                <a:lnTo>
                  <a:pt x="1642" y="3295"/>
                </a:lnTo>
                <a:lnTo>
                  <a:pt x="1645" y="3294"/>
                </a:lnTo>
                <a:lnTo>
                  <a:pt x="1647" y="3292"/>
                </a:lnTo>
                <a:lnTo>
                  <a:pt x="1656" y="3282"/>
                </a:lnTo>
                <a:lnTo>
                  <a:pt x="1666" y="3273"/>
                </a:lnTo>
                <a:lnTo>
                  <a:pt x="1672" y="3269"/>
                </a:lnTo>
                <a:lnTo>
                  <a:pt x="1677" y="3267"/>
                </a:lnTo>
                <a:lnTo>
                  <a:pt x="1681" y="3264"/>
                </a:lnTo>
                <a:lnTo>
                  <a:pt x="1684" y="3266"/>
                </a:lnTo>
                <a:lnTo>
                  <a:pt x="1688" y="3270"/>
                </a:lnTo>
                <a:lnTo>
                  <a:pt x="1693" y="3277"/>
                </a:lnTo>
                <a:lnTo>
                  <a:pt x="1695" y="3280"/>
                </a:lnTo>
                <a:lnTo>
                  <a:pt x="1698" y="3282"/>
                </a:lnTo>
                <a:lnTo>
                  <a:pt x="1703" y="3284"/>
                </a:lnTo>
                <a:lnTo>
                  <a:pt x="1708" y="3284"/>
                </a:lnTo>
                <a:lnTo>
                  <a:pt x="1716" y="3285"/>
                </a:lnTo>
                <a:lnTo>
                  <a:pt x="1722" y="3289"/>
                </a:lnTo>
                <a:lnTo>
                  <a:pt x="1728" y="3292"/>
                </a:lnTo>
                <a:lnTo>
                  <a:pt x="1734" y="3297"/>
                </a:lnTo>
                <a:lnTo>
                  <a:pt x="1745" y="3306"/>
                </a:lnTo>
                <a:lnTo>
                  <a:pt x="1753" y="3315"/>
                </a:lnTo>
                <a:lnTo>
                  <a:pt x="1764" y="3321"/>
                </a:lnTo>
                <a:lnTo>
                  <a:pt x="1778" y="3329"/>
                </a:lnTo>
                <a:lnTo>
                  <a:pt x="1793" y="3336"/>
                </a:lnTo>
                <a:lnTo>
                  <a:pt x="1803" y="3341"/>
                </a:lnTo>
                <a:lnTo>
                  <a:pt x="1806" y="3342"/>
                </a:lnTo>
                <a:lnTo>
                  <a:pt x="1810" y="3341"/>
                </a:lnTo>
                <a:lnTo>
                  <a:pt x="1813" y="3338"/>
                </a:lnTo>
                <a:lnTo>
                  <a:pt x="1818" y="3337"/>
                </a:lnTo>
                <a:lnTo>
                  <a:pt x="1820" y="3336"/>
                </a:lnTo>
                <a:lnTo>
                  <a:pt x="1822" y="3336"/>
                </a:lnTo>
                <a:lnTo>
                  <a:pt x="1826" y="3337"/>
                </a:lnTo>
                <a:lnTo>
                  <a:pt x="1828" y="3338"/>
                </a:lnTo>
                <a:lnTo>
                  <a:pt x="1831" y="3340"/>
                </a:lnTo>
                <a:lnTo>
                  <a:pt x="1833" y="3343"/>
                </a:lnTo>
                <a:lnTo>
                  <a:pt x="1836" y="3348"/>
                </a:lnTo>
                <a:lnTo>
                  <a:pt x="1839" y="3354"/>
                </a:lnTo>
                <a:lnTo>
                  <a:pt x="1849" y="3374"/>
                </a:lnTo>
                <a:lnTo>
                  <a:pt x="1856" y="3387"/>
                </a:lnTo>
                <a:lnTo>
                  <a:pt x="1862" y="3396"/>
                </a:lnTo>
                <a:lnTo>
                  <a:pt x="1870" y="3407"/>
                </a:lnTo>
                <a:lnTo>
                  <a:pt x="1876" y="3413"/>
                </a:lnTo>
                <a:lnTo>
                  <a:pt x="1884" y="3421"/>
                </a:lnTo>
                <a:lnTo>
                  <a:pt x="1895" y="3429"/>
                </a:lnTo>
                <a:lnTo>
                  <a:pt x="1905" y="3436"/>
                </a:lnTo>
                <a:lnTo>
                  <a:pt x="1925" y="3450"/>
                </a:lnTo>
                <a:lnTo>
                  <a:pt x="1936" y="3458"/>
                </a:lnTo>
                <a:lnTo>
                  <a:pt x="1938" y="3460"/>
                </a:lnTo>
                <a:lnTo>
                  <a:pt x="1942" y="3465"/>
                </a:lnTo>
                <a:lnTo>
                  <a:pt x="1947" y="3468"/>
                </a:lnTo>
                <a:lnTo>
                  <a:pt x="1953" y="3472"/>
                </a:lnTo>
                <a:lnTo>
                  <a:pt x="1962" y="3474"/>
                </a:lnTo>
                <a:lnTo>
                  <a:pt x="1969" y="3476"/>
                </a:lnTo>
                <a:lnTo>
                  <a:pt x="1973" y="3476"/>
                </a:lnTo>
                <a:lnTo>
                  <a:pt x="1978" y="3476"/>
                </a:lnTo>
                <a:lnTo>
                  <a:pt x="1982" y="3476"/>
                </a:lnTo>
                <a:lnTo>
                  <a:pt x="1986" y="3475"/>
                </a:lnTo>
                <a:lnTo>
                  <a:pt x="1998" y="3467"/>
                </a:lnTo>
                <a:lnTo>
                  <a:pt x="2007" y="3459"/>
                </a:lnTo>
                <a:lnTo>
                  <a:pt x="2011" y="3457"/>
                </a:lnTo>
                <a:lnTo>
                  <a:pt x="2015" y="3456"/>
                </a:lnTo>
                <a:lnTo>
                  <a:pt x="2020" y="3457"/>
                </a:lnTo>
                <a:lnTo>
                  <a:pt x="2027" y="3460"/>
                </a:lnTo>
                <a:lnTo>
                  <a:pt x="2033" y="3464"/>
                </a:lnTo>
                <a:lnTo>
                  <a:pt x="2039" y="3466"/>
                </a:lnTo>
                <a:lnTo>
                  <a:pt x="2045" y="3467"/>
                </a:lnTo>
                <a:lnTo>
                  <a:pt x="2049" y="3468"/>
                </a:lnTo>
                <a:lnTo>
                  <a:pt x="2053" y="3469"/>
                </a:lnTo>
                <a:lnTo>
                  <a:pt x="2055" y="3471"/>
                </a:lnTo>
                <a:lnTo>
                  <a:pt x="2057" y="3474"/>
                </a:lnTo>
                <a:lnTo>
                  <a:pt x="2057" y="3478"/>
                </a:lnTo>
                <a:lnTo>
                  <a:pt x="2058" y="3485"/>
                </a:lnTo>
                <a:lnTo>
                  <a:pt x="2061" y="3491"/>
                </a:lnTo>
                <a:lnTo>
                  <a:pt x="2064" y="3497"/>
                </a:lnTo>
                <a:lnTo>
                  <a:pt x="2068" y="3504"/>
                </a:lnTo>
                <a:lnTo>
                  <a:pt x="2070" y="3512"/>
                </a:lnTo>
                <a:lnTo>
                  <a:pt x="2070" y="3520"/>
                </a:lnTo>
                <a:lnTo>
                  <a:pt x="2069" y="3524"/>
                </a:lnTo>
                <a:lnTo>
                  <a:pt x="2068" y="3530"/>
                </a:lnTo>
                <a:lnTo>
                  <a:pt x="2064" y="3534"/>
                </a:lnTo>
                <a:lnTo>
                  <a:pt x="2060" y="3539"/>
                </a:lnTo>
                <a:lnTo>
                  <a:pt x="2039" y="3564"/>
                </a:lnTo>
                <a:lnTo>
                  <a:pt x="2016" y="3591"/>
                </a:lnTo>
                <a:lnTo>
                  <a:pt x="2006" y="3604"/>
                </a:lnTo>
                <a:lnTo>
                  <a:pt x="1996" y="3615"/>
                </a:lnTo>
                <a:lnTo>
                  <a:pt x="1989" y="3626"/>
                </a:lnTo>
                <a:lnTo>
                  <a:pt x="1986" y="3633"/>
                </a:lnTo>
                <a:lnTo>
                  <a:pt x="1985" y="3641"/>
                </a:lnTo>
                <a:lnTo>
                  <a:pt x="1985" y="3651"/>
                </a:lnTo>
                <a:lnTo>
                  <a:pt x="1986" y="3662"/>
                </a:lnTo>
                <a:lnTo>
                  <a:pt x="1987" y="3672"/>
                </a:lnTo>
                <a:lnTo>
                  <a:pt x="1991" y="3691"/>
                </a:lnTo>
                <a:lnTo>
                  <a:pt x="1992" y="3698"/>
                </a:lnTo>
                <a:lnTo>
                  <a:pt x="1987" y="3703"/>
                </a:lnTo>
                <a:lnTo>
                  <a:pt x="1978" y="3717"/>
                </a:lnTo>
                <a:lnTo>
                  <a:pt x="1972" y="3727"/>
                </a:lnTo>
                <a:lnTo>
                  <a:pt x="1968" y="3736"/>
                </a:lnTo>
                <a:lnTo>
                  <a:pt x="1967" y="3740"/>
                </a:lnTo>
                <a:lnTo>
                  <a:pt x="1966" y="3745"/>
                </a:lnTo>
                <a:lnTo>
                  <a:pt x="1967" y="3750"/>
                </a:lnTo>
                <a:lnTo>
                  <a:pt x="1968" y="3754"/>
                </a:lnTo>
                <a:lnTo>
                  <a:pt x="1972" y="3762"/>
                </a:lnTo>
                <a:lnTo>
                  <a:pt x="1981" y="3772"/>
                </a:lnTo>
                <a:lnTo>
                  <a:pt x="1990" y="3782"/>
                </a:lnTo>
                <a:lnTo>
                  <a:pt x="2001" y="3794"/>
                </a:lnTo>
                <a:lnTo>
                  <a:pt x="2012" y="3807"/>
                </a:lnTo>
                <a:lnTo>
                  <a:pt x="2023" y="3824"/>
                </a:lnTo>
                <a:lnTo>
                  <a:pt x="2028" y="3832"/>
                </a:lnTo>
                <a:lnTo>
                  <a:pt x="2032" y="3843"/>
                </a:lnTo>
                <a:lnTo>
                  <a:pt x="2036" y="3853"/>
                </a:lnTo>
                <a:lnTo>
                  <a:pt x="2039" y="3865"/>
                </a:lnTo>
                <a:lnTo>
                  <a:pt x="2046" y="3886"/>
                </a:lnTo>
                <a:lnTo>
                  <a:pt x="2050" y="3903"/>
                </a:lnTo>
                <a:lnTo>
                  <a:pt x="2054" y="3915"/>
                </a:lnTo>
                <a:lnTo>
                  <a:pt x="2058" y="3925"/>
                </a:lnTo>
                <a:lnTo>
                  <a:pt x="2063" y="3934"/>
                </a:lnTo>
                <a:lnTo>
                  <a:pt x="2070" y="3942"/>
                </a:lnTo>
                <a:lnTo>
                  <a:pt x="2077" y="3952"/>
                </a:lnTo>
                <a:lnTo>
                  <a:pt x="2086" y="3963"/>
                </a:lnTo>
                <a:lnTo>
                  <a:pt x="2093" y="3970"/>
                </a:lnTo>
                <a:lnTo>
                  <a:pt x="2101" y="3976"/>
                </a:lnTo>
                <a:lnTo>
                  <a:pt x="2110" y="3982"/>
                </a:lnTo>
                <a:lnTo>
                  <a:pt x="2119" y="3987"/>
                </a:lnTo>
                <a:lnTo>
                  <a:pt x="2140" y="3998"/>
                </a:lnTo>
                <a:lnTo>
                  <a:pt x="2162" y="4008"/>
                </a:lnTo>
                <a:lnTo>
                  <a:pt x="2182" y="4018"/>
                </a:lnTo>
                <a:lnTo>
                  <a:pt x="2199" y="4028"/>
                </a:lnTo>
                <a:lnTo>
                  <a:pt x="2205" y="4032"/>
                </a:lnTo>
                <a:lnTo>
                  <a:pt x="2209" y="4038"/>
                </a:lnTo>
                <a:lnTo>
                  <a:pt x="2211" y="4040"/>
                </a:lnTo>
                <a:lnTo>
                  <a:pt x="2212" y="4043"/>
                </a:lnTo>
                <a:lnTo>
                  <a:pt x="2212" y="4045"/>
                </a:lnTo>
                <a:lnTo>
                  <a:pt x="2212" y="4047"/>
                </a:lnTo>
                <a:lnTo>
                  <a:pt x="2210" y="4067"/>
                </a:lnTo>
                <a:lnTo>
                  <a:pt x="2209" y="4086"/>
                </a:lnTo>
                <a:lnTo>
                  <a:pt x="2209" y="4103"/>
                </a:lnTo>
                <a:lnTo>
                  <a:pt x="2211" y="4116"/>
                </a:lnTo>
                <a:lnTo>
                  <a:pt x="2213" y="4127"/>
                </a:lnTo>
                <a:lnTo>
                  <a:pt x="2214" y="4132"/>
                </a:lnTo>
                <a:lnTo>
                  <a:pt x="2214" y="4136"/>
                </a:lnTo>
                <a:lnTo>
                  <a:pt x="2213" y="4139"/>
                </a:lnTo>
                <a:lnTo>
                  <a:pt x="2211" y="4146"/>
                </a:lnTo>
                <a:lnTo>
                  <a:pt x="2209" y="4155"/>
                </a:lnTo>
                <a:lnTo>
                  <a:pt x="2207" y="4166"/>
                </a:lnTo>
                <a:lnTo>
                  <a:pt x="2206" y="4175"/>
                </a:lnTo>
                <a:lnTo>
                  <a:pt x="2205" y="4185"/>
                </a:lnTo>
                <a:lnTo>
                  <a:pt x="2204" y="4196"/>
                </a:lnTo>
                <a:lnTo>
                  <a:pt x="2202" y="4204"/>
                </a:lnTo>
                <a:lnTo>
                  <a:pt x="2201" y="4210"/>
                </a:lnTo>
                <a:lnTo>
                  <a:pt x="2199" y="4221"/>
                </a:lnTo>
                <a:lnTo>
                  <a:pt x="2195" y="4243"/>
                </a:lnTo>
                <a:lnTo>
                  <a:pt x="2193" y="4263"/>
                </a:lnTo>
                <a:lnTo>
                  <a:pt x="2192" y="4272"/>
                </a:lnTo>
                <a:lnTo>
                  <a:pt x="2188" y="4271"/>
                </a:lnTo>
                <a:lnTo>
                  <a:pt x="2179" y="4270"/>
                </a:lnTo>
                <a:lnTo>
                  <a:pt x="2173" y="4270"/>
                </a:lnTo>
                <a:lnTo>
                  <a:pt x="2170" y="4271"/>
                </a:lnTo>
                <a:lnTo>
                  <a:pt x="2168" y="4272"/>
                </a:lnTo>
                <a:lnTo>
                  <a:pt x="2167" y="4273"/>
                </a:lnTo>
                <a:lnTo>
                  <a:pt x="2167" y="4276"/>
                </a:lnTo>
                <a:lnTo>
                  <a:pt x="2167" y="4278"/>
                </a:lnTo>
                <a:lnTo>
                  <a:pt x="2179" y="4288"/>
                </a:lnTo>
                <a:lnTo>
                  <a:pt x="2190" y="4298"/>
                </a:lnTo>
                <a:lnTo>
                  <a:pt x="2190" y="4306"/>
                </a:lnTo>
                <a:lnTo>
                  <a:pt x="2189" y="4315"/>
                </a:lnTo>
                <a:lnTo>
                  <a:pt x="2187" y="4324"/>
                </a:lnTo>
                <a:lnTo>
                  <a:pt x="2187" y="4329"/>
                </a:lnTo>
                <a:lnTo>
                  <a:pt x="2181" y="4337"/>
                </a:lnTo>
                <a:lnTo>
                  <a:pt x="2173" y="4346"/>
                </a:lnTo>
                <a:lnTo>
                  <a:pt x="2173" y="4351"/>
                </a:lnTo>
                <a:lnTo>
                  <a:pt x="2173" y="4361"/>
                </a:lnTo>
                <a:lnTo>
                  <a:pt x="2174" y="4373"/>
                </a:lnTo>
                <a:lnTo>
                  <a:pt x="2176" y="4382"/>
                </a:lnTo>
                <a:lnTo>
                  <a:pt x="2178" y="4388"/>
                </a:lnTo>
                <a:lnTo>
                  <a:pt x="2179" y="4393"/>
                </a:lnTo>
                <a:lnTo>
                  <a:pt x="2179" y="4397"/>
                </a:lnTo>
                <a:lnTo>
                  <a:pt x="2178" y="4401"/>
                </a:lnTo>
                <a:lnTo>
                  <a:pt x="2174" y="4415"/>
                </a:lnTo>
                <a:lnTo>
                  <a:pt x="2171" y="4430"/>
                </a:lnTo>
                <a:lnTo>
                  <a:pt x="2168" y="4439"/>
                </a:lnTo>
                <a:lnTo>
                  <a:pt x="2164" y="4453"/>
                </a:lnTo>
                <a:lnTo>
                  <a:pt x="2158" y="4468"/>
                </a:lnTo>
                <a:lnTo>
                  <a:pt x="2150" y="4484"/>
                </a:lnTo>
                <a:lnTo>
                  <a:pt x="2143" y="4498"/>
                </a:lnTo>
                <a:lnTo>
                  <a:pt x="2138" y="4507"/>
                </a:lnTo>
                <a:lnTo>
                  <a:pt x="2136" y="4510"/>
                </a:lnTo>
                <a:lnTo>
                  <a:pt x="2136" y="4513"/>
                </a:lnTo>
                <a:lnTo>
                  <a:pt x="2135" y="4517"/>
                </a:lnTo>
                <a:lnTo>
                  <a:pt x="2136" y="4519"/>
                </a:lnTo>
                <a:lnTo>
                  <a:pt x="2138" y="4523"/>
                </a:lnTo>
                <a:lnTo>
                  <a:pt x="2141" y="4526"/>
                </a:lnTo>
                <a:lnTo>
                  <a:pt x="2142" y="4527"/>
                </a:lnTo>
                <a:lnTo>
                  <a:pt x="2143" y="4528"/>
                </a:lnTo>
                <a:lnTo>
                  <a:pt x="2143" y="4530"/>
                </a:lnTo>
                <a:lnTo>
                  <a:pt x="2142" y="4532"/>
                </a:lnTo>
                <a:lnTo>
                  <a:pt x="2139" y="4535"/>
                </a:lnTo>
                <a:lnTo>
                  <a:pt x="2137" y="4536"/>
                </a:lnTo>
                <a:lnTo>
                  <a:pt x="2136" y="4537"/>
                </a:lnTo>
                <a:lnTo>
                  <a:pt x="2136" y="4539"/>
                </a:lnTo>
                <a:lnTo>
                  <a:pt x="2136" y="4541"/>
                </a:lnTo>
                <a:lnTo>
                  <a:pt x="2136" y="4543"/>
                </a:lnTo>
                <a:lnTo>
                  <a:pt x="2141" y="4556"/>
                </a:lnTo>
                <a:lnTo>
                  <a:pt x="2145" y="4571"/>
                </a:lnTo>
                <a:lnTo>
                  <a:pt x="2138" y="4583"/>
                </a:lnTo>
                <a:lnTo>
                  <a:pt x="2130" y="4594"/>
                </a:lnTo>
                <a:lnTo>
                  <a:pt x="2130" y="4600"/>
                </a:lnTo>
                <a:lnTo>
                  <a:pt x="2129" y="4607"/>
                </a:lnTo>
                <a:lnTo>
                  <a:pt x="2129" y="4616"/>
                </a:lnTo>
                <a:lnTo>
                  <a:pt x="2129" y="4630"/>
                </a:lnTo>
                <a:lnTo>
                  <a:pt x="2129" y="4645"/>
                </a:lnTo>
                <a:lnTo>
                  <a:pt x="2129" y="4661"/>
                </a:lnTo>
                <a:lnTo>
                  <a:pt x="2129" y="4667"/>
                </a:lnTo>
                <a:lnTo>
                  <a:pt x="2128" y="4674"/>
                </a:lnTo>
                <a:lnTo>
                  <a:pt x="2126" y="4680"/>
                </a:lnTo>
                <a:lnTo>
                  <a:pt x="2124" y="4685"/>
                </a:lnTo>
                <a:lnTo>
                  <a:pt x="2117" y="4693"/>
                </a:lnTo>
                <a:lnTo>
                  <a:pt x="2110" y="4698"/>
                </a:lnTo>
                <a:lnTo>
                  <a:pt x="2106" y="4702"/>
                </a:lnTo>
                <a:lnTo>
                  <a:pt x="2105" y="4705"/>
                </a:lnTo>
                <a:lnTo>
                  <a:pt x="2105" y="4710"/>
                </a:lnTo>
                <a:lnTo>
                  <a:pt x="2107" y="4718"/>
                </a:lnTo>
                <a:lnTo>
                  <a:pt x="2113" y="4730"/>
                </a:lnTo>
                <a:lnTo>
                  <a:pt x="2116" y="4739"/>
                </a:lnTo>
                <a:lnTo>
                  <a:pt x="2116" y="4741"/>
                </a:lnTo>
                <a:lnTo>
                  <a:pt x="2116" y="4744"/>
                </a:lnTo>
                <a:lnTo>
                  <a:pt x="2115" y="4746"/>
                </a:lnTo>
                <a:lnTo>
                  <a:pt x="2114" y="4747"/>
                </a:lnTo>
                <a:lnTo>
                  <a:pt x="2111" y="4749"/>
                </a:lnTo>
                <a:lnTo>
                  <a:pt x="2107" y="4750"/>
                </a:lnTo>
                <a:lnTo>
                  <a:pt x="2106" y="4750"/>
                </a:lnTo>
                <a:lnTo>
                  <a:pt x="2105" y="4752"/>
                </a:lnTo>
                <a:lnTo>
                  <a:pt x="2104" y="4755"/>
                </a:lnTo>
                <a:lnTo>
                  <a:pt x="2104" y="4760"/>
                </a:lnTo>
                <a:lnTo>
                  <a:pt x="2105" y="4765"/>
                </a:lnTo>
                <a:lnTo>
                  <a:pt x="2106" y="4768"/>
                </a:lnTo>
                <a:lnTo>
                  <a:pt x="2107" y="4770"/>
                </a:lnTo>
                <a:lnTo>
                  <a:pt x="2108" y="4771"/>
                </a:lnTo>
                <a:lnTo>
                  <a:pt x="2110" y="4773"/>
                </a:lnTo>
                <a:lnTo>
                  <a:pt x="2110" y="4775"/>
                </a:lnTo>
                <a:lnTo>
                  <a:pt x="2108" y="4778"/>
                </a:lnTo>
                <a:lnTo>
                  <a:pt x="2106" y="4784"/>
                </a:lnTo>
                <a:lnTo>
                  <a:pt x="2099" y="4793"/>
                </a:lnTo>
                <a:lnTo>
                  <a:pt x="2090" y="4802"/>
                </a:lnTo>
                <a:lnTo>
                  <a:pt x="2086" y="4807"/>
                </a:lnTo>
                <a:lnTo>
                  <a:pt x="2084" y="4813"/>
                </a:lnTo>
                <a:lnTo>
                  <a:pt x="2084" y="4816"/>
                </a:lnTo>
                <a:lnTo>
                  <a:pt x="2085" y="4820"/>
                </a:lnTo>
                <a:lnTo>
                  <a:pt x="2086" y="4825"/>
                </a:lnTo>
                <a:lnTo>
                  <a:pt x="2089" y="4830"/>
                </a:lnTo>
                <a:lnTo>
                  <a:pt x="2092" y="4837"/>
                </a:lnTo>
                <a:lnTo>
                  <a:pt x="2094" y="4841"/>
                </a:lnTo>
                <a:lnTo>
                  <a:pt x="2095" y="4841"/>
                </a:lnTo>
                <a:lnTo>
                  <a:pt x="2096" y="4840"/>
                </a:lnTo>
                <a:lnTo>
                  <a:pt x="2096" y="4839"/>
                </a:lnTo>
                <a:lnTo>
                  <a:pt x="2097" y="4838"/>
                </a:lnTo>
                <a:lnTo>
                  <a:pt x="2097" y="4833"/>
                </a:lnTo>
                <a:lnTo>
                  <a:pt x="2098" y="4827"/>
                </a:lnTo>
                <a:lnTo>
                  <a:pt x="2100" y="4820"/>
                </a:lnTo>
                <a:lnTo>
                  <a:pt x="2102" y="4814"/>
                </a:lnTo>
                <a:lnTo>
                  <a:pt x="2105" y="4809"/>
                </a:lnTo>
                <a:lnTo>
                  <a:pt x="2108" y="4806"/>
                </a:lnTo>
                <a:lnTo>
                  <a:pt x="2112" y="4804"/>
                </a:lnTo>
                <a:lnTo>
                  <a:pt x="2114" y="4804"/>
                </a:lnTo>
                <a:lnTo>
                  <a:pt x="2115" y="4806"/>
                </a:lnTo>
                <a:lnTo>
                  <a:pt x="2116" y="4809"/>
                </a:lnTo>
                <a:lnTo>
                  <a:pt x="2116" y="4813"/>
                </a:lnTo>
                <a:lnTo>
                  <a:pt x="2115" y="4819"/>
                </a:lnTo>
                <a:lnTo>
                  <a:pt x="2106" y="4837"/>
                </a:lnTo>
                <a:lnTo>
                  <a:pt x="2101" y="4849"/>
                </a:lnTo>
                <a:lnTo>
                  <a:pt x="2103" y="4859"/>
                </a:lnTo>
                <a:lnTo>
                  <a:pt x="2105" y="4871"/>
                </a:lnTo>
                <a:lnTo>
                  <a:pt x="2107" y="4883"/>
                </a:lnTo>
                <a:lnTo>
                  <a:pt x="2107" y="4893"/>
                </a:lnTo>
                <a:lnTo>
                  <a:pt x="2105" y="4898"/>
                </a:lnTo>
                <a:lnTo>
                  <a:pt x="2102" y="4902"/>
                </a:lnTo>
                <a:lnTo>
                  <a:pt x="2100" y="4905"/>
                </a:lnTo>
                <a:lnTo>
                  <a:pt x="2099" y="4907"/>
                </a:lnTo>
                <a:lnTo>
                  <a:pt x="2098" y="4912"/>
                </a:lnTo>
                <a:lnTo>
                  <a:pt x="2097" y="4917"/>
                </a:lnTo>
                <a:lnTo>
                  <a:pt x="2100" y="4932"/>
                </a:lnTo>
                <a:lnTo>
                  <a:pt x="2103" y="4943"/>
                </a:lnTo>
                <a:lnTo>
                  <a:pt x="2100" y="4954"/>
                </a:lnTo>
                <a:lnTo>
                  <a:pt x="2096" y="4965"/>
                </a:lnTo>
                <a:lnTo>
                  <a:pt x="2099" y="4971"/>
                </a:lnTo>
                <a:lnTo>
                  <a:pt x="2104" y="4979"/>
                </a:lnTo>
                <a:lnTo>
                  <a:pt x="2114" y="4994"/>
                </a:lnTo>
                <a:lnTo>
                  <a:pt x="2134" y="5025"/>
                </a:lnTo>
                <a:lnTo>
                  <a:pt x="2145" y="5040"/>
                </a:lnTo>
                <a:lnTo>
                  <a:pt x="2155" y="5055"/>
                </a:lnTo>
                <a:lnTo>
                  <a:pt x="2164" y="5067"/>
                </a:lnTo>
                <a:lnTo>
                  <a:pt x="2169" y="5073"/>
                </a:lnTo>
                <a:lnTo>
                  <a:pt x="2173" y="5076"/>
                </a:lnTo>
                <a:lnTo>
                  <a:pt x="2176" y="5079"/>
                </a:lnTo>
                <a:lnTo>
                  <a:pt x="2178" y="5081"/>
                </a:lnTo>
                <a:lnTo>
                  <a:pt x="2179" y="5084"/>
                </a:lnTo>
                <a:lnTo>
                  <a:pt x="2179" y="5090"/>
                </a:lnTo>
                <a:lnTo>
                  <a:pt x="2179" y="5093"/>
                </a:lnTo>
                <a:lnTo>
                  <a:pt x="2181" y="5096"/>
                </a:lnTo>
                <a:lnTo>
                  <a:pt x="2181" y="5097"/>
                </a:lnTo>
                <a:lnTo>
                  <a:pt x="2183" y="5099"/>
                </a:lnTo>
                <a:lnTo>
                  <a:pt x="2188" y="5103"/>
                </a:lnTo>
                <a:lnTo>
                  <a:pt x="2196" y="5104"/>
                </a:lnTo>
                <a:lnTo>
                  <a:pt x="2216" y="5110"/>
                </a:lnTo>
                <a:lnTo>
                  <a:pt x="2229" y="5114"/>
                </a:lnTo>
                <a:lnTo>
                  <a:pt x="2239" y="5116"/>
                </a:lnTo>
                <a:lnTo>
                  <a:pt x="2244" y="5117"/>
                </a:lnTo>
                <a:lnTo>
                  <a:pt x="2249" y="5118"/>
                </a:lnTo>
                <a:lnTo>
                  <a:pt x="2254" y="5120"/>
                </a:lnTo>
                <a:lnTo>
                  <a:pt x="2258" y="5123"/>
                </a:lnTo>
                <a:lnTo>
                  <a:pt x="2268" y="5132"/>
                </a:lnTo>
                <a:lnTo>
                  <a:pt x="2274" y="5138"/>
                </a:lnTo>
                <a:lnTo>
                  <a:pt x="2277" y="5141"/>
                </a:lnTo>
                <a:lnTo>
                  <a:pt x="2279" y="5142"/>
                </a:lnTo>
                <a:lnTo>
                  <a:pt x="2281" y="5142"/>
                </a:lnTo>
                <a:lnTo>
                  <a:pt x="2283" y="5140"/>
                </a:lnTo>
                <a:lnTo>
                  <a:pt x="2287" y="5134"/>
                </a:lnTo>
                <a:lnTo>
                  <a:pt x="2289" y="5128"/>
                </a:lnTo>
                <a:lnTo>
                  <a:pt x="2291" y="5125"/>
                </a:lnTo>
                <a:lnTo>
                  <a:pt x="2295" y="5122"/>
                </a:lnTo>
                <a:lnTo>
                  <a:pt x="2300" y="5115"/>
                </a:lnTo>
                <a:lnTo>
                  <a:pt x="2309" y="5103"/>
                </a:lnTo>
                <a:lnTo>
                  <a:pt x="2313" y="5097"/>
                </a:lnTo>
                <a:lnTo>
                  <a:pt x="2317" y="5092"/>
                </a:lnTo>
                <a:lnTo>
                  <a:pt x="2322" y="5089"/>
                </a:lnTo>
                <a:lnTo>
                  <a:pt x="2326" y="5088"/>
                </a:lnTo>
                <a:lnTo>
                  <a:pt x="2334" y="5089"/>
                </a:lnTo>
                <a:lnTo>
                  <a:pt x="2339" y="5090"/>
                </a:lnTo>
                <a:lnTo>
                  <a:pt x="2342" y="5092"/>
                </a:lnTo>
                <a:lnTo>
                  <a:pt x="2344" y="5093"/>
                </a:lnTo>
                <a:lnTo>
                  <a:pt x="2348" y="5094"/>
                </a:lnTo>
                <a:lnTo>
                  <a:pt x="2353" y="5094"/>
                </a:lnTo>
                <a:lnTo>
                  <a:pt x="2357" y="5094"/>
                </a:lnTo>
                <a:lnTo>
                  <a:pt x="2361" y="5093"/>
                </a:lnTo>
                <a:lnTo>
                  <a:pt x="2366" y="5090"/>
                </a:lnTo>
                <a:lnTo>
                  <a:pt x="2367" y="5089"/>
                </a:lnTo>
                <a:close/>
                <a:moveTo>
                  <a:pt x="7702" y="1402"/>
                </a:moveTo>
                <a:lnTo>
                  <a:pt x="7724" y="1392"/>
                </a:lnTo>
                <a:lnTo>
                  <a:pt x="7743" y="1399"/>
                </a:lnTo>
                <a:lnTo>
                  <a:pt x="7759" y="1385"/>
                </a:lnTo>
                <a:lnTo>
                  <a:pt x="7762" y="1384"/>
                </a:lnTo>
                <a:lnTo>
                  <a:pt x="7771" y="1382"/>
                </a:lnTo>
                <a:lnTo>
                  <a:pt x="7775" y="1381"/>
                </a:lnTo>
                <a:lnTo>
                  <a:pt x="7778" y="1379"/>
                </a:lnTo>
                <a:lnTo>
                  <a:pt x="7780" y="1376"/>
                </a:lnTo>
                <a:lnTo>
                  <a:pt x="7781" y="1374"/>
                </a:lnTo>
                <a:lnTo>
                  <a:pt x="7783" y="1368"/>
                </a:lnTo>
                <a:lnTo>
                  <a:pt x="7785" y="1361"/>
                </a:lnTo>
                <a:lnTo>
                  <a:pt x="7785" y="1358"/>
                </a:lnTo>
                <a:lnTo>
                  <a:pt x="7783" y="1353"/>
                </a:lnTo>
                <a:lnTo>
                  <a:pt x="7778" y="1351"/>
                </a:lnTo>
                <a:lnTo>
                  <a:pt x="7769" y="1349"/>
                </a:lnTo>
                <a:lnTo>
                  <a:pt x="7760" y="1348"/>
                </a:lnTo>
                <a:lnTo>
                  <a:pt x="7753" y="1345"/>
                </a:lnTo>
                <a:lnTo>
                  <a:pt x="7746" y="1342"/>
                </a:lnTo>
                <a:lnTo>
                  <a:pt x="7741" y="1340"/>
                </a:lnTo>
                <a:lnTo>
                  <a:pt x="7737" y="1338"/>
                </a:lnTo>
                <a:lnTo>
                  <a:pt x="7732" y="1338"/>
                </a:lnTo>
                <a:lnTo>
                  <a:pt x="7727" y="1341"/>
                </a:lnTo>
                <a:lnTo>
                  <a:pt x="7720" y="1346"/>
                </a:lnTo>
                <a:lnTo>
                  <a:pt x="7708" y="1358"/>
                </a:lnTo>
                <a:lnTo>
                  <a:pt x="7698" y="1365"/>
                </a:lnTo>
                <a:lnTo>
                  <a:pt x="7692" y="1369"/>
                </a:lnTo>
                <a:lnTo>
                  <a:pt x="7687" y="1373"/>
                </a:lnTo>
                <a:lnTo>
                  <a:pt x="7684" y="1376"/>
                </a:lnTo>
                <a:lnTo>
                  <a:pt x="7681" y="1380"/>
                </a:lnTo>
                <a:lnTo>
                  <a:pt x="7681" y="1384"/>
                </a:lnTo>
                <a:lnTo>
                  <a:pt x="7685" y="1388"/>
                </a:lnTo>
                <a:lnTo>
                  <a:pt x="7692" y="1395"/>
                </a:lnTo>
                <a:lnTo>
                  <a:pt x="7696" y="1399"/>
                </a:lnTo>
                <a:lnTo>
                  <a:pt x="7702" y="1402"/>
                </a:lnTo>
                <a:close/>
                <a:moveTo>
                  <a:pt x="6968" y="1025"/>
                </a:moveTo>
                <a:lnTo>
                  <a:pt x="7013" y="1101"/>
                </a:lnTo>
                <a:lnTo>
                  <a:pt x="7017" y="1104"/>
                </a:lnTo>
                <a:lnTo>
                  <a:pt x="7029" y="1111"/>
                </a:lnTo>
                <a:lnTo>
                  <a:pt x="7036" y="1114"/>
                </a:lnTo>
                <a:lnTo>
                  <a:pt x="7042" y="1118"/>
                </a:lnTo>
                <a:lnTo>
                  <a:pt x="7049" y="1119"/>
                </a:lnTo>
                <a:lnTo>
                  <a:pt x="7055" y="1118"/>
                </a:lnTo>
                <a:lnTo>
                  <a:pt x="7063" y="1114"/>
                </a:lnTo>
                <a:lnTo>
                  <a:pt x="7072" y="1112"/>
                </a:lnTo>
                <a:lnTo>
                  <a:pt x="7075" y="1110"/>
                </a:lnTo>
                <a:lnTo>
                  <a:pt x="7077" y="1108"/>
                </a:lnTo>
                <a:lnTo>
                  <a:pt x="7078" y="1105"/>
                </a:lnTo>
                <a:lnTo>
                  <a:pt x="7079" y="1101"/>
                </a:lnTo>
                <a:lnTo>
                  <a:pt x="7082" y="1091"/>
                </a:lnTo>
                <a:lnTo>
                  <a:pt x="7087" y="1082"/>
                </a:lnTo>
                <a:lnTo>
                  <a:pt x="7088" y="1080"/>
                </a:lnTo>
                <a:lnTo>
                  <a:pt x="7088" y="1079"/>
                </a:lnTo>
                <a:lnTo>
                  <a:pt x="7088" y="1077"/>
                </a:lnTo>
                <a:lnTo>
                  <a:pt x="7087" y="1075"/>
                </a:lnTo>
                <a:lnTo>
                  <a:pt x="7084" y="1072"/>
                </a:lnTo>
                <a:lnTo>
                  <a:pt x="7076" y="1068"/>
                </a:lnTo>
                <a:lnTo>
                  <a:pt x="7055" y="1061"/>
                </a:lnTo>
                <a:lnTo>
                  <a:pt x="7036" y="1053"/>
                </a:lnTo>
                <a:lnTo>
                  <a:pt x="7019" y="1046"/>
                </a:lnTo>
                <a:lnTo>
                  <a:pt x="7009" y="1044"/>
                </a:lnTo>
                <a:lnTo>
                  <a:pt x="7003" y="1043"/>
                </a:lnTo>
                <a:lnTo>
                  <a:pt x="6996" y="1040"/>
                </a:lnTo>
                <a:lnTo>
                  <a:pt x="6993" y="1038"/>
                </a:lnTo>
                <a:lnTo>
                  <a:pt x="6990" y="1035"/>
                </a:lnTo>
                <a:lnTo>
                  <a:pt x="6988" y="1033"/>
                </a:lnTo>
                <a:lnTo>
                  <a:pt x="6986" y="1029"/>
                </a:lnTo>
                <a:lnTo>
                  <a:pt x="6984" y="1025"/>
                </a:lnTo>
                <a:lnTo>
                  <a:pt x="6982" y="1024"/>
                </a:lnTo>
                <a:lnTo>
                  <a:pt x="6981" y="1023"/>
                </a:lnTo>
                <a:lnTo>
                  <a:pt x="6978" y="1023"/>
                </a:lnTo>
                <a:lnTo>
                  <a:pt x="6976" y="1024"/>
                </a:lnTo>
                <a:lnTo>
                  <a:pt x="6976" y="1025"/>
                </a:lnTo>
                <a:lnTo>
                  <a:pt x="6972" y="1025"/>
                </a:lnTo>
                <a:lnTo>
                  <a:pt x="6968" y="1025"/>
                </a:lnTo>
                <a:close/>
                <a:moveTo>
                  <a:pt x="6823" y="1091"/>
                </a:moveTo>
                <a:lnTo>
                  <a:pt x="6857" y="1098"/>
                </a:lnTo>
                <a:lnTo>
                  <a:pt x="6861" y="1094"/>
                </a:lnTo>
                <a:lnTo>
                  <a:pt x="6869" y="1085"/>
                </a:lnTo>
                <a:lnTo>
                  <a:pt x="6875" y="1082"/>
                </a:lnTo>
                <a:lnTo>
                  <a:pt x="6880" y="1079"/>
                </a:lnTo>
                <a:lnTo>
                  <a:pt x="6882" y="1078"/>
                </a:lnTo>
                <a:lnTo>
                  <a:pt x="6883" y="1078"/>
                </a:lnTo>
                <a:lnTo>
                  <a:pt x="6885" y="1079"/>
                </a:lnTo>
                <a:lnTo>
                  <a:pt x="6886" y="1080"/>
                </a:lnTo>
                <a:lnTo>
                  <a:pt x="6891" y="1087"/>
                </a:lnTo>
                <a:lnTo>
                  <a:pt x="6898" y="1094"/>
                </a:lnTo>
                <a:lnTo>
                  <a:pt x="6901" y="1097"/>
                </a:lnTo>
                <a:lnTo>
                  <a:pt x="6904" y="1099"/>
                </a:lnTo>
                <a:lnTo>
                  <a:pt x="6906" y="1100"/>
                </a:lnTo>
                <a:lnTo>
                  <a:pt x="6908" y="1099"/>
                </a:lnTo>
                <a:lnTo>
                  <a:pt x="6915" y="1095"/>
                </a:lnTo>
                <a:lnTo>
                  <a:pt x="6924" y="1085"/>
                </a:lnTo>
                <a:lnTo>
                  <a:pt x="6933" y="1075"/>
                </a:lnTo>
                <a:lnTo>
                  <a:pt x="6940" y="1065"/>
                </a:lnTo>
                <a:lnTo>
                  <a:pt x="6940" y="1060"/>
                </a:lnTo>
                <a:lnTo>
                  <a:pt x="6938" y="1053"/>
                </a:lnTo>
                <a:lnTo>
                  <a:pt x="6933" y="1043"/>
                </a:lnTo>
                <a:lnTo>
                  <a:pt x="6928" y="1034"/>
                </a:lnTo>
                <a:lnTo>
                  <a:pt x="6923" y="1025"/>
                </a:lnTo>
                <a:lnTo>
                  <a:pt x="6917" y="1017"/>
                </a:lnTo>
                <a:lnTo>
                  <a:pt x="6911" y="1012"/>
                </a:lnTo>
                <a:lnTo>
                  <a:pt x="6908" y="1009"/>
                </a:lnTo>
                <a:lnTo>
                  <a:pt x="6898" y="1001"/>
                </a:lnTo>
                <a:lnTo>
                  <a:pt x="6883" y="993"/>
                </a:lnTo>
                <a:lnTo>
                  <a:pt x="6876" y="990"/>
                </a:lnTo>
                <a:lnTo>
                  <a:pt x="6869" y="989"/>
                </a:lnTo>
                <a:lnTo>
                  <a:pt x="6867" y="989"/>
                </a:lnTo>
                <a:lnTo>
                  <a:pt x="6864" y="991"/>
                </a:lnTo>
                <a:lnTo>
                  <a:pt x="6863" y="993"/>
                </a:lnTo>
                <a:lnTo>
                  <a:pt x="6862" y="996"/>
                </a:lnTo>
                <a:lnTo>
                  <a:pt x="6858" y="1012"/>
                </a:lnTo>
                <a:lnTo>
                  <a:pt x="6854" y="1022"/>
                </a:lnTo>
                <a:lnTo>
                  <a:pt x="6852" y="1025"/>
                </a:lnTo>
                <a:lnTo>
                  <a:pt x="6850" y="1026"/>
                </a:lnTo>
                <a:lnTo>
                  <a:pt x="6846" y="1025"/>
                </a:lnTo>
                <a:lnTo>
                  <a:pt x="6844" y="1022"/>
                </a:lnTo>
                <a:lnTo>
                  <a:pt x="6840" y="1018"/>
                </a:lnTo>
                <a:lnTo>
                  <a:pt x="6834" y="1012"/>
                </a:lnTo>
                <a:lnTo>
                  <a:pt x="6826" y="1006"/>
                </a:lnTo>
                <a:lnTo>
                  <a:pt x="6818" y="1000"/>
                </a:lnTo>
                <a:lnTo>
                  <a:pt x="6810" y="996"/>
                </a:lnTo>
                <a:lnTo>
                  <a:pt x="6802" y="993"/>
                </a:lnTo>
                <a:lnTo>
                  <a:pt x="6799" y="992"/>
                </a:lnTo>
                <a:lnTo>
                  <a:pt x="6796" y="992"/>
                </a:lnTo>
                <a:lnTo>
                  <a:pt x="6794" y="992"/>
                </a:lnTo>
                <a:lnTo>
                  <a:pt x="6792" y="993"/>
                </a:lnTo>
                <a:lnTo>
                  <a:pt x="6784" y="1001"/>
                </a:lnTo>
                <a:lnTo>
                  <a:pt x="6775" y="1013"/>
                </a:lnTo>
                <a:lnTo>
                  <a:pt x="6771" y="1019"/>
                </a:lnTo>
                <a:lnTo>
                  <a:pt x="6769" y="1024"/>
                </a:lnTo>
                <a:lnTo>
                  <a:pt x="6767" y="1030"/>
                </a:lnTo>
                <a:lnTo>
                  <a:pt x="6767" y="1034"/>
                </a:lnTo>
                <a:lnTo>
                  <a:pt x="6769" y="1040"/>
                </a:lnTo>
                <a:lnTo>
                  <a:pt x="6772" y="1047"/>
                </a:lnTo>
                <a:lnTo>
                  <a:pt x="6775" y="1057"/>
                </a:lnTo>
                <a:lnTo>
                  <a:pt x="6778" y="1074"/>
                </a:lnTo>
                <a:lnTo>
                  <a:pt x="6780" y="1084"/>
                </a:lnTo>
                <a:lnTo>
                  <a:pt x="6784" y="1095"/>
                </a:lnTo>
                <a:lnTo>
                  <a:pt x="6787" y="1105"/>
                </a:lnTo>
                <a:lnTo>
                  <a:pt x="6791" y="1113"/>
                </a:lnTo>
                <a:lnTo>
                  <a:pt x="6795" y="1121"/>
                </a:lnTo>
                <a:lnTo>
                  <a:pt x="6799" y="1125"/>
                </a:lnTo>
                <a:lnTo>
                  <a:pt x="6801" y="1126"/>
                </a:lnTo>
                <a:lnTo>
                  <a:pt x="6802" y="1127"/>
                </a:lnTo>
                <a:lnTo>
                  <a:pt x="6804" y="1126"/>
                </a:lnTo>
                <a:lnTo>
                  <a:pt x="6806" y="1125"/>
                </a:lnTo>
                <a:lnTo>
                  <a:pt x="6815" y="1107"/>
                </a:lnTo>
                <a:lnTo>
                  <a:pt x="6818" y="1098"/>
                </a:lnTo>
                <a:lnTo>
                  <a:pt x="6823" y="1091"/>
                </a:lnTo>
                <a:close/>
                <a:moveTo>
                  <a:pt x="6844" y="1161"/>
                </a:moveTo>
                <a:lnTo>
                  <a:pt x="6845" y="1167"/>
                </a:lnTo>
                <a:lnTo>
                  <a:pt x="6846" y="1173"/>
                </a:lnTo>
                <a:lnTo>
                  <a:pt x="6848" y="1180"/>
                </a:lnTo>
                <a:lnTo>
                  <a:pt x="6851" y="1187"/>
                </a:lnTo>
                <a:lnTo>
                  <a:pt x="6854" y="1198"/>
                </a:lnTo>
                <a:lnTo>
                  <a:pt x="6854" y="1205"/>
                </a:lnTo>
                <a:lnTo>
                  <a:pt x="6847" y="1206"/>
                </a:lnTo>
                <a:lnTo>
                  <a:pt x="6839" y="1208"/>
                </a:lnTo>
                <a:lnTo>
                  <a:pt x="6836" y="1209"/>
                </a:lnTo>
                <a:lnTo>
                  <a:pt x="6835" y="1211"/>
                </a:lnTo>
                <a:lnTo>
                  <a:pt x="6837" y="1213"/>
                </a:lnTo>
                <a:lnTo>
                  <a:pt x="6843" y="1217"/>
                </a:lnTo>
                <a:lnTo>
                  <a:pt x="6852" y="1221"/>
                </a:lnTo>
                <a:lnTo>
                  <a:pt x="6858" y="1223"/>
                </a:lnTo>
                <a:lnTo>
                  <a:pt x="6864" y="1226"/>
                </a:lnTo>
                <a:lnTo>
                  <a:pt x="6869" y="1227"/>
                </a:lnTo>
                <a:lnTo>
                  <a:pt x="6879" y="1228"/>
                </a:lnTo>
                <a:lnTo>
                  <a:pt x="6888" y="1231"/>
                </a:lnTo>
                <a:lnTo>
                  <a:pt x="6894" y="1233"/>
                </a:lnTo>
                <a:lnTo>
                  <a:pt x="6900" y="1235"/>
                </a:lnTo>
                <a:lnTo>
                  <a:pt x="6906" y="1235"/>
                </a:lnTo>
                <a:lnTo>
                  <a:pt x="6912" y="1234"/>
                </a:lnTo>
                <a:lnTo>
                  <a:pt x="6918" y="1232"/>
                </a:lnTo>
                <a:lnTo>
                  <a:pt x="6921" y="1229"/>
                </a:lnTo>
                <a:lnTo>
                  <a:pt x="6922" y="1227"/>
                </a:lnTo>
                <a:lnTo>
                  <a:pt x="6923" y="1225"/>
                </a:lnTo>
                <a:lnTo>
                  <a:pt x="6923" y="1221"/>
                </a:lnTo>
                <a:lnTo>
                  <a:pt x="6922" y="1219"/>
                </a:lnTo>
                <a:lnTo>
                  <a:pt x="6919" y="1213"/>
                </a:lnTo>
                <a:lnTo>
                  <a:pt x="6916" y="1208"/>
                </a:lnTo>
                <a:lnTo>
                  <a:pt x="6911" y="1203"/>
                </a:lnTo>
                <a:lnTo>
                  <a:pt x="6906" y="1197"/>
                </a:lnTo>
                <a:lnTo>
                  <a:pt x="6897" y="1189"/>
                </a:lnTo>
                <a:lnTo>
                  <a:pt x="6885" y="1180"/>
                </a:lnTo>
                <a:lnTo>
                  <a:pt x="6879" y="1175"/>
                </a:lnTo>
                <a:lnTo>
                  <a:pt x="6875" y="1168"/>
                </a:lnTo>
                <a:lnTo>
                  <a:pt x="6871" y="1161"/>
                </a:lnTo>
                <a:lnTo>
                  <a:pt x="6867" y="1152"/>
                </a:lnTo>
                <a:lnTo>
                  <a:pt x="6863" y="1138"/>
                </a:lnTo>
                <a:lnTo>
                  <a:pt x="6860" y="1132"/>
                </a:lnTo>
                <a:lnTo>
                  <a:pt x="6857" y="1133"/>
                </a:lnTo>
                <a:lnTo>
                  <a:pt x="6854" y="1135"/>
                </a:lnTo>
                <a:lnTo>
                  <a:pt x="6850" y="1139"/>
                </a:lnTo>
                <a:lnTo>
                  <a:pt x="6847" y="1142"/>
                </a:lnTo>
                <a:lnTo>
                  <a:pt x="6845" y="1152"/>
                </a:lnTo>
                <a:lnTo>
                  <a:pt x="6844" y="1161"/>
                </a:lnTo>
                <a:close/>
                <a:moveTo>
                  <a:pt x="5969" y="723"/>
                </a:moveTo>
                <a:lnTo>
                  <a:pt x="5964" y="730"/>
                </a:lnTo>
                <a:lnTo>
                  <a:pt x="5956" y="738"/>
                </a:lnTo>
                <a:lnTo>
                  <a:pt x="5946" y="747"/>
                </a:lnTo>
                <a:lnTo>
                  <a:pt x="5937" y="757"/>
                </a:lnTo>
                <a:lnTo>
                  <a:pt x="5933" y="761"/>
                </a:lnTo>
                <a:lnTo>
                  <a:pt x="5930" y="767"/>
                </a:lnTo>
                <a:lnTo>
                  <a:pt x="5928" y="772"/>
                </a:lnTo>
                <a:lnTo>
                  <a:pt x="5925" y="778"/>
                </a:lnTo>
                <a:lnTo>
                  <a:pt x="5925" y="783"/>
                </a:lnTo>
                <a:lnTo>
                  <a:pt x="5926" y="790"/>
                </a:lnTo>
                <a:lnTo>
                  <a:pt x="5930" y="796"/>
                </a:lnTo>
                <a:lnTo>
                  <a:pt x="5935" y="802"/>
                </a:lnTo>
                <a:lnTo>
                  <a:pt x="5941" y="807"/>
                </a:lnTo>
                <a:lnTo>
                  <a:pt x="5947" y="811"/>
                </a:lnTo>
                <a:lnTo>
                  <a:pt x="5953" y="813"/>
                </a:lnTo>
                <a:lnTo>
                  <a:pt x="5958" y="814"/>
                </a:lnTo>
                <a:lnTo>
                  <a:pt x="5963" y="814"/>
                </a:lnTo>
                <a:lnTo>
                  <a:pt x="5968" y="812"/>
                </a:lnTo>
                <a:lnTo>
                  <a:pt x="5974" y="810"/>
                </a:lnTo>
                <a:lnTo>
                  <a:pt x="5978" y="807"/>
                </a:lnTo>
                <a:lnTo>
                  <a:pt x="5986" y="801"/>
                </a:lnTo>
                <a:lnTo>
                  <a:pt x="5994" y="795"/>
                </a:lnTo>
                <a:lnTo>
                  <a:pt x="5997" y="793"/>
                </a:lnTo>
                <a:lnTo>
                  <a:pt x="6000" y="791"/>
                </a:lnTo>
                <a:lnTo>
                  <a:pt x="6003" y="791"/>
                </a:lnTo>
                <a:lnTo>
                  <a:pt x="6005" y="791"/>
                </a:lnTo>
                <a:lnTo>
                  <a:pt x="6007" y="791"/>
                </a:lnTo>
                <a:lnTo>
                  <a:pt x="6010" y="791"/>
                </a:lnTo>
                <a:lnTo>
                  <a:pt x="6014" y="791"/>
                </a:lnTo>
                <a:lnTo>
                  <a:pt x="6019" y="789"/>
                </a:lnTo>
                <a:lnTo>
                  <a:pt x="6027" y="785"/>
                </a:lnTo>
                <a:lnTo>
                  <a:pt x="6038" y="779"/>
                </a:lnTo>
                <a:lnTo>
                  <a:pt x="6046" y="774"/>
                </a:lnTo>
                <a:lnTo>
                  <a:pt x="6054" y="768"/>
                </a:lnTo>
                <a:lnTo>
                  <a:pt x="6060" y="762"/>
                </a:lnTo>
                <a:lnTo>
                  <a:pt x="6063" y="758"/>
                </a:lnTo>
                <a:lnTo>
                  <a:pt x="6062" y="752"/>
                </a:lnTo>
                <a:lnTo>
                  <a:pt x="6058" y="741"/>
                </a:lnTo>
                <a:lnTo>
                  <a:pt x="6054" y="728"/>
                </a:lnTo>
                <a:lnTo>
                  <a:pt x="6048" y="714"/>
                </a:lnTo>
                <a:lnTo>
                  <a:pt x="6038" y="688"/>
                </a:lnTo>
                <a:lnTo>
                  <a:pt x="6032" y="677"/>
                </a:lnTo>
                <a:lnTo>
                  <a:pt x="6029" y="669"/>
                </a:lnTo>
                <a:lnTo>
                  <a:pt x="6022" y="653"/>
                </a:lnTo>
                <a:lnTo>
                  <a:pt x="6017" y="646"/>
                </a:lnTo>
                <a:lnTo>
                  <a:pt x="6011" y="642"/>
                </a:lnTo>
                <a:lnTo>
                  <a:pt x="6009" y="641"/>
                </a:lnTo>
                <a:lnTo>
                  <a:pt x="6006" y="642"/>
                </a:lnTo>
                <a:lnTo>
                  <a:pt x="6004" y="644"/>
                </a:lnTo>
                <a:lnTo>
                  <a:pt x="6002" y="647"/>
                </a:lnTo>
                <a:lnTo>
                  <a:pt x="5995" y="662"/>
                </a:lnTo>
                <a:lnTo>
                  <a:pt x="5987" y="672"/>
                </a:lnTo>
                <a:lnTo>
                  <a:pt x="5981" y="680"/>
                </a:lnTo>
                <a:lnTo>
                  <a:pt x="5976" y="684"/>
                </a:lnTo>
                <a:lnTo>
                  <a:pt x="5970" y="689"/>
                </a:lnTo>
                <a:lnTo>
                  <a:pt x="5967" y="693"/>
                </a:lnTo>
                <a:lnTo>
                  <a:pt x="5965" y="697"/>
                </a:lnTo>
                <a:lnTo>
                  <a:pt x="5964" y="701"/>
                </a:lnTo>
                <a:lnTo>
                  <a:pt x="5967" y="707"/>
                </a:lnTo>
                <a:lnTo>
                  <a:pt x="5972" y="712"/>
                </a:lnTo>
                <a:lnTo>
                  <a:pt x="5969" y="723"/>
                </a:lnTo>
                <a:close/>
                <a:moveTo>
                  <a:pt x="5802" y="468"/>
                </a:moveTo>
                <a:lnTo>
                  <a:pt x="5799" y="476"/>
                </a:lnTo>
                <a:lnTo>
                  <a:pt x="5793" y="485"/>
                </a:lnTo>
                <a:lnTo>
                  <a:pt x="5787" y="493"/>
                </a:lnTo>
                <a:lnTo>
                  <a:pt x="5782" y="501"/>
                </a:lnTo>
                <a:lnTo>
                  <a:pt x="5778" y="508"/>
                </a:lnTo>
                <a:lnTo>
                  <a:pt x="5775" y="515"/>
                </a:lnTo>
                <a:lnTo>
                  <a:pt x="5775" y="518"/>
                </a:lnTo>
                <a:lnTo>
                  <a:pt x="5775" y="521"/>
                </a:lnTo>
                <a:lnTo>
                  <a:pt x="5776" y="526"/>
                </a:lnTo>
                <a:lnTo>
                  <a:pt x="5777" y="530"/>
                </a:lnTo>
                <a:lnTo>
                  <a:pt x="5783" y="537"/>
                </a:lnTo>
                <a:lnTo>
                  <a:pt x="5789" y="545"/>
                </a:lnTo>
                <a:lnTo>
                  <a:pt x="5797" y="551"/>
                </a:lnTo>
                <a:lnTo>
                  <a:pt x="5803" y="556"/>
                </a:lnTo>
                <a:lnTo>
                  <a:pt x="5808" y="560"/>
                </a:lnTo>
                <a:lnTo>
                  <a:pt x="5812" y="563"/>
                </a:lnTo>
                <a:lnTo>
                  <a:pt x="5813" y="565"/>
                </a:lnTo>
                <a:lnTo>
                  <a:pt x="5813" y="567"/>
                </a:lnTo>
                <a:lnTo>
                  <a:pt x="5813" y="567"/>
                </a:lnTo>
                <a:lnTo>
                  <a:pt x="5811" y="567"/>
                </a:lnTo>
                <a:lnTo>
                  <a:pt x="5799" y="563"/>
                </a:lnTo>
                <a:lnTo>
                  <a:pt x="5781" y="557"/>
                </a:lnTo>
                <a:lnTo>
                  <a:pt x="5777" y="556"/>
                </a:lnTo>
                <a:lnTo>
                  <a:pt x="5772" y="556"/>
                </a:lnTo>
                <a:lnTo>
                  <a:pt x="5769" y="556"/>
                </a:lnTo>
                <a:lnTo>
                  <a:pt x="5766" y="557"/>
                </a:lnTo>
                <a:lnTo>
                  <a:pt x="5764" y="559"/>
                </a:lnTo>
                <a:lnTo>
                  <a:pt x="5762" y="562"/>
                </a:lnTo>
                <a:lnTo>
                  <a:pt x="5762" y="567"/>
                </a:lnTo>
                <a:lnTo>
                  <a:pt x="5763" y="572"/>
                </a:lnTo>
                <a:lnTo>
                  <a:pt x="5764" y="577"/>
                </a:lnTo>
                <a:lnTo>
                  <a:pt x="5766" y="582"/>
                </a:lnTo>
                <a:lnTo>
                  <a:pt x="5768" y="587"/>
                </a:lnTo>
                <a:lnTo>
                  <a:pt x="5771" y="592"/>
                </a:lnTo>
                <a:lnTo>
                  <a:pt x="5777" y="599"/>
                </a:lnTo>
                <a:lnTo>
                  <a:pt x="5783" y="604"/>
                </a:lnTo>
                <a:lnTo>
                  <a:pt x="5790" y="607"/>
                </a:lnTo>
                <a:lnTo>
                  <a:pt x="5796" y="608"/>
                </a:lnTo>
                <a:lnTo>
                  <a:pt x="5799" y="608"/>
                </a:lnTo>
                <a:lnTo>
                  <a:pt x="5801" y="607"/>
                </a:lnTo>
                <a:lnTo>
                  <a:pt x="5803" y="606"/>
                </a:lnTo>
                <a:lnTo>
                  <a:pt x="5804" y="605"/>
                </a:lnTo>
                <a:lnTo>
                  <a:pt x="5810" y="594"/>
                </a:lnTo>
                <a:lnTo>
                  <a:pt x="5818" y="582"/>
                </a:lnTo>
                <a:lnTo>
                  <a:pt x="5821" y="577"/>
                </a:lnTo>
                <a:lnTo>
                  <a:pt x="5824" y="574"/>
                </a:lnTo>
                <a:lnTo>
                  <a:pt x="5825" y="574"/>
                </a:lnTo>
                <a:lnTo>
                  <a:pt x="5826" y="573"/>
                </a:lnTo>
                <a:lnTo>
                  <a:pt x="5826" y="574"/>
                </a:lnTo>
                <a:lnTo>
                  <a:pt x="5827" y="575"/>
                </a:lnTo>
                <a:lnTo>
                  <a:pt x="5829" y="582"/>
                </a:lnTo>
                <a:lnTo>
                  <a:pt x="5831" y="591"/>
                </a:lnTo>
                <a:lnTo>
                  <a:pt x="5832" y="595"/>
                </a:lnTo>
                <a:lnTo>
                  <a:pt x="5831" y="599"/>
                </a:lnTo>
                <a:lnTo>
                  <a:pt x="5828" y="603"/>
                </a:lnTo>
                <a:lnTo>
                  <a:pt x="5824" y="608"/>
                </a:lnTo>
                <a:lnTo>
                  <a:pt x="5811" y="616"/>
                </a:lnTo>
                <a:lnTo>
                  <a:pt x="5803" y="621"/>
                </a:lnTo>
                <a:lnTo>
                  <a:pt x="5802" y="623"/>
                </a:lnTo>
                <a:lnTo>
                  <a:pt x="5801" y="624"/>
                </a:lnTo>
                <a:lnTo>
                  <a:pt x="5801" y="626"/>
                </a:lnTo>
                <a:lnTo>
                  <a:pt x="5802" y="627"/>
                </a:lnTo>
                <a:lnTo>
                  <a:pt x="5805" y="633"/>
                </a:lnTo>
                <a:lnTo>
                  <a:pt x="5813" y="638"/>
                </a:lnTo>
                <a:lnTo>
                  <a:pt x="5835" y="656"/>
                </a:lnTo>
                <a:lnTo>
                  <a:pt x="5860" y="678"/>
                </a:lnTo>
                <a:lnTo>
                  <a:pt x="5880" y="695"/>
                </a:lnTo>
                <a:lnTo>
                  <a:pt x="5889" y="703"/>
                </a:lnTo>
                <a:lnTo>
                  <a:pt x="5897" y="705"/>
                </a:lnTo>
                <a:lnTo>
                  <a:pt x="5916" y="708"/>
                </a:lnTo>
                <a:lnTo>
                  <a:pt x="5926" y="709"/>
                </a:lnTo>
                <a:lnTo>
                  <a:pt x="5936" y="710"/>
                </a:lnTo>
                <a:lnTo>
                  <a:pt x="5939" y="710"/>
                </a:lnTo>
                <a:lnTo>
                  <a:pt x="5942" y="709"/>
                </a:lnTo>
                <a:lnTo>
                  <a:pt x="5944" y="708"/>
                </a:lnTo>
                <a:lnTo>
                  <a:pt x="5945" y="707"/>
                </a:lnTo>
                <a:lnTo>
                  <a:pt x="5946" y="693"/>
                </a:lnTo>
                <a:lnTo>
                  <a:pt x="5945" y="670"/>
                </a:lnTo>
                <a:lnTo>
                  <a:pt x="5944" y="648"/>
                </a:lnTo>
                <a:lnTo>
                  <a:pt x="5943" y="639"/>
                </a:lnTo>
                <a:lnTo>
                  <a:pt x="5947" y="637"/>
                </a:lnTo>
                <a:lnTo>
                  <a:pt x="5957" y="629"/>
                </a:lnTo>
                <a:lnTo>
                  <a:pt x="5961" y="623"/>
                </a:lnTo>
                <a:lnTo>
                  <a:pt x="5963" y="617"/>
                </a:lnTo>
                <a:lnTo>
                  <a:pt x="5963" y="613"/>
                </a:lnTo>
                <a:lnTo>
                  <a:pt x="5963" y="609"/>
                </a:lnTo>
                <a:lnTo>
                  <a:pt x="5961" y="604"/>
                </a:lnTo>
                <a:lnTo>
                  <a:pt x="5959" y="600"/>
                </a:lnTo>
                <a:lnTo>
                  <a:pt x="5948" y="582"/>
                </a:lnTo>
                <a:lnTo>
                  <a:pt x="5940" y="570"/>
                </a:lnTo>
                <a:lnTo>
                  <a:pt x="5937" y="565"/>
                </a:lnTo>
                <a:lnTo>
                  <a:pt x="5933" y="562"/>
                </a:lnTo>
                <a:lnTo>
                  <a:pt x="5931" y="562"/>
                </a:lnTo>
                <a:lnTo>
                  <a:pt x="5930" y="562"/>
                </a:lnTo>
                <a:lnTo>
                  <a:pt x="5928" y="563"/>
                </a:lnTo>
                <a:lnTo>
                  <a:pt x="5925" y="564"/>
                </a:lnTo>
                <a:lnTo>
                  <a:pt x="5918" y="577"/>
                </a:lnTo>
                <a:lnTo>
                  <a:pt x="5909" y="594"/>
                </a:lnTo>
                <a:lnTo>
                  <a:pt x="5904" y="601"/>
                </a:lnTo>
                <a:lnTo>
                  <a:pt x="5901" y="605"/>
                </a:lnTo>
                <a:lnTo>
                  <a:pt x="5900" y="606"/>
                </a:lnTo>
                <a:lnTo>
                  <a:pt x="5900" y="606"/>
                </a:lnTo>
                <a:lnTo>
                  <a:pt x="5899" y="604"/>
                </a:lnTo>
                <a:lnTo>
                  <a:pt x="5900" y="602"/>
                </a:lnTo>
                <a:lnTo>
                  <a:pt x="5902" y="587"/>
                </a:lnTo>
                <a:lnTo>
                  <a:pt x="5907" y="574"/>
                </a:lnTo>
                <a:lnTo>
                  <a:pt x="5908" y="568"/>
                </a:lnTo>
                <a:lnTo>
                  <a:pt x="5909" y="562"/>
                </a:lnTo>
                <a:lnTo>
                  <a:pt x="5909" y="558"/>
                </a:lnTo>
                <a:lnTo>
                  <a:pt x="5907" y="555"/>
                </a:lnTo>
                <a:lnTo>
                  <a:pt x="5900" y="550"/>
                </a:lnTo>
                <a:lnTo>
                  <a:pt x="5894" y="546"/>
                </a:lnTo>
                <a:lnTo>
                  <a:pt x="5890" y="543"/>
                </a:lnTo>
                <a:lnTo>
                  <a:pt x="5886" y="543"/>
                </a:lnTo>
                <a:lnTo>
                  <a:pt x="5882" y="545"/>
                </a:lnTo>
                <a:lnTo>
                  <a:pt x="5878" y="548"/>
                </a:lnTo>
                <a:lnTo>
                  <a:pt x="5873" y="553"/>
                </a:lnTo>
                <a:lnTo>
                  <a:pt x="5867" y="557"/>
                </a:lnTo>
                <a:lnTo>
                  <a:pt x="5858" y="562"/>
                </a:lnTo>
                <a:lnTo>
                  <a:pt x="5851" y="567"/>
                </a:lnTo>
                <a:lnTo>
                  <a:pt x="5844" y="570"/>
                </a:lnTo>
                <a:lnTo>
                  <a:pt x="5837" y="572"/>
                </a:lnTo>
                <a:lnTo>
                  <a:pt x="5834" y="572"/>
                </a:lnTo>
                <a:lnTo>
                  <a:pt x="5832" y="572"/>
                </a:lnTo>
                <a:lnTo>
                  <a:pt x="5831" y="572"/>
                </a:lnTo>
                <a:lnTo>
                  <a:pt x="5831" y="571"/>
                </a:lnTo>
                <a:lnTo>
                  <a:pt x="5833" y="565"/>
                </a:lnTo>
                <a:lnTo>
                  <a:pt x="5838" y="558"/>
                </a:lnTo>
                <a:lnTo>
                  <a:pt x="5844" y="552"/>
                </a:lnTo>
                <a:lnTo>
                  <a:pt x="5848" y="548"/>
                </a:lnTo>
                <a:lnTo>
                  <a:pt x="5852" y="545"/>
                </a:lnTo>
                <a:lnTo>
                  <a:pt x="5859" y="538"/>
                </a:lnTo>
                <a:lnTo>
                  <a:pt x="5864" y="535"/>
                </a:lnTo>
                <a:lnTo>
                  <a:pt x="5868" y="533"/>
                </a:lnTo>
                <a:lnTo>
                  <a:pt x="5873" y="532"/>
                </a:lnTo>
                <a:lnTo>
                  <a:pt x="5878" y="533"/>
                </a:lnTo>
                <a:lnTo>
                  <a:pt x="5882" y="533"/>
                </a:lnTo>
                <a:lnTo>
                  <a:pt x="5887" y="534"/>
                </a:lnTo>
                <a:lnTo>
                  <a:pt x="5891" y="533"/>
                </a:lnTo>
                <a:lnTo>
                  <a:pt x="5894" y="533"/>
                </a:lnTo>
                <a:lnTo>
                  <a:pt x="5896" y="532"/>
                </a:lnTo>
                <a:lnTo>
                  <a:pt x="5897" y="530"/>
                </a:lnTo>
                <a:lnTo>
                  <a:pt x="5898" y="529"/>
                </a:lnTo>
                <a:lnTo>
                  <a:pt x="5898" y="527"/>
                </a:lnTo>
                <a:lnTo>
                  <a:pt x="5897" y="519"/>
                </a:lnTo>
                <a:lnTo>
                  <a:pt x="5898" y="507"/>
                </a:lnTo>
                <a:lnTo>
                  <a:pt x="5898" y="496"/>
                </a:lnTo>
                <a:lnTo>
                  <a:pt x="5898" y="491"/>
                </a:lnTo>
                <a:lnTo>
                  <a:pt x="5900" y="490"/>
                </a:lnTo>
                <a:lnTo>
                  <a:pt x="5906" y="486"/>
                </a:lnTo>
                <a:lnTo>
                  <a:pt x="5907" y="483"/>
                </a:lnTo>
                <a:lnTo>
                  <a:pt x="5908" y="480"/>
                </a:lnTo>
                <a:lnTo>
                  <a:pt x="5908" y="476"/>
                </a:lnTo>
                <a:lnTo>
                  <a:pt x="5906" y="473"/>
                </a:lnTo>
                <a:lnTo>
                  <a:pt x="5896" y="463"/>
                </a:lnTo>
                <a:lnTo>
                  <a:pt x="5886" y="447"/>
                </a:lnTo>
                <a:lnTo>
                  <a:pt x="5875" y="432"/>
                </a:lnTo>
                <a:lnTo>
                  <a:pt x="5870" y="423"/>
                </a:lnTo>
                <a:lnTo>
                  <a:pt x="5866" y="419"/>
                </a:lnTo>
                <a:lnTo>
                  <a:pt x="5860" y="416"/>
                </a:lnTo>
                <a:lnTo>
                  <a:pt x="5857" y="415"/>
                </a:lnTo>
                <a:lnTo>
                  <a:pt x="5855" y="415"/>
                </a:lnTo>
                <a:lnTo>
                  <a:pt x="5852" y="416"/>
                </a:lnTo>
                <a:lnTo>
                  <a:pt x="5849" y="417"/>
                </a:lnTo>
                <a:lnTo>
                  <a:pt x="5834" y="430"/>
                </a:lnTo>
                <a:lnTo>
                  <a:pt x="5824" y="439"/>
                </a:lnTo>
                <a:lnTo>
                  <a:pt x="5807" y="449"/>
                </a:lnTo>
                <a:lnTo>
                  <a:pt x="5802" y="468"/>
                </a:lnTo>
                <a:close/>
                <a:moveTo>
                  <a:pt x="5133" y="336"/>
                </a:moveTo>
                <a:lnTo>
                  <a:pt x="5135" y="340"/>
                </a:lnTo>
                <a:lnTo>
                  <a:pt x="5139" y="342"/>
                </a:lnTo>
                <a:lnTo>
                  <a:pt x="5142" y="343"/>
                </a:lnTo>
                <a:lnTo>
                  <a:pt x="5146" y="343"/>
                </a:lnTo>
                <a:lnTo>
                  <a:pt x="5151" y="342"/>
                </a:lnTo>
                <a:lnTo>
                  <a:pt x="5153" y="340"/>
                </a:lnTo>
                <a:lnTo>
                  <a:pt x="5153" y="337"/>
                </a:lnTo>
                <a:lnTo>
                  <a:pt x="5150" y="332"/>
                </a:lnTo>
                <a:lnTo>
                  <a:pt x="5147" y="327"/>
                </a:lnTo>
                <a:lnTo>
                  <a:pt x="5143" y="323"/>
                </a:lnTo>
                <a:lnTo>
                  <a:pt x="5139" y="320"/>
                </a:lnTo>
                <a:lnTo>
                  <a:pt x="5132" y="317"/>
                </a:lnTo>
                <a:lnTo>
                  <a:pt x="5130" y="316"/>
                </a:lnTo>
                <a:lnTo>
                  <a:pt x="5127" y="316"/>
                </a:lnTo>
                <a:lnTo>
                  <a:pt x="5125" y="316"/>
                </a:lnTo>
                <a:lnTo>
                  <a:pt x="5124" y="317"/>
                </a:lnTo>
                <a:lnTo>
                  <a:pt x="5123" y="321"/>
                </a:lnTo>
                <a:lnTo>
                  <a:pt x="5124" y="327"/>
                </a:lnTo>
                <a:lnTo>
                  <a:pt x="5125" y="331"/>
                </a:lnTo>
                <a:lnTo>
                  <a:pt x="5126" y="332"/>
                </a:lnTo>
                <a:lnTo>
                  <a:pt x="5133" y="336"/>
                </a:lnTo>
                <a:close/>
                <a:moveTo>
                  <a:pt x="5132" y="417"/>
                </a:moveTo>
                <a:lnTo>
                  <a:pt x="5131" y="423"/>
                </a:lnTo>
                <a:lnTo>
                  <a:pt x="5130" y="430"/>
                </a:lnTo>
                <a:lnTo>
                  <a:pt x="5131" y="435"/>
                </a:lnTo>
                <a:lnTo>
                  <a:pt x="5132" y="439"/>
                </a:lnTo>
                <a:lnTo>
                  <a:pt x="5135" y="445"/>
                </a:lnTo>
                <a:lnTo>
                  <a:pt x="5139" y="451"/>
                </a:lnTo>
                <a:lnTo>
                  <a:pt x="5146" y="462"/>
                </a:lnTo>
                <a:lnTo>
                  <a:pt x="5149" y="467"/>
                </a:lnTo>
                <a:lnTo>
                  <a:pt x="5151" y="466"/>
                </a:lnTo>
                <a:lnTo>
                  <a:pt x="5153" y="465"/>
                </a:lnTo>
                <a:lnTo>
                  <a:pt x="5156" y="461"/>
                </a:lnTo>
                <a:lnTo>
                  <a:pt x="5161" y="455"/>
                </a:lnTo>
                <a:lnTo>
                  <a:pt x="5166" y="449"/>
                </a:lnTo>
                <a:lnTo>
                  <a:pt x="5171" y="446"/>
                </a:lnTo>
                <a:lnTo>
                  <a:pt x="5176" y="444"/>
                </a:lnTo>
                <a:lnTo>
                  <a:pt x="5182" y="442"/>
                </a:lnTo>
                <a:lnTo>
                  <a:pt x="5186" y="441"/>
                </a:lnTo>
                <a:lnTo>
                  <a:pt x="5189" y="438"/>
                </a:lnTo>
                <a:lnTo>
                  <a:pt x="5190" y="437"/>
                </a:lnTo>
                <a:lnTo>
                  <a:pt x="5190" y="435"/>
                </a:lnTo>
                <a:lnTo>
                  <a:pt x="5190" y="431"/>
                </a:lnTo>
                <a:lnTo>
                  <a:pt x="5189" y="428"/>
                </a:lnTo>
                <a:lnTo>
                  <a:pt x="5185" y="411"/>
                </a:lnTo>
                <a:lnTo>
                  <a:pt x="5182" y="397"/>
                </a:lnTo>
                <a:lnTo>
                  <a:pt x="5178" y="384"/>
                </a:lnTo>
                <a:lnTo>
                  <a:pt x="5176" y="378"/>
                </a:lnTo>
                <a:lnTo>
                  <a:pt x="5171" y="378"/>
                </a:lnTo>
                <a:lnTo>
                  <a:pt x="5164" y="380"/>
                </a:lnTo>
                <a:lnTo>
                  <a:pt x="5157" y="383"/>
                </a:lnTo>
                <a:lnTo>
                  <a:pt x="5154" y="385"/>
                </a:lnTo>
                <a:lnTo>
                  <a:pt x="5151" y="387"/>
                </a:lnTo>
                <a:lnTo>
                  <a:pt x="5147" y="390"/>
                </a:lnTo>
                <a:lnTo>
                  <a:pt x="5141" y="401"/>
                </a:lnTo>
                <a:lnTo>
                  <a:pt x="5134" y="408"/>
                </a:lnTo>
                <a:lnTo>
                  <a:pt x="5132" y="417"/>
                </a:lnTo>
                <a:close/>
                <a:moveTo>
                  <a:pt x="4895" y="531"/>
                </a:moveTo>
                <a:lnTo>
                  <a:pt x="4897" y="535"/>
                </a:lnTo>
                <a:lnTo>
                  <a:pt x="4899" y="540"/>
                </a:lnTo>
                <a:lnTo>
                  <a:pt x="4902" y="545"/>
                </a:lnTo>
                <a:lnTo>
                  <a:pt x="4906" y="548"/>
                </a:lnTo>
                <a:lnTo>
                  <a:pt x="4908" y="550"/>
                </a:lnTo>
                <a:lnTo>
                  <a:pt x="4910" y="550"/>
                </a:lnTo>
                <a:lnTo>
                  <a:pt x="4913" y="551"/>
                </a:lnTo>
                <a:lnTo>
                  <a:pt x="4916" y="550"/>
                </a:lnTo>
                <a:lnTo>
                  <a:pt x="4920" y="549"/>
                </a:lnTo>
                <a:lnTo>
                  <a:pt x="4923" y="548"/>
                </a:lnTo>
                <a:lnTo>
                  <a:pt x="4927" y="546"/>
                </a:lnTo>
                <a:lnTo>
                  <a:pt x="4931" y="541"/>
                </a:lnTo>
                <a:lnTo>
                  <a:pt x="4937" y="535"/>
                </a:lnTo>
                <a:lnTo>
                  <a:pt x="4944" y="531"/>
                </a:lnTo>
                <a:lnTo>
                  <a:pt x="4949" y="528"/>
                </a:lnTo>
                <a:lnTo>
                  <a:pt x="4953" y="526"/>
                </a:lnTo>
                <a:lnTo>
                  <a:pt x="4957" y="526"/>
                </a:lnTo>
                <a:lnTo>
                  <a:pt x="4960" y="528"/>
                </a:lnTo>
                <a:lnTo>
                  <a:pt x="4965" y="530"/>
                </a:lnTo>
                <a:lnTo>
                  <a:pt x="4968" y="534"/>
                </a:lnTo>
                <a:lnTo>
                  <a:pt x="4976" y="543"/>
                </a:lnTo>
                <a:lnTo>
                  <a:pt x="4982" y="552"/>
                </a:lnTo>
                <a:lnTo>
                  <a:pt x="4987" y="556"/>
                </a:lnTo>
                <a:lnTo>
                  <a:pt x="4990" y="558"/>
                </a:lnTo>
                <a:lnTo>
                  <a:pt x="4994" y="560"/>
                </a:lnTo>
                <a:lnTo>
                  <a:pt x="4998" y="560"/>
                </a:lnTo>
                <a:lnTo>
                  <a:pt x="5003" y="558"/>
                </a:lnTo>
                <a:lnTo>
                  <a:pt x="5012" y="552"/>
                </a:lnTo>
                <a:lnTo>
                  <a:pt x="5021" y="545"/>
                </a:lnTo>
                <a:lnTo>
                  <a:pt x="5032" y="536"/>
                </a:lnTo>
                <a:lnTo>
                  <a:pt x="5041" y="529"/>
                </a:lnTo>
                <a:lnTo>
                  <a:pt x="5050" y="524"/>
                </a:lnTo>
                <a:lnTo>
                  <a:pt x="5053" y="521"/>
                </a:lnTo>
                <a:lnTo>
                  <a:pt x="5055" y="520"/>
                </a:lnTo>
                <a:lnTo>
                  <a:pt x="5057" y="520"/>
                </a:lnTo>
                <a:lnTo>
                  <a:pt x="5058" y="520"/>
                </a:lnTo>
                <a:lnTo>
                  <a:pt x="5056" y="532"/>
                </a:lnTo>
                <a:lnTo>
                  <a:pt x="5053" y="548"/>
                </a:lnTo>
                <a:lnTo>
                  <a:pt x="5050" y="556"/>
                </a:lnTo>
                <a:lnTo>
                  <a:pt x="5046" y="563"/>
                </a:lnTo>
                <a:lnTo>
                  <a:pt x="5043" y="569"/>
                </a:lnTo>
                <a:lnTo>
                  <a:pt x="5041" y="572"/>
                </a:lnTo>
                <a:lnTo>
                  <a:pt x="5033" y="575"/>
                </a:lnTo>
                <a:lnTo>
                  <a:pt x="5025" y="578"/>
                </a:lnTo>
                <a:lnTo>
                  <a:pt x="5022" y="579"/>
                </a:lnTo>
                <a:lnTo>
                  <a:pt x="5022" y="581"/>
                </a:lnTo>
                <a:lnTo>
                  <a:pt x="5024" y="583"/>
                </a:lnTo>
                <a:lnTo>
                  <a:pt x="5029" y="586"/>
                </a:lnTo>
                <a:lnTo>
                  <a:pt x="5033" y="587"/>
                </a:lnTo>
                <a:lnTo>
                  <a:pt x="5036" y="589"/>
                </a:lnTo>
                <a:lnTo>
                  <a:pt x="5040" y="587"/>
                </a:lnTo>
                <a:lnTo>
                  <a:pt x="5044" y="587"/>
                </a:lnTo>
                <a:lnTo>
                  <a:pt x="5052" y="583"/>
                </a:lnTo>
                <a:lnTo>
                  <a:pt x="5060" y="577"/>
                </a:lnTo>
                <a:lnTo>
                  <a:pt x="5066" y="571"/>
                </a:lnTo>
                <a:lnTo>
                  <a:pt x="5070" y="562"/>
                </a:lnTo>
                <a:lnTo>
                  <a:pt x="5072" y="559"/>
                </a:lnTo>
                <a:lnTo>
                  <a:pt x="5073" y="555"/>
                </a:lnTo>
                <a:lnTo>
                  <a:pt x="5073" y="551"/>
                </a:lnTo>
                <a:lnTo>
                  <a:pt x="5072" y="548"/>
                </a:lnTo>
                <a:lnTo>
                  <a:pt x="5067" y="536"/>
                </a:lnTo>
                <a:lnTo>
                  <a:pt x="5064" y="530"/>
                </a:lnTo>
                <a:lnTo>
                  <a:pt x="5064" y="528"/>
                </a:lnTo>
                <a:lnTo>
                  <a:pt x="5064" y="527"/>
                </a:lnTo>
                <a:lnTo>
                  <a:pt x="5065" y="525"/>
                </a:lnTo>
                <a:lnTo>
                  <a:pt x="5066" y="524"/>
                </a:lnTo>
                <a:lnTo>
                  <a:pt x="5074" y="520"/>
                </a:lnTo>
                <a:lnTo>
                  <a:pt x="5082" y="516"/>
                </a:lnTo>
                <a:lnTo>
                  <a:pt x="5091" y="513"/>
                </a:lnTo>
                <a:lnTo>
                  <a:pt x="5098" y="513"/>
                </a:lnTo>
                <a:lnTo>
                  <a:pt x="5100" y="511"/>
                </a:lnTo>
                <a:lnTo>
                  <a:pt x="5103" y="506"/>
                </a:lnTo>
                <a:lnTo>
                  <a:pt x="5107" y="498"/>
                </a:lnTo>
                <a:lnTo>
                  <a:pt x="5110" y="489"/>
                </a:lnTo>
                <a:lnTo>
                  <a:pt x="5117" y="473"/>
                </a:lnTo>
                <a:lnTo>
                  <a:pt x="5119" y="465"/>
                </a:lnTo>
                <a:lnTo>
                  <a:pt x="5118" y="457"/>
                </a:lnTo>
                <a:lnTo>
                  <a:pt x="5113" y="438"/>
                </a:lnTo>
                <a:lnTo>
                  <a:pt x="5111" y="433"/>
                </a:lnTo>
                <a:lnTo>
                  <a:pt x="5109" y="429"/>
                </a:lnTo>
                <a:lnTo>
                  <a:pt x="5107" y="426"/>
                </a:lnTo>
                <a:lnTo>
                  <a:pt x="5105" y="424"/>
                </a:lnTo>
                <a:lnTo>
                  <a:pt x="5103" y="422"/>
                </a:lnTo>
                <a:lnTo>
                  <a:pt x="5100" y="422"/>
                </a:lnTo>
                <a:lnTo>
                  <a:pt x="5097" y="423"/>
                </a:lnTo>
                <a:lnTo>
                  <a:pt x="5092" y="426"/>
                </a:lnTo>
                <a:lnTo>
                  <a:pt x="5086" y="436"/>
                </a:lnTo>
                <a:lnTo>
                  <a:pt x="5080" y="445"/>
                </a:lnTo>
                <a:lnTo>
                  <a:pt x="5075" y="457"/>
                </a:lnTo>
                <a:lnTo>
                  <a:pt x="5069" y="467"/>
                </a:lnTo>
                <a:lnTo>
                  <a:pt x="5065" y="476"/>
                </a:lnTo>
                <a:lnTo>
                  <a:pt x="5061" y="484"/>
                </a:lnTo>
                <a:lnTo>
                  <a:pt x="5059" y="486"/>
                </a:lnTo>
                <a:lnTo>
                  <a:pt x="5057" y="487"/>
                </a:lnTo>
                <a:lnTo>
                  <a:pt x="5056" y="488"/>
                </a:lnTo>
                <a:lnTo>
                  <a:pt x="5054" y="487"/>
                </a:lnTo>
                <a:lnTo>
                  <a:pt x="5050" y="486"/>
                </a:lnTo>
                <a:lnTo>
                  <a:pt x="5044" y="485"/>
                </a:lnTo>
                <a:lnTo>
                  <a:pt x="5038" y="485"/>
                </a:lnTo>
                <a:lnTo>
                  <a:pt x="5032" y="485"/>
                </a:lnTo>
                <a:lnTo>
                  <a:pt x="5026" y="484"/>
                </a:lnTo>
                <a:lnTo>
                  <a:pt x="5022" y="482"/>
                </a:lnTo>
                <a:lnTo>
                  <a:pt x="5021" y="481"/>
                </a:lnTo>
                <a:lnTo>
                  <a:pt x="5021" y="479"/>
                </a:lnTo>
                <a:lnTo>
                  <a:pt x="5021" y="476"/>
                </a:lnTo>
                <a:lnTo>
                  <a:pt x="5021" y="474"/>
                </a:lnTo>
                <a:lnTo>
                  <a:pt x="5028" y="461"/>
                </a:lnTo>
                <a:lnTo>
                  <a:pt x="5033" y="446"/>
                </a:lnTo>
                <a:lnTo>
                  <a:pt x="5035" y="440"/>
                </a:lnTo>
                <a:lnTo>
                  <a:pt x="5036" y="433"/>
                </a:lnTo>
                <a:lnTo>
                  <a:pt x="5036" y="428"/>
                </a:lnTo>
                <a:lnTo>
                  <a:pt x="5035" y="425"/>
                </a:lnTo>
                <a:lnTo>
                  <a:pt x="5030" y="417"/>
                </a:lnTo>
                <a:lnTo>
                  <a:pt x="5025" y="408"/>
                </a:lnTo>
                <a:lnTo>
                  <a:pt x="5023" y="404"/>
                </a:lnTo>
                <a:lnTo>
                  <a:pt x="5023" y="401"/>
                </a:lnTo>
                <a:lnTo>
                  <a:pt x="5024" y="398"/>
                </a:lnTo>
                <a:lnTo>
                  <a:pt x="5028" y="396"/>
                </a:lnTo>
                <a:lnTo>
                  <a:pt x="5037" y="393"/>
                </a:lnTo>
                <a:lnTo>
                  <a:pt x="5047" y="386"/>
                </a:lnTo>
                <a:lnTo>
                  <a:pt x="5052" y="383"/>
                </a:lnTo>
                <a:lnTo>
                  <a:pt x="5054" y="380"/>
                </a:lnTo>
                <a:lnTo>
                  <a:pt x="5054" y="379"/>
                </a:lnTo>
                <a:lnTo>
                  <a:pt x="5053" y="377"/>
                </a:lnTo>
                <a:lnTo>
                  <a:pt x="5052" y="376"/>
                </a:lnTo>
                <a:lnTo>
                  <a:pt x="5050" y="375"/>
                </a:lnTo>
                <a:lnTo>
                  <a:pt x="5039" y="372"/>
                </a:lnTo>
                <a:lnTo>
                  <a:pt x="5028" y="371"/>
                </a:lnTo>
                <a:lnTo>
                  <a:pt x="5023" y="370"/>
                </a:lnTo>
                <a:lnTo>
                  <a:pt x="5021" y="368"/>
                </a:lnTo>
                <a:lnTo>
                  <a:pt x="5021" y="366"/>
                </a:lnTo>
                <a:lnTo>
                  <a:pt x="5024" y="363"/>
                </a:lnTo>
                <a:lnTo>
                  <a:pt x="5034" y="357"/>
                </a:lnTo>
                <a:lnTo>
                  <a:pt x="5043" y="352"/>
                </a:lnTo>
                <a:lnTo>
                  <a:pt x="5047" y="349"/>
                </a:lnTo>
                <a:lnTo>
                  <a:pt x="5051" y="346"/>
                </a:lnTo>
                <a:lnTo>
                  <a:pt x="5053" y="343"/>
                </a:lnTo>
                <a:lnTo>
                  <a:pt x="5053" y="341"/>
                </a:lnTo>
                <a:lnTo>
                  <a:pt x="5052" y="333"/>
                </a:lnTo>
                <a:lnTo>
                  <a:pt x="5050" y="321"/>
                </a:lnTo>
                <a:lnTo>
                  <a:pt x="5048" y="316"/>
                </a:lnTo>
                <a:lnTo>
                  <a:pt x="5046" y="313"/>
                </a:lnTo>
                <a:lnTo>
                  <a:pt x="5045" y="312"/>
                </a:lnTo>
                <a:lnTo>
                  <a:pt x="5043" y="312"/>
                </a:lnTo>
                <a:lnTo>
                  <a:pt x="5041" y="312"/>
                </a:lnTo>
                <a:lnTo>
                  <a:pt x="5039" y="314"/>
                </a:lnTo>
                <a:lnTo>
                  <a:pt x="5034" y="318"/>
                </a:lnTo>
                <a:lnTo>
                  <a:pt x="5030" y="324"/>
                </a:lnTo>
                <a:lnTo>
                  <a:pt x="5025" y="331"/>
                </a:lnTo>
                <a:lnTo>
                  <a:pt x="5021" y="338"/>
                </a:lnTo>
                <a:lnTo>
                  <a:pt x="5013" y="352"/>
                </a:lnTo>
                <a:lnTo>
                  <a:pt x="5004" y="362"/>
                </a:lnTo>
                <a:lnTo>
                  <a:pt x="4995" y="370"/>
                </a:lnTo>
                <a:lnTo>
                  <a:pt x="4986" y="379"/>
                </a:lnTo>
                <a:lnTo>
                  <a:pt x="4981" y="384"/>
                </a:lnTo>
                <a:lnTo>
                  <a:pt x="4979" y="389"/>
                </a:lnTo>
                <a:lnTo>
                  <a:pt x="4978" y="395"/>
                </a:lnTo>
                <a:lnTo>
                  <a:pt x="4979" y="401"/>
                </a:lnTo>
                <a:lnTo>
                  <a:pt x="4980" y="404"/>
                </a:lnTo>
                <a:lnTo>
                  <a:pt x="4982" y="407"/>
                </a:lnTo>
                <a:lnTo>
                  <a:pt x="4986" y="409"/>
                </a:lnTo>
                <a:lnTo>
                  <a:pt x="4988" y="410"/>
                </a:lnTo>
                <a:lnTo>
                  <a:pt x="4995" y="414"/>
                </a:lnTo>
                <a:lnTo>
                  <a:pt x="5001" y="416"/>
                </a:lnTo>
                <a:lnTo>
                  <a:pt x="5008" y="417"/>
                </a:lnTo>
                <a:lnTo>
                  <a:pt x="5011" y="419"/>
                </a:lnTo>
                <a:lnTo>
                  <a:pt x="5011" y="420"/>
                </a:lnTo>
                <a:lnTo>
                  <a:pt x="5011" y="421"/>
                </a:lnTo>
                <a:lnTo>
                  <a:pt x="5010" y="423"/>
                </a:lnTo>
                <a:lnTo>
                  <a:pt x="5007" y="425"/>
                </a:lnTo>
                <a:lnTo>
                  <a:pt x="5000" y="429"/>
                </a:lnTo>
                <a:lnTo>
                  <a:pt x="4994" y="432"/>
                </a:lnTo>
                <a:lnTo>
                  <a:pt x="4989" y="435"/>
                </a:lnTo>
                <a:lnTo>
                  <a:pt x="4984" y="436"/>
                </a:lnTo>
                <a:lnTo>
                  <a:pt x="4979" y="437"/>
                </a:lnTo>
                <a:lnTo>
                  <a:pt x="4975" y="437"/>
                </a:lnTo>
                <a:lnTo>
                  <a:pt x="4972" y="435"/>
                </a:lnTo>
                <a:lnTo>
                  <a:pt x="4971" y="432"/>
                </a:lnTo>
                <a:lnTo>
                  <a:pt x="4968" y="418"/>
                </a:lnTo>
                <a:lnTo>
                  <a:pt x="4963" y="398"/>
                </a:lnTo>
                <a:lnTo>
                  <a:pt x="4961" y="394"/>
                </a:lnTo>
                <a:lnTo>
                  <a:pt x="4959" y="390"/>
                </a:lnTo>
                <a:lnTo>
                  <a:pt x="4957" y="387"/>
                </a:lnTo>
                <a:lnTo>
                  <a:pt x="4955" y="385"/>
                </a:lnTo>
                <a:lnTo>
                  <a:pt x="4953" y="384"/>
                </a:lnTo>
                <a:lnTo>
                  <a:pt x="4951" y="384"/>
                </a:lnTo>
                <a:lnTo>
                  <a:pt x="4948" y="387"/>
                </a:lnTo>
                <a:lnTo>
                  <a:pt x="4945" y="390"/>
                </a:lnTo>
                <a:lnTo>
                  <a:pt x="4939" y="400"/>
                </a:lnTo>
                <a:lnTo>
                  <a:pt x="4935" y="407"/>
                </a:lnTo>
                <a:lnTo>
                  <a:pt x="4934" y="415"/>
                </a:lnTo>
                <a:lnTo>
                  <a:pt x="4934" y="420"/>
                </a:lnTo>
                <a:lnTo>
                  <a:pt x="4934" y="425"/>
                </a:lnTo>
                <a:lnTo>
                  <a:pt x="4936" y="429"/>
                </a:lnTo>
                <a:lnTo>
                  <a:pt x="4938" y="433"/>
                </a:lnTo>
                <a:lnTo>
                  <a:pt x="4941" y="438"/>
                </a:lnTo>
                <a:lnTo>
                  <a:pt x="4943" y="440"/>
                </a:lnTo>
                <a:lnTo>
                  <a:pt x="4945" y="441"/>
                </a:lnTo>
                <a:lnTo>
                  <a:pt x="4947" y="441"/>
                </a:lnTo>
                <a:lnTo>
                  <a:pt x="4949" y="442"/>
                </a:lnTo>
                <a:lnTo>
                  <a:pt x="4954" y="442"/>
                </a:lnTo>
                <a:lnTo>
                  <a:pt x="4959" y="441"/>
                </a:lnTo>
                <a:lnTo>
                  <a:pt x="4964" y="441"/>
                </a:lnTo>
                <a:lnTo>
                  <a:pt x="4966" y="441"/>
                </a:lnTo>
                <a:lnTo>
                  <a:pt x="4965" y="443"/>
                </a:lnTo>
                <a:lnTo>
                  <a:pt x="4960" y="446"/>
                </a:lnTo>
                <a:lnTo>
                  <a:pt x="4949" y="452"/>
                </a:lnTo>
                <a:lnTo>
                  <a:pt x="4944" y="455"/>
                </a:lnTo>
                <a:lnTo>
                  <a:pt x="4944" y="457"/>
                </a:lnTo>
                <a:lnTo>
                  <a:pt x="4944" y="458"/>
                </a:lnTo>
                <a:lnTo>
                  <a:pt x="4945" y="460"/>
                </a:lnTo>
                <a:lnTo>
                  <a:pt x="4948" y="463"/>
                </a:lnTo>
                <a:lnTo>
                  <a:pt x="4955" y="470"/>
                </a:lnTo>
                <a:lnTo>
                  <a:pt x="4966" y="476"/>
                </a:lnTo>
                <a:lnTo>
                  <a:pt x="4970" y="480"/>
                </a:lnTo>
                <a:lnTo>
                  <a:pt x="4974" y="482"/>
                </a:lnTo>
                <a:lnTo>
                  <a:pt x="4976" y="484"/>
                </a:lnTo>
                <a:lnTo>
                  <a:pt x="4976" y="486"/>
                </a:lnTo>
                <a:lnTo>
                  <a:pt x="4974" y="491"/>
                </a:lnTo>
                <a:lnTo>
                  <a:pt x="4973" y="497"/>
                </a:lnTo>
                <a:lnTo>
                  <a:pt x="4971" y="499"/>
                </a:lnTo>
                <a:lnTo>
                  <a:pt x="4969" y="501"/>
                </a:lnTo>
                <a:lnTo>
                  <a:pt x="4965" y="499"/>
                </a:lnTo>
                <a:lnTo>
                  <a:pt x="4958" y="496"/>
                </a:lnTo>
                <a:lnTo>
                  <a:pt x="4951" y="492"/>
                </a:lnTo>
                <a:lnTo>
                  <a:pt x="4944" y="489"/>
                </a:lnTo>
                <a:lnTo>
                  <a:pt x="4937" y="489"/>
                </a:lnTo>
                <a:lnTo>
                  <a:pt x="4930" y="489"/>
                </a:lnTo>
                <a:lnTo>
                  <a:pt x="4925" y="490"/>
                </a:lnTo>
                <a:lnTo>
                  <a:pt x="4920" y="492"/>
                </a:lnTo>
                <a:lnTo>
                  <a:pt x="4916" y="495"/>
                </a:lnTo>
                <a:lnTo>
                  <a:pt x="4914" y="497"/>
                </a:lnTo>
                <a:lnTo>
                  <a:pt x="4914" y="507"/>
                </a:lnTo>
                <a:lnTo>
                  <a:pt x="4913" y="512"/>
                </a:lnTo>
                <a:lnTo>
                  <a:pt x="4907" y="515"/>
                </a:lnTo>
                <a:lnTo>
                  <a:pt x="4902" y="516"/>
                </a:lnTo>
                <a:lnTo>
                  <a:pt x="4898" y="520"/>
                </a:lnTo>
                <a:lnTo>
                  <a:pt x="4894" y="524"/>
                </a:lnTo>
                <a:lnTo>
                  <a:pt x="4895" y="528"/>
                </a:lnTo>
                <a:lnTo>
                  <a:pt x="4895" y="531"/>
                </a:lnTo>
                <a:close/>
                <a:moveTo>
                  <a:pt x="4725" y="487"/>
                </a:moveTo>
                <a:lnTo>
                  <a:pt x="4727" y="490"/>
                </a:lnTo>
                <a:lnTo>
                  <a:pt x="4730" y="492"/>
                </a:lnTo>
                <a:lnTo>
                  <a:pt x="4734" y="494"/>
                </a:lnTo>
                <a:lnTo>
                  <a:pt x="4739" y="495"/>
                </a:lnTo>
                <a:lnTo>
                  <a:pt x="4750" y="497"/>
                </a:lnTo>
                <a:lnTo>
                  <a:pt x="4761" y="498"/>
                </a:lnTo>
                <a:lnTo>
                  <a:pt x="4772" y="499"/>
                </a:lnTo>
                <a:lnTo>
                  <a:pt x="4780" y="499"/>
                </a:lnTo>
                <a:lnTo>
                  <a:pt x="4784" y="501"/>
                </a:lnTo>
                <a:lnTo>
                  <a:pt x="4787" y="502"/>
                </a:lnTo>
                <a:lnTo>
                  <a:pt x="4788" y="503"/>
                </a:lnTo>
                <a:lnTo>
                  <a:pt x="4788" y="505"/>
                </a:lnTo>
                <a:lnTo>
                  <a:pt x="4783" y="514"/>
                </a:lnTo>
                <a:lnTo>
                  <a:pt x="4780" y="524"/>
                </a:lnTo>
                <a:lnTo>
                  <a:pt x="4779" y="529"/>
                </a:lnTo>
                <a:lnTo>
                  <a:pt x="4778" y="534"/>
                </a:lnTo>
                <a:lnTo>
                  <a:pt x="4779" y="538"/>
                </a:lnTo>
                <a:lnTo>
                  <a:pt x="4780" y="541"/>
                </a:lnTo>
                <a:lnTo>
                  <a:pt x="4789" y="550"/>
                </a:lnTo>
                <a:lnTo>
                  <a:pt x="4801" y="561"/>
                </a:lnTo>
                <a:lnTo>
                  <a:pt x="4815" y="572"/>
                </a:lnTo>
                <a:lnTo>
                  <a:pt x="4824" y="579"/>
                </a:lnTo>
                <a:lnTo>
                  <a:pt x="4826" y="580"/>
                </a:lnTo>
                <a:lnTo>
                  <a:pt x="4828" y="580"/>
                </a:lnTo>
                <a:lnTo>
                  <a:pt x="4832" y="579"/>
                </a:lnTo>
                <a:lnTo>
                  <a:pt x="4836" y="577"/>
                </a:lnTo>
                <a:lnTo>
                  <a:pt x="4843" y="574"/>
                </a:lnTo>
                <a:lnTo>
                  <a:pt x="4851" y="569"/>
                </a:lnTo>
                <a:lnTo>
                  <a:pt x="4865" y="558"/>
                </a:lnTo>
                <a:lnTo>
                  <a:pt x="4871" y="553"/>
                </a:lnTo>
                <a:lnTo>
                  <a:pt x="4863" y="552"/>
                </a:lnTo>
                <a:lnTo>
                  <a:pt x="4844" y="548"/>
                </a:lnTo>
                <a:lnTo>
                  <a:pt x="4835" y="545"/>
                </a:lnTo>
                <a:lnTo>
                  <a:pt x="4828" y="541"/>
                </a:lnTo>
                <a:lnTo>
                  <a:pt x="4826" y="539"/>
                </a:lnTo>
                <a:lnTo>
                  <a:pt x="4825" y="538"/>
                </a:lnTo>
                <a:lnTo>
                  <a:pt x="4826" y="536"/>
                </a:lnTo>
                <a:lnTo>
                  <a:pt x="4827" y="534"/>
                </a:lnTo>
                <a:lnTo>
                  <a:pt x="4838" y="526"/>
                </a:lnTo>
                <a:lnTo>
                  <a:pt x="4845" y="517"/>
                </a:lnTo>
                <a:lnTo>
                  <a:pt x="4849" y="510"/>
                </a:lnTo>
                <a:lnTo>
                  <a:pt x="4851" y="506"/>
                </a:lnTo>
                <a:lnTo>
                  <a:pt x="4857" y="501"/>
                </a:lnTo>
                <a:lnTo>
                  <a:pt x="4868" y="494"/>
                </a:lnTo>
                <a:lnTo>
                  <a:pt x="4872" y="492"/>
                </a:lnTo>
                <a:lnTo>
                  <a:pt x="4878" y="491"/>
                </a:lnTo>
                <a:lnTo>
                  <a:pt x="4884" y="490"/>
                </a:lnTo>
                <a:lnTo>
                  <a:pt x="4889" y="490"/>
                </a:lnTo>
                <a:lnTo>
                  <a:pt x="4894" y="489"/>
                </a:lnTo>
                <a:lnTo>
                  <a:pt x="4898" y="488"/>
                </a:lnTo>
                <a:lnTo>
                  <a:pt x="4898" y="487"/>
                </a:lnTo>
                <a:lnTo>
                  <a:pt x="4898" y="486"/>
                </a:lnTo>
                <a:lnTo>
                  <a:pt x="4898" y="485"/>
                </a:lnTo>
                <a:lnTo>
                  <a:pt x="4895" y="483"/>
                </a:lnTo>
                <a:lnTo>
                  <a:pt x="4886" y="474"/>
                </a:lnTo>
                <a:lnTo>
                  <a:pt x="4877" y="466"/>
                </a:lnTo>
                <a:lnTo>
                  <a:pt x="4869" y="458"/>
                </a:lnTo>
                <a:lnTo>
                  <a:pt x="4866" y="451"/>
                </a:lnTo>
                <a:lnTo>
                  <a:pt x="4867" y="448"/>
                </a:lnTo>
                <a:lnTo>
                  <a:pt x="4870" y="443"/>
                </a:lnTo>
                <a:lnTo>
                  <a:pt x="4876" y="438"/>
                </a:lnTo>
                <a:lnTo>
                  <a:pt x="4881" y="432"/>
                </a:lnTo>
                <a:lnTo>
                  <a:pt x="4885" y="427"/>
                </a:lnTo>
                <a:lnTo>
                  <a:pt x="4886" y="423"/>
                </a:lnTo>
                <a:lnTo>
                  <a:pt x="4886" y="422"/>
                </a:lnTo>
                <a:lnTo>
                  <a:pt x="4885" y="422"/>
                </a:lnTo>
                <a:lnTo>
                  <a:pt x="4882" y="422"/>
                </a:lnTo>
                <a:lnTo>
                  <a:pt x="4878" y="423"/>
                </a:lnTo>
                <a:lnTo>
                  <a:pt x="4870" y="426"/>
                </a:lnTo>
                <a:lnTo>
                  <a:pt x="4865" y="428"/>
                </a:lnTo>
                <a:lnTo>
                  <a:pt x="4861" y="431"/>
                </a:lnTo>
                <a:lnTo>
                  <a:pt x="4860" y="433"/>
                </a:lnTo>
                <a:lnTo>
                  <a:pt x="4859" y="438"/>
                </a:lnTo>
                <a:lnTo>
                  <a:pt x="4860" y="442"/>
                </a:lnTo>
                <a:lnTo>
                  <a:pt x="4859" y="445"/>
                </a:lnTo>
                <a:lnTo>
                  <a:pt x="4858" y="447"/>
                </a:lnTo>
                <a:lnTo>
                  <a:pt x="4856" y="449"/>
                </a:lnTo>
                <a:lnTo>
                  <a:pt x="4854" y="450"/>
                </a:lnTo>
                <a:lnTo>
                  <a:pt x="4848" y="452"/>
                </a:lnTo>
                <a:lnTo>
                  <a:pt x="4843" y="453"/>
                </a:lnTo>
                <a:lnTo>
                  <a:pt x="4839" y="458"/>
                </a:lnTo>
                <a:lnTo>
                  <a:pt x="4834" y="467"/>
                </a:lnTo>
                <a:lnTo>
                  <a:pt x="4831" y="471"/>
                </a:lnTo>
                <a:lnTo>
                  <a:pt x="4827" y="474"/>
                </a:lnTo>
                <a:lnTo>
                  <a:pt x="4826" y="475"/>
                </a:lnTo>
                <a:lnTo>
                  <a:pt x="4824" y="475"/>
                </a:lnTo>
                <a:lnTo>
                  <a:pt x="4822" y="474"/>
                </a:lnTo>
                <a:lnTo>
                  <a:pt x="4820" y="473"/>
                </a:lnTo>
                <a:lnTo>
                  <a:pt x="4817" y="468"/>
                </a:lnTo>
                <a:lnTo>
                  <a:pt x="4814" y="463"/>
                </a:lnTo>
                <a:lnTo>
                  <a:pt x="4812" y="458"/>
                </a:lnTo>
                <a:lnTo>
                  <a:pt x="4811" y="452"/>
                </a:lnTo>
                <a:lnTo>
                  <a:pt x="4809" y="448"/>
                </a:lnTo>
                <a:lnTo>
                  <a:pt x="4806" y="445"/>
                </a:lnTo>
                <a:lnTo>
                  <a:pt x="4803" y="443"/>
                </a:lnTo>
                <a:lnTo>
                  <a:pt x="4800" y="442"/>
                </a:lnTo>
                <a:lnTo>
                  <a:pt x="4787" y="443"/>
                </a:lnTo>
                <a:lnTo>
                  <a:pt x="4767" y="444"/>
                </a:lnTo>
                <a:lnTo>
                  <a:pt x="4757" y="445"/>
                </a:lnTo>
                <a:lnTo>
                  <a:pt x="4750" y="446"/>
                </a:lnTo>
                <a:lnTo>
                  <a:pt x="4747" y="447"/>
                </a:lnTo>
                <a:lnTo>
                  <a:pt x="4744" y="449"/>
                </a:lnTo>
                <a:lnTo>
                  <a:pt x="4743" y="450"/>
                </a:lnTo>
                <a:lnTo>
                  <a:pt x="4741" y="452"/>
                </a:lnTo>
                <a:lnTo>
                  <a:pt x="4738" y="463"/>
                </a:lnTo>
                <a:lnTo>
                  <a:pt x="4733" y="474"/>
                </a:lnTo>
                <a:lnTo>
                  <a:pt x="4728" y="484"/>
                </a:lnTo>
                <a:lnTo>
                  <a:pt x="4725" y="487"/>
                </a:lnTo>
                <a:close/>
                <a:moveTo>
                  <a:pt x="3991" y="712"/>
                </a:moveTo>
                <a:lnTo>
                  <a:pt x="3993" y="724"/>
                </a:lnTo>
                <a:lnTo>
                  <a:pt x="3995" y="735"/>
                </a:lnTo>
                <a:lnTo>
                  <a:pt x="3999" y="747"/>
                </a:lnTo>
                <a:lnTo>
                  <a:pt x="4002" y="756"/>
                </a:lnTo>
                <a:lnTo>
                  <a:pt x="4005" y="763"/>
                </a:lnTo>
                <a:lnTo>
                  <a:pt x="4008" y="769"/>
                </a:lnTo>
                <a:lnTo>
                  <a:pt x="4009" y="770"/>
                </a:lnTo>
                <a:lnTo>
                  <a:pt x="4010" y="770"/>
                </a:lnTo>
                <a:lnTo>
                  <a:pt x="4011" y="769"/>
                </a:lnTo>
                <a:lnTo>
                  <a:pt x="4012" y="766"/>
                </a:lnTo>
                <a:lnTo>
                  <a:pt x="4014" y="753"/>
                </a:lnTo>
                <a:lnTo>
                  <a:pt x="4016" y="741"/>
                </a:lnTo>
                <a:lnTo>
                  <a:pt x="4017" y="738"/>
                </a:lnTo>
                <a:lnTo>
                  <a:pt x="4020" y="735"/>
                </a:lnTo>
                <a:lnTo>
                  <a:pt x="4021" y="735"/>
                </a:lnTo>
                <a:lnTo>
                  <a:pt x="4022" y="738"/>
                </a:lnTo>
                <a:lnTo>
                  <a:pt x="4025" y="748"/>
                </a:lnTo>
                <a:lnTo>
                  <a:pt x="4030" y="757"/>
                </a:lnTo>
                <a:lnTo>
                  <a:pt x="4033" y="761"/>
                </a:lnTo>
                <a:lnTo>
                  <a:pt x="4037" y="765"/>
                </a:lnTo>
                <a:lnTo>
                  <a:pt x="4041" y="767"/>
                </a:lnTo>
                <a:lnTo>
                  <a:pt x="4044" y="767"/>
                </a:lnTo>
                <a:lnTo>
                  <a:pt x="4049" y="765"/>
                </a:lnTo>
                <a:lnTo>
                  <a:pt x="4056" y="760"/>
                </a:lnTo>
                <a:lnTo>
                  <a:pt x="4066" y="753"/>
                </a:lnTo>
                <a:lnTo>
                  <a:pt x="4075" y="746"/>
                </a:lnTo>
                <a:lnTo>
                  <a:pt x="4085" y="739"/>
                </a:lnTo>
                <a:lnTo>
                  <a:pt x="4092" y="734"/>
                </a:lnTo>
                <a:lnTo>
                  <a:pt x="4094" y="734"/>
                </a:lnTo>
                <a:lnTo>
                  <a:pt x="4097" y="734"/>
                </a:lnTo>
                <a:lnTo>
                  <a:pt x="4098" y="735"/>
                </a:lnTo>
                <a:lnTo>
                  <a:pt x="4098" y="738"/>
                </a:lnTo>
                <a:lnTo>
                  <a:pt x="4097" y="745"/>
                </a:lnTo>
                <a:lnTo>
                  <a:pt x="4094" y="750"/>
                </a:lnTo>
                <a:lnTo>
                  <a:pt x="4090" y="754"/>
                </a:lnTo>
                <a:lnTo>
                  <a:pt x="4086" y="758"/>
                </a:lnTo>
                <a:lnTo>
                  <a:pt x="4076" y="763"/>
                </a:lnTo>
                <a:lnTo>
                  <a:pt x="4070" y="769"/>
                </a:lnTo>
                <a:lnTo>
                  <a:pt x="4065" y="774"/>
                </a:lnTo>
                <a:lnTo>
                  <a:pt x="4057" y="778"/>
                </a:lnTo>
                <a:lnTo>
                  <a:pt x="4054" y="780"/>
                </a:lnTo>
                <a:lnTo>
                  <a:pt x="4052" y="784"/>
                </a:lnTo>
                <a:lnTo>
                  <a:pt x="4051" y="790"/>
                </a:lnTo>
                <a:lnTo>
                  <a:pt x="4051" y="798"/>
                </a:lnTo>
                <a:lnTo>
                  <a:pt x="4052" y="802"/>
                </a:lnTo>
                <a:lnTo>
                  <a:pt x="4054" y="804"/>
                </a:lnTo>
                <a:lnTo>
                  <a:pt x="4056" y="807"/>
                </a:lnTo>
                <a:lnTo>
                  <a:pt x="4058" y="809"/>
                </a:lnTo>
                <a:lnTo>
                  <a:pt x="4065" y="811"/>
                </a:lnTo>
                <a:lnTo>
                  <a:pt x="4071" y="812"/>
                </a:lnTo>
                <a:lnTo>
                  <a:pt x="4076" y="812"/>
                </a:lnTo>
                <a:lnTo>
                  <a:pt x="4081" y="814"/>
                </a:lnTo>
                <a:lnTo>
                  <a:pt x="4082" y="815"/>
                </a:lnTo>
                <a:lnTo>
                  <a:pt x="4083" y="817"/>
                </a:lnTo>
                <a:lnTo>
                  <a:pt x="4082" y="819"/>
                </a:lnTo>
                <a:lnTo>
                  <a:pt x="4082" y="822"/>
                </a:lnTo>
                <a:lnTo>
                  <a:pt x="4080" y="826"/>
                </a:lnTo>
                <a:lnTo>
                  <a:pt x="4078" y="830"/>
                </a:lnTo>
                <a:lnTo>
                  <a:pt x="4075" y="833"/>
                </a:lnTo>
                <a:lnTo>
                  <a:pt x="4072" y="835"/>
                </a:lnTo>
                <a:lnTo>
                  <a:pt x="4066" y="839"/>
                </a:lnTo>
                <a:lnTo>
                  <a:pt x="4058" y="843"/>
                </a:lnTo>
                <a:lnTo>
                  <a:pt x="4052" y="847"/>
                </a:lnTo>
                <a:lnTo>
                  <a:pt x="4048" y="850"/>
                </a:lnTo>
                <a:lnTo>
                  <a:pt x="4047" y="853"/>
                </a:lnTo>
                <a:lnTo>
                  <a:pt x="4047" y="855"/>
                </a:lnTo>
                <a:lnTo>
                  <a:pt x="4047" y="857"/>
                </a:lnTo>
                <a:lnTo>
                  <a:pt x="4048" y="860"/>
                </a:lnTo>
                <a:lnTo>
                  <a:pt x="4059" y="876"/>
                </a:lnTo>
                <a:lnTo>
                  <a:pt x="4078" y="899"/>
                </a:lnTo>
                <a:lnTo>
                  <a:pt x="4088" y="910"/>
                </a:lnTo>
                <a:lnTo>
                  <a:pt x="4096" y="921"/>
                </a:lnTo>
                <a:lnTo>
                  <a:pt x="4104" y="929"/>
                </a:lnTo>
                <a:lnTo>
                  <a:pt x="4111" y="934"/>
                </a:lnTo>
                <a:lnTo>
                  <a:pt x="4113" y="935"/>
                </a:lnTo>
                <a:lnTo>
                  <a:pt x="4116" y="936"/>
                </a:lnTo>
                <a:lnTo>
                  <a:pt x="4118" y="936"/>
                </a:lnTo>
                <a:lnTo>
                  <a:pt x="4120" y="935"/>
                </a:lnTo>
                <a:lnTo>
                  <a:pt x="4125" y="933"/>
                </a:lnTo>
                <a:lnTo>
                  <a:pt x="4130" y="929"/>
                </a:lnTo>
                <a:lnTo>
                  <a:pt x="4133" y="924"/>
                </a:lnTo>
                <a:lnTo>
                  <a:pt x="4136" y="918"/>
                </a:lnTo>
                <a:lnTo>
                  <a:pt x="4138" y="911"/>
                </a:lnTo>
                <a:lnTo>
                  <a:pt x="4139" y="906"/>
                </a:lnTo>
                <a:lnTo>
                  <a:pt x="4142" y="893"/>
                </a:lnTo>
                <a:lnTo>
                  <a:pt x="4148" y="871"/>
                </a:lnTo>
                <a:lnTo>
                  <a:pt x="4157" y="843"/>
                </a:lnTo>
                <a:lnTo>
                  <a:pt x="4167" y="813"/>
                </a:lnTo>
                <a:lnTo>
                  <a:pt x="4177" y="783"/>
                </a:lnTo>
                <a:lnTo>
                  <a:pt x="4185" y="759"/>
                </a:lnTo>
                <a:lnTo>
                  <a:pt x="4188" y="751"/>
                </a:lnTo>
                <a:lnTo>
                  <a:pt x="4191" y="745"/>
                </a:lnTo>
                <a:lnTo>
                  <a:pt x="4192" y="744"/>
                </a:lnTo>
                <a:lnTo>
                  <a:pt x="4192" y="743"/>
                </a:lnTo>
                <a:lnTo>
                  <a:pt x="4193" y="743"/>
                </a:lnTo>
                <a:lnTo>
                  <a:pt x="4193" y="744"/>
                </a:lnTo>
                <a:lnTo>
                  <a:pt x="4197" y="756"/>
                </a:lnTo>
                <a:lnTo>
                  <a:pt x="4201" y="770"/>
                </a:lnTo>
                <a:lnTo>
                  <a:pt x="4202" y="775"/>
                </a:lnTo>
                <a:lnTo>
                  <a:pt x="4204" y="781"/>
                </a:lnTo>
                <a:lnTo>
                  <a:pt x="4204" y="785"/>
                </a:lnTo>
                <a:lnTo>
                  <a:pt x="4204" y="790"/>
                </a:lnTo>
                <a:lnTo>
                  <a:pt x="4204" y="791"/>
                </a:lnTo>
                <a:lnTo>
                  <a:pt x="4204" y="792"/>
                </a:lnTo>
                <a:lnTo>
                  <a:pt x="4205" y="793"/>
                </a:lnTo>
                <a:lnTo>
                  <a:pt x="4207" y="793"/>
                </a:lnTo>
                <a:lnTo>
                  <a:pt x="4210" y="794"/>
                </a:lnTo>
                <a:lnTo>
                  <a:pt x="4214" y="794"/>
                </a:lnTo>
                <a:lnTo>
                  <a:pt x="4219" y="795"/>
                </a:lnTo>
                <a:lnTo>
                  <a:pt x="4221" y="797"/>
                </a:lnTo>
                <a:lnTo>
                  <a:pt x="4222" y="799"/>
                </a:lnTo>
                <a:lnTo>
                  <a:pt x="4221" y="802"/>
                </a:lnTo>
                <a:lnTo>
                  <a:pt x="4220" y="805"/>
                </a:lnTo>
                <a:lnTo>
                  <a:pt x="4219" y="811"/>
                </a:lnTo>
                <a:lnTo>
                  <a:pt x="4209" y="826"/>
                </a:lnTo>
                <a:lnTo>
                  <a:pt x="4204" y="838"/>
                </a:lnTo>
                <a:lnTo>
                  <a:pt x="4202" y="843"/>
                </a:lnTo>
                <a:lnTo>
                  <a:pt x="4202" y="847"/>
                </a:lnTo>
                <a:lnTo>
                  <a:pt x="4204" y="852"/>
                </a:lnTo>
                <a:lnTo>
                  <a:pt x="4208" y="857"/>
                </a:lnTo>
                <a:lnTo>
                  <a:pt x="4211" y="858"/>
                </a:lnTo>
                <a:lnTo>
                  <a:pt x="4214" y="859"/>
                </a:lnTo>
                <a:lnTo>
                  <a:pt x="4219" y="859"/>
                </a:lnTo>
                <a:lnTo>
                  <a:pt x="4223" y="859"/>
                </a:lnTo>
                <a:lnTo>
                  <a:pt x="4232" y="855"/>
                </a:lnTo>
                <a:lnTo>
                  <a:pt x="4242" y="850"/>
                </a:lnTo>
                <a:lnTo>
                  <a:pt x="4251" y="846"/>
                </a:lnTo>
                <a:lnTo>
                  <a:pt x="4258" y="843"/>
                </a:lnTo>
                <a:lnTo>
                  <a:pt x="4261" y="843"/>
                </a:lnTo>
                <a:lnTo>
                  <a:pt x="4263" y="843"/>
                </a:lnTo>
                <a:lnTo>
                  <a:pt x="4264" y="844"/>
                </a:lnTo>
                <a:lnTo>
                  <a:pt x="4264" y="846"/>
                </a:lnTo>
                <a:lnTo>
                  <a:pt x="4258" y="860"/>
                </a:lnTo>
                <a:lnTo>
                  <a:pt x="4250" y="876"/>
                </a:lnTo>
                <a:lnTo>
                  <a:pt x="4247" y="882"/>
                </a:lnTo>
                <a:lnTo>
                  <a:pt x="4245" y="887"/>
                </a:lnTo>
                <a:lnTo>
                  <a:pt x="4245" y="889"/>
                </a:lnTo>
                <a:lnTo>
                  <a:pt x="4246" y="890"/>
                </a:lnTo>
                <a:lnTo>
                  <a:pt x="4246" y="891"/>
                </a:lnTo>
                <a:lnTo>
                  <a:pt x="4248" y="891"/>
                </a:lnTo>
                <a:lnTo>
                  <a:pt x="4253" y="889"/>
                </a:lnTo>
                <a:lnTo>
                  <a:pt x="4258" y="884"/>
                </a:lnTo>
                <a:lnTo>
                  <a:pt x="4265" y="878"/>
                </a:lnTo>
                <a:lnTo>
                  <a:pt x="4270" y="870"/>
                </a:lnTo>
                <a:lnTo>
                  <a:pt x="4275" y="863"/>
                </a:lnTo>
                <a:lnTo>
                  <a:pt x="4280" y="856"/>
                </a:lnTo>
                <a:lnTo>
                  <a:pt x="4284" y="848"/>
                </a:lnTo>
                <a:lnTo>
                  <a:pt x="4286" y="842"/>
                </a:lnTo>
                <a:lnTo>
                  <a:pt x="4290" y="831"/>
                </a:lnTo>
                <a:lnTo>
                  <a:pt x="4296" y="819"/>
                </a:lnTo>
                <a:lnTo>
                  <a:pt x="4298" y="814"/>
                </a:lnTo>
                <a:lnTo>
                  <a:pt x="4299" y="809"/>
                </a:lnTo>
                <a:lnTo>
                  <a:pt x="4299" y="806"/>
                </a:lnTo>
                <a:lnTo>
                  <a:pt x="4298" y="804"/>
                </a:lnTo>
                <a:lnTo>
                  <a:pt x="4297" y="802"/>
                </a:lnTo>
                <a:lnTo>
                  <a:pt x="4295" y="801"/>
                </a:lnTo>
                <a:lnTo>
                  <a:pt x="4291" y="799"/>
                </a:lnTo>
                <a:lnTo>
                  <a:pt x="4285" y="797"/>
                </a:lnTo>
                <a:lnTo>
                  <a:pt x="4279" y="797"/>
                </a:lnTo>
                <a:lnTo>
                  <a:pt x="4273" y="796"/>
                </a:lnTo>
                <a:lnTo>
                  <a:pt x="4268" y="795"/>
                </a:lnTo>
                <a:lnTo>
                  <a:pt x="4264" y="794"/>
                </a:lnTo>
                <a:lnTo>
                  <a:pt x="4262" y="793"/>
                </a:lnTo>
                <a:lnTo>
                  <a:pt x="4261" y="792"/>
                </a:lnTo>
                <a:lnTo>
                  <a:pt x="4260" y="791"/>
                </a:lnTo>
                <a:lnTo>
                  <a:pt x="4260" y="789"/>
                </a:lnTo>
                <a:lnTo>
                  <a:pt x="4261" y="781"/>
                </a:lnTo>
                <a:lnTo>
                  <a:pt x="4263" y="774"/>
                </a:lnTo>
                <a:lnTo>
                  <a:pt x="4263" y="770"/>
                </a:lnTo>
                <a:lnTo>
                  <a:pt x="4263" y="767"/>
                </a:lnTo>
                <a:lnTo>
                  <a:pt x="4262" y="763"/>
                </a:lnTo>
                <a:lnTo>
                  <a:pt x="4260" y="760"/>
                </a:lnTo>
                <a:lnTo>
                  <a:pt x="4253" y="750"/>
                </a:lnTo>
                <a:lnTo>
                  <a:pt x="4246" y="733"/>
                </a:lnTo>
                <a:lnTo>
                  <a:pt x="4242" y="725"/>
                </a:lnTo>
                <a:lnTo>
                  <a:pt x="4238" y="716"/>
                </a:lnTo>
                <a:lnTo>
                  <a:pt x="4233" y="709"/>
                </a:lnTo>
                <a:lnTo>
                  <a:pt x="4228" y="704"/>
                </a:lnTo>
                <a:lnTo>
                  <a:pt x="4217" y="694"/>
                </a:lnTo>
                <a:lnTo>
                  <a:pt x="4202" y="685"/>
                </a:lnTo>
                <a:lnTo>
                  <a:pt x="4196" y="680"/>
                </a:lnTo>
                <a:lnTo>
                  <a:pt x="4191" y="674"/>
                </a:lnTo>
                <a:lnTo>
                  <a:pt x="4190" y="672"/>
                </a:lnTo>
                <a:lnTo>
                  <a:pt x="4189" y="669"/>
                </a:lnTo>
                <a:lnTo>
                  <a:pt x="4190" y="667"/>
                </a:lnTo>
                <a:lnTo>
                  <a:pt x="4191" y="665"/>
                </a:lnTo>
                <a:lnTo>
                  <a:pt x="4196" y="660"/>
                </a:lnTo>
                <a:lnTo>
                  <a:pt x="4200" y="656"/>
                </a:lnTo>
                <a:lnTo>
                  <a:pt x="4205" y="652"/>
                </a:lnTo>
                <a:lnTo>
                  <a:pt x="4210" y="649"/>
                </a:lnTo>
                <a:lnTo>
                  <a:pt x="4217" y="648"/>
                </a:lnTo>
                <a:lnTo>
                  <a:pt x="4224" y="646"/>
                </a:lnTo>
                <a:lnTo>
                  <a:pt x="4231" y="646"/>
                </a:lnTo>
                <a:lnTo>
                  <a:pt x="4240" y="647"/>
                </a:lnTo>
                <a:lnTo>
                  <a:pt x="4258" y="649"/>
                </a:lnTo>
                <a:lnTo>
                  <a:pt x="4276" y="650"/>
                </a:lnTo>
                <a:lnTo>
                  <a:pt x="4285" y="650"/>
                </a:lnTo>
                <a:lnTo>
                  <a:pt x="4292" y="650"/>
                </a:lnTo>
                <a:lnTo>
                  <a:pt x="4298" y="648"/>
                </a:lnTo>
                <a:lnTo>
                  <a:pt x="4304" y="646"/>
                </a:lnTo>
                <a:lnTo>
                  <a:pt x="4309" y="640"/>
                </a:lnTo>
                <a:lnTo>
                  <a:pt x="4316" y="629"/>
                </a:lnTo>
                <a:lnTo>
                  <a:pt x="4326" y="616"/>
                </a:lnTo>
                <a:lnTo>
                  <a:pt x="4334" y="601"/>
                </a:lnTo>
                <a:lnTo>
                  <a:pt x="4350" y="575"/>
                </a:lnTo>
                <a:lnTo>
                  <a:pt x="4357" y="563"/>
                </a:lnTo>
                <a:lnTo>
                  <a:pt x="4362" y="562"/>
                </a:lnTo>
                <a:lnTo>
                  <a:pt x="4373" y="560"/>
                </a:lnTo>
                <a:lnTo>
                  <a:pt x="4377" y="558"/>
                </a:lnTo>
                <a:lnTo>
                  <a:pt x="4380" y="555"/>
                </a:lnTo>
                <a:lnTo>
                  <a:pt x="4381" y="553"/>
                </a:lnTo>
                <a:lnTo>
                  <a:pt x="4381" y="551"/>
                </a:lnTo>
                <a:lnTo>
                  <a:pt x="4379" y="549"/>
                </a:lnTo>
                <a:lnTo>
                  <a:pt x="4377" y="546"/>
                </a:lnTo>
                <a:lnTo>
                  <a:pt x="4375" y="542"/>
                </a:lnTo>
                <a:lnTo>
                  <a:pt x="4371" y="541"/>
                </a:lnTo>
                <a:lnTo>
                  <a:pt x="4367" y="540"/>
                </a:lnTo>
                <a:lnTo>
                  <a:pt x="4363" y="539"/>
                </a:lnTo>
                <a:lnTo>
                  <a:pt x="4354" y="540"/>
                </a:lnTo>
                <a:lnTo>
                  <a:pt x="4344" y="541"/>
                </a:lnTo>
                <a:lnTo>
                  <a:pt x="4335" y="543"/>
                </a:lnTo>
                <a:lnTo>
                  <a:pt x="4326" y="546"/>
                </a:lnTo>
                <a:lnTo>
                  <a:pt x="4322" y="546"/>
                </a:lnTo>
                <a:lnTo>
                  <a:pt x="4319" y="546"/>
                </a:lnTo>
                <a:lnTo>
                  <a:pt x="4316" y="545"/>
                </a:lnTo>
                <a:lnTo>
                  <a:pt x="4314" y="543"/>
                </a:lnTo>
                <a:lnTo>
                  <a:pt x="4305" y="536"/>
                </a:lnTo>
                <a:lnTo>
                  <a:pt x="4292" y="528"/>
                </a:lnTo>
                <a:lnTo>
                  <a:pt x="4280" y="520"/>
                </a:lnTo>
                <a:lnTo>
                  <a:pt x="4270" y="514"/>
                </a:lnTo>
                <a:lnTo>
                  <a:pt x="4258" y="508"/>
                </a:lnTo>
                <a:lnTo>
                  <a:pt x="4247" y="503"/>
                </a:lnTo>
                <a:lnTo>
                  <a:pt x="4242" y="502"/>
                </a:lnTo>
                <a:lnTo>
                  <a:pt x="4238" y="504"/>
                </a:lnTo>
                <a:lnTo>
                  <a:pt x="4235" y="505"/>
                </a:lnTo>
                <a:lnTo>
                  <a:pt x="4234" y="507"/>
                </a:lnTo>
                <a:lnTo>
                  <a:pt x="4233" y="510"/>
                </a:lnTo>
                <a:lnTo>
                  <a:pt x="4232" y="514"/>
                </a:lnTo>
                <a:lnTo>
                  <a:pt x="4231" y="521"/>
                </a:lnTo>
                <a:lnTo>
                  <a:pt x="4229" y="527"/>
                </a:lnTo>
                <a:lnTo>
                  <a:pt x="4226" y="530"/>
                </a:lnTo>
                <a:lnTo>
                  <a:pt x="4223" y="531"/>
                </a:lnTo>
                <a:lnTo>
                  <a:pt x="4220" y="531"/>
                </a:lnTo>
                <a:lnTo>
                  <a:pt x="4216" y="530"/>
                </a:lnTo>
                <a:lnTo>
                  <a:pt x="4212" y="527"/>
                </a:lnTo>
                <a:lnTo>
                  <a:pt x="4209" y="521"/>
                </a:lnTo>
                <a:lnTo>
                  <a:pt x="4205" y="511"/>
                </a:lnTo>
                <a:lnTo>
                  <a:pt x="4203" y="502"/>
                </a:lnTo>
                <a:lnTo>
                  <a:pt x="4201" y="498"/>
                </a:lnTo>
                <a:lnTo>
                  <a:pt x="4199" y="496"/>
                </a:lnTo>
                <a:lnTo>
                  <a:pt x="4195" y="495"/>
                </a:lnTo>
                <a:lnTo>
                  <a:pt x="4189" y="497"/>
                </a:lnTo>
                <a:lnTo>
                  <a:pt x="4183" y="499"/>
                </a:lnTo>
                <a:lnTo>
                  <a:pt x="4176" y="498"/>
                </a:lnTo>
                <a:lnTo>
                  <a:pt x="4168" y="497"/>
                </a:lnTo>
                <a:lnTo>
                  <a:pt x="4161" y="496"/>
                </a:lnTo>
                <a:lnTo>
                  <a:pt x="4158" y="496"/>
                </a:lnTo>
                <a:lnTo>
                  <a:pt x="4155" y="497"/>
                </a:lnTo>
                <a:lnTo>
                  <a:pt x="4152" y="498"/>
                </a:lnTo>
                <a:lnTo>
                  <a:pt x="4149" y="499"/>
                </a:lnTo>
                <a:lnTo>
                  <a:pt x="4147" y="503"/>
                </a:lnTo>
                <a:lnTo>
                  <a:pt x="4146" y="506"/>
                </a:lnTo>
                <a:lnTo>
                  <a:pt x="4145" y="511"/>
                </a:lnTo>
                <a:lnTo>
                  <a:pt x="4145" y="517"/>
                </a:lnTo>
                <a:lnTo>
                  <a:pt x="4145" y="539"/>
                </a:lnTo>
                <a:lnTo>
                  <a:pt x="4144" y="553"/>
                </a:lnTo>
                <a:lnTo>
                  <a:pt x="4144" y="558"/>
                </a:lnTo>
                <a:lnTo>
                  <a:pt x="4145" y="563"/>
                </a:lnTo>
                <a:lnTo>
                  <a:pt x="4147" y="568"/>
                </a:lnTo>
                <a:lnTo>
                  <a:pt x="4152" y="571"/>
                </a:lnTo>
                <a:lnTo>
                  <a:pt x="4158" y="575"/>
                </a:lnTo>
                <a:lnTo>
                  <a:pt x="4166" y="578"/>
                </a:lnTo>
                <a:lnTo>
                  <a:pt x="4177" y="581"/>
                </a:lnTo>
                <a:lnTo>
                  <a:pt x="4186" y="584"/>
                </a:lnTo>
                <a:lnTo>
                  <a:pt x="4195" y="589"/>
                </a:lnTo>
                <a:lnTo>
                  <a:pt x="4201" y="593"/>
                </a:lnTo>
                <a:lnTo>
                  <a:pt x="4202" y="595"/>
                </a:lnTo>
                <a:lnTo>
                  <a:pt x="4202" y="597"/>
                </a:lnTo>
                <a:lnTo>
                  <a:pt x="4201" y="600"/>
                </a:lnTo>
                <a:lnTo>
                  <a:pt x="4199" y="603"/>
                </a:lnTo>
                <a:lnTo>
                  <a:pt x="4192" y="611"/>
                </a:lnTo>
                <a:lnTo>
                  <a:pt x="4188" y="619"/>
                </a:lnTo>
                <a:lnTo>
                  <a:pt x="4184" y="628"/>
                </a:lnTo>
                <a:lnTo>
                  <a:pt x="4181" y="637"/>
                </a:lnTo>
                <a:lnTo>
                  <a:pt x="4177" y="652"/>
                </a:lnTo>
                <a:lnTo>
                  <a:pt x="4176" y="659"/>
                </a:lnTo>
                <a:lnTo>
                  <a:pt x="4174" y="655"/>
                </a:lnTo>
                <a:lnTo>
                  <a:pt x="4167" y="643"/>
                </a:lnTo>
                <a:lnTo>
                  <a:pt x="4161" y="628"/>
                </a:lnTo>
                <a:lnTo>
                  <a:pt x="4153" y="613"/>
                </a:lnTo>
                <a:lnTo>
                  <a:pt x="4143" y="592"/>
                </a:lnTo>
                <a:lnTo>
                  <a:pt x="4133" y="570"/>
                </a:lnTo>
                <a:lnTo>
                  <a:pt x="4126" y="560"/>
                </a:lnTo>
                <a:lnTo>
                  <a:pt x="4121" y="555"/>
                </a:lnTo>
                <a:lnTo>
                  <a:pt x="4119" y="554"/>
                </a:lnTo>
                <a:lnTo>
                  <a:pt x="4117" y="554"/>
                </a:lnTo>
                <a:lnTo>
                  <a:pt x="4115" y="556"/>
                </a:lnTo>
                <a:lnTo>
                  <a:pt x="4113" y="559"/>
                </a:lnTo>
                <a:lnTo>
                  <a:pt x="4109" y="568"/>
                </a:lnTo>
                <a:lnTo>
                  <a:pt x="4103" y="576"/>
                </a:lnTo>
                <a:lnTo>
                  <a:pt x="4098" y="583"/>
                </a:lnTo>
                <a:lnTo>
                  <a:pt x="4093" y="591"/>
                </a:lnTo>
                <a:lnTo>
                  <a:pt x="4088" y="598"/>
                </a:lnTo>
                <a:lnTo>
                  <a:pt x="4085" y="603"/>
                </a:lnTo>
                <a:lnTo>
                  <a:pt x="4082" y="607"/>
                </a:lnTo>
                <a:lnTo>
                  <a:pt x="4082" y="611"/>
                </a:lnTo>
                <a:lnTo>
                  <a:pt x="4080" y="609"/>
                </a:lnTo>
                <a:lnTo>
                  <a:pt x="4072" y="601"/>
                </a:lnTo>
                <a:lnTo>
                  <a:pt x="4067" y="597"/>
                </a:lnTo>
                <a:lnTo>
                  <a:pt x="4060" y="593"/>
                </a:lnTo>
                <a:lnTo>
                  <a:pt x="4054" y="589"/>
                </a:lnTo>
                <a:lnTo>
                  <a:pt x="4048" y="586"/>
                </a:lnTo>
                <a:lnTo>
                  <a:pt x="4030" y="583"/>
                </a:lnTo>
                <a:lnTo>
                  <a:pt x="4006" y="581"/>
                </a:lnTo>
                <a:lnTo>
                  <a:pt x="3994" y="581"/>
                </a:lnTo>
                <a:lnTo>
                  <a:pt x="3985" y="583"/>
                </a:lnTo>
                <a:lnTo>
                  <a:pt x="3981" y="585"/>
                </a:lnTo>
                <a:lnTo>
                  <a:pt x="3979" y="587"/>
                </a:lnTo>
                <a:lnTo>
                  <a:pt x="3977" y="591"/>
                </a:lnTo>
                <a:lnTo>
                  <a:pt x="3977" y="594"/>
                </a:lnTo>
                <a:lnTo>
                  <a:pt x="3978" y="608"/>
                </a:lnTo>
                <a:lnTo>
                  <a:pt x="3979" y="623"/>
                </a:lnTo>
                <a:lnTo>
                  <a:pt x="3980" y="630"/>
                </a:lnTo>
                <a:lnTo>
                  <a:pt x="3982" y="637"/>
                </a:lnTo>
                <a:lnTo>
                  <a:pt x="3985" y="643"/>
                </a:lnTo>
                <a:lnTo>
                  <a:pt x="3987" y="649"/>
                </a:lnTo>
                <a:lnTo>
                  <a:pt x="3994" y="661"/>
                </a:lnTo>
                <a:lnTo>
                  <a:pt x="3999" y="673"/>
                </a:lnTo>
                <a:lnTo>
                  <a:pt x="4001" y="680"/>
                </a:lnTo>
                <a:lnTo>
                  <a:pt x="4002" y="686"/>
                </a:lnTo>
                <a:lnTo>
                  <a:pt x="4002" y="691"/>
                </a:lnTo>
                <a:lnTo>
                  <a:pt x="4002" y="696"/>
                </a:lnTo>
                <a:lnTo>
                  <a:pt x="4002" y="699"/>
                </a:lnTo>
                <a:lnTo>
                  <a:pt x="4001" y="700"/>
                </a:lnTo>
                <a:lnTo>
                  <a:pt x="4000" y="700"/>
                </a:lnTo>
                <a:lnTo>
                  <a:pt x="3999" y="700"/>
                </a:lnTo>
                <a:lnTo>
                  <a:pt x="3995" y="699"/>
                </a:lnTo>
                <a:lnTo>
                  <a:pt x="3992" y="696"/>
                </a:lnTo>
                <a:lnTo>
                  <a:pt x="3989" y="693"/>
                </a:lnTo>
                <a:lnTo>
                  <a:pt x="3986" y="691"/>
                </a:lnTo>
                <a:lnTo>
                  <a:pt x="3984" y="691"/>
                </a:lnTo>
                <a:lnTo>
                  <a:pt x="3982" y="691"/>
                </a:lnTo>
                <a:lnTo>
                  <a:pt x="3981" y="692"/>
                </a:lnTo>
                <a:lnTo>
                  <a:pt x="3980" y="693"/>
                </a:lnTo>
                <a:lnTo>
                  <a:pt x="3978" y="696"/>
                </a:lnTo>
                <a:lnTo>
                  <a:pt x="3977" y="699"/>
                </a:lnTo>
                <a:lnTo>
                  <a:pt x="3978" y="701"/>
                </a:lnTo>
                <a:lnTo>
                  <a:pt x="3979" y="703"/>
                </a:lnTo>
                <a:lnTo>
                  <a:pt x="3983" y="705"/>
                </a:lnTo>
                <a:lnTo>
                  <a:pt x="3985" y="707"/>
                </a:lnTo>
                <a:lnTo>
                  <a:pt x="3989" y="710"/>
                </a:lnTo>
                <a:lnTo>
                  <a:pt x="3991" y="712"/>
                </a:lnTo>
                <a:close/>
                <a:moveTo>
                  <a:pt x="2036" y="1821"/>
                </a:moveTo>
                <a:lnTo>
                  <a:pt x="2039" y="1825"/>
                </a:lnTo>
                <a:lnTo>
                  <a:pt x="2042" y="1828"/>
                </a:lnTo>
                <a:lnTo>
                  <a:pt x="2044" y="1828"/>
                </a:lnTo>
                <a:lnTo>
                  <a:pt x="2046" y="1828"/>
                </a:lnTo>
                <a:lnTo>
                  <a:pt x="2047" y="1827"/>
                </a:lnTo>
                <a:lnTo>
                  <a:pt x="2049" y="1826"/>
                </a:lnTo>
                <a:lnTo>
                  <a:pt x="2053" y="1820"/>
                </a:lnTo>
                <a:lnTo>
                  <a:pt x="2056" y="1813"/>
                </a:lnTo>
                <a:lnTo>
                  <a:pt x="2057" y="1810"/>
                </a:lnTo>
                <a:lnTo>
                  <a:pt x="2057" y="1808"/>
                </a:lnTo>
                <a:lnTo>
                  <a:pt x="2056" y="1806"/>
                </a:lnTo>
                <a:lnTo>
                  <a:pt x="2054" y="1806"/>
                </a:lnTo>
                <a:lnTo>
                  <a:pt x="2046" y="1807"/>
                </a:lnTo>
                <a:lnTo>
                  <a:pt x="2041" y="1809"/>
                </a:lnTo>
                <a:lnTo>
                  <a:pt x="2038" y="1812"/>
                </a:lnTo>
                <a:lnTo>
                  <a:pt x="2036" y="1815"/>
                </a:lnTo>
                <a:lnTo>
                  <a:pt x="2035" y="1819"/>
                </a:lnTo>
                <a:lnTo>
                  <a:pt x="2036" y="1821"/>
                </a:lnTo>
                <a:close/>
                <a:moveTo>
                  <a:pt x="1990" y="1887"/>
                </a:moveTo>
                <a:lnTo>
                  <a:pt x="1991" y="1893"/>
                </a:lnTo>
                <a:lnTo>
                  <a:pt x="1992" y="1898"/>
                </a:lnTo>
                <a:lnTo>
                  <a:pt x="1993" y="1900"/>
                </a:lnTo>
                <a:lnTo>
                  <a:pt x="1994" y="1901"/>
                </a:lnTo>
                <a:lnTo>
                  <a:pt x="1996" y="1901"/>
                </a:lnTo>
                <a:lnTo>
                  <a:pt x="1998" y="1900"/>
                </a:lnTo>
                <a:lnTo>
                  <a:pt x="2004" y="1897"/>
                </a:lnTo>
                <a:lnTo>
                  <a:pt x="2009" y="1893"/>
                </a:lnTo>
                <a:lnTo>
                  <a:pt x="2010" y="1891"/>
                </a:lnTo>
                <a:lnTo>
                  <a:pt x="2012" y="1888"/>
                </a:lnTo>
                <a:lnTo>
                  <a:pt x="2012" y="1885"/>
                </a:lnTo>
                <a:lnTo>
                  <a:pt x="2011" y="1880"/>
                </a:lnTo>
                <a:lnTo>
                  <a:pt x="2009" y="1873"/>
                </a:lnTo>
                <a:lnTo>
                  <a:pt x="2008" y="1868"/>
                </a:lnTo>
                <a:lnTo>
                  <a:pt x="2007" y="1866"/>
                </a:lnTo>
                <a:lnTo>
                  <a:pt x="2006" y="1865"/>
                </a:lnTo>
                <a:lnTo>
                  <a:pt x="2005" y="1866"/>
                </a:lnTo>
                <a:lnTo>
                  <a:pt x="2002" y="1868"/>
                </a:lnTo>
                <a:lnTo>
                  <a:pt x="1993" y="1880"/>
                </a:lnTo>
                <a:lnTo>
                  <a:pt x="1990" y="1887"/>
                </a:lnTo>
                <a:close/>
                <a:moveTo>
                  <a:pt x="1897" y="1867"/>
                </a:moveTo>
                <a:lnTo>
                  <a:pt x="1900" y="1875"/>
                </a:lnTo>
                <a:lnTo>
                  <a:pt x="1904" y="1880"/>
                </a:lnTo>
                <a:lnTo>
                  <a:pt x="1909" y="1882"/>
                </a:lnTo>
                <a:lnTo>
                  <a:pt x="1914" y="1882"/>
                </a:lnTo>
                <a:lnTo>
                  <a:pt x="1918" y="1881"/>
                </a:lnTo>
                <a:lnTo>
                  <a:pt x="1922" y="1879"/>
                </a:lnTo>
                <a:lnTo>
                  <a:pt x="1926" y="1876"/>
                </a:lnTo>
                <a:lnTo>
                  <a:pt x="1929" y="1874"/>
                </a:lnTo>
                <a:lnTo>
                  <a:pt x="1938" y="1867"/>
                </a:lnTo>
                <a:lnTo>
                  <a:pt x="1948" y="1857"/>
                </a:lnTo>
                <a:lnTo>
                  <a:pt x="1951" y="1852"/>
                </a:lnTo>
                <a:lnTo>
                  <a:pt x="1953" y="1849"/>
                </a:lnTo>
                <a:lnTo>
                  <a:pt x="1953" y="1847"/>
                </a:lnTo>
                <a:lnTo>
                  <a:pt x="1952" y="1845"/>
                </a:lnTo>
                <a:lnTo>
                  <a:pt x="1951" y="1844"/>
                </a:lnTo>
                <a:lnTo>
                  <a:pt x="1948" y="1843"/>
                </a:lnTo>
                <a:lnTo>
                  <a:pt x="1937" y="1841"/>
                </a:lnTo>
                <a:lnTo>
                  <a:pt x="1927" y="1840"/>
                </a:lnTo>
                <a:lnTo>
                  <a:pt x="1923" y="1841"/>
                </a:lnTo>
                <a:lnTo>
                  <a:pt x="1920" y="1842"/>
                </a:lnTo>
                <a:lnTo>
                  <a:pt x="1918" y="1845"/>
                </a:lnTo>
                <a:lnTo>
                  <a:pt x="1916" y="1848"/>
                </a:lnTo>
                <a:lnTo>
                  <a:pt x="1915" y="1852"/>
                </a:lnTo>
                <a:lnTo>
                  <a:pt x="1911" y="1855"/>
                </a:lnTo>
                <a:lnTo>
                  <a:pt x="1908" y="1858"/>
                </a:lnTo>
                <a:lnTo>
                  <a:pt x="1905" y="1862"/>
                </a:lnTo>
                <a:lnTo>
                  <a:pt x="1899" y="1866"/>
                </a:lnTo>
                <a:lnTo>
                  <a:pt x="1897" y="1867"/>
                </a:lnTo>
                <a:close/>
                <a:moveTo>
                  <a:pt x="2056" y="1576"/>
                </a:moveTo>
                <a:lnTo>
                  <a:pt x="2054" y="1586"/>
                </a:lnTo>
                <a:lnTo>
                  <a:pt x="2052" y="1595"/>
                </a:lnTo>
                <a:lnTo>
                  <a:pt x="2053" y="1601"/>
                </a:lnTo>
                <a:lnTo>
                  <a:pt x="2055" y="1605"/>
                </a:lnTo>
                <a:lnTo>
                  <a:pt x="2059" y="1609"/>
                </a:lnTo>
                <a:lnTo>
                  <a:pt x="2066" y="1612"/>
                </a:lnTo>
                <a:lnTo>
                  <a:pt x="2073" y="1614"/>
                </a:lnTo>
                <a:lnTo>
                  <a:pt x="2080" y="1615"/>
                </a:lnTo>
                <a:lnTo>
                  <a:pt x="2086" y="1614"/>
                </a:lnTo>
                <a:lnTo>
                  <a:pt x="2092" y="1613"/>
                </a:lnTo>
                <a:lnTo>
                  <a:pt x="2097" y="1610"/>
                </a:lnTo>
                <a:lnTo>
                  <a:pt x="2101" y="1606"/>
                </a:lnTo>
                <a:lnTo>
                  <a:pt x="2104" y="1602"/>
                </a:lnTo>
                <a:lnTo>
                  <a:pt x="2105" y="1596"/>
                </a:lnTo>
                <a:lnTo>
                  <a:pt x="2106" y="1591"/>
                </a:lnTo>
                <a:lnTo>
                  <a:pt x="2105" y="1584"/>
                </a:lnTo>
                <a:lnTo>
                  <a:pt x="2104" y="1578"/>
                </a:lnTo>
                <a:lnTo>
                  <a:pt x="2102" y="1571"/>
                </a:lnTo>
                <a:lnTo>
                  <a:pt x="2100" y="1565"/>
                </a:lnTo>
                <a:lnTo>
                  <a:pt x="2097" y="1561"/>
                </a:lnTo>
                <a:lnTo>
                  <a:pt x="2095" y="1560"/>
                </a:lnTo>
                <a:lnTo>
                  <a:pt x="2093" y="1559"/>
                </a:lnTo>
                <a:lnTo>
                  <a:pt x="2091" y="1559"/>
                </a:lnTo>
                <a:lnTo>
                  <a:pt x="2090" y="1559"/>
                </a:lnTo>
                <a:lnTo>
                  <a:pt x="2081" y="1562"/>
                </a:lnTo>
                <a:lnTo>
                  <a:pt x="2075" y="1564"/>
                </a:lnTo>
                <a:lnTo>
                  <a:pt x="2072" y="1565"/>
                </a:lnTo>
                <a:lnTo>
                  <a:pt x="2069" y="1567"/>
                </a:lnTo>
                <a:lnTo>
                  <a:pt x="2067" y="1569"/>
                </a:lnTo>
                <a:lnTo>
                  <a:pt x="2066" y="1572"/>
                </a:lnTo>
                <a:lnTo>
                  <a:pt x="2064" y="1576"/>
                </a:lnTo>
                <a:lnTo>
                  <a:pt x="2063" y="1576"/>
                </a:lnTo>
                <a:lnTo>
                  <a:pt x="2063" y="1573"/>
                </a:lnTo>
                <a:lnTo>
                  <a:pt x="2062" y="1571"/>
                </a:lnTo>
                <a:lnTo>
                  <a:pt x="2061" y="1570"/>
                </a:lnTo>
                <a:lnTo>
                  <a:pt x="2060" y="1569"/>
                </a:lnTo>
                <a:lnTo>
                  <a:pt x="2059" y="1569"/>
                </a:lnTo>
                <a:lnTo>
                  <a:pt x="2058" y="1570"/>
                </a:lnTo>
                <a:lnTo>
                  <a:pt x="2057" y="1573"/>
                </a:lnTo>
                <a:lnTo>
                  <a:pt x="2056" y="1576"/>
                </a:lnTo>
                <a:close/>
                <a:moveTo>
                  <a:pt x="1688" y="699"/>
                </a:moveTo>
                <a:lnTo>
                  <a:pt x="1694" y="705"/>
                </a:lnTo>
                <a:lnTo>
                  <a:pt x="1699" y="709"/>
                </a:lnTo>
                <a:lnTo>
                  <a:pt x="1704" y="713"/>
                </a:lnTo>
                <a:lnTo>
                  <a:pt x="1709" y="717"/>
                </a:lnTo>
                <a:lnTo>
                  <a:pt x="1720" y="723"/>
                </a:lnTo>
                <a:lnTo>
                  <a:pt x="1728" y="726"/>
                </a:lnTo>
                <a:lnTo>
                  <a:pt x="1734" y="729"/>
                </a:lnTo>
                <a:lnTo>
                  <a:pt x="1739" y="733"/>
                </a:lnTo>
                <a:lnTo>
                  <a:pt x="1739" y="735"/>
                </a:lnTo>
                <a:lnTo>
                  <a:pt x="1738" y="737"/>
                </a:lnTo>
                <a:lnTo>
                  <a:pt x="1737" y="740"/>
                </a:lnTo>
                <a:lnTo>
                  <a:pt x="1733" y="745"/>
                </a:lnTo>
                <a:lnTo>
                  <a:pt x="1729" y="748"/>
                </a:lnTo>
                <a:lnTo>
                  <a:pt x="1726" y="751"/>
                </a:lnTo>
                <a:lnTo>
                  <a:pt x="1723" y="753"/>
                </a:lnTo>
                <a:lnTo>
                  <a:pt x="1719" y="753"/>
                </a:lnTo>
                <a:lnTo>
                  <a:pt x="1713" y="754"/>
                </a:lnTo>
                <a:lnTo>
                  <a:pt x="1708" y="753"/>
                </a:lnTo>
                <a:lnTo>
                  <a:pt x="1707" y="753"/>
                </a:lnTo>
                <a:lnTo>
                  <a:pt x="1706" y="753"/>
                </a:lnTo>
                <a:lnTo>
                  <a:pt x="1705" y="753"/>
                </a:lnTo>
                <a:lnTo>
                  <a:pt x="1706" y="754"/>
                </a:lnTo>
                <a:lnTo>
                  <a:pt x="1709" y="758"/>
                </a:lnTo>
                <a:lnTo>
                  <a:pt x="1716" y="766"/>
                </a:lnTo>
                <a:lnTo>
                  <a:pt x="1721" y="771"/>
                </a:lnTo>
                <a:lnTo>
                  <a:pt x="1725" y="775"/>
                </a:lnTo>
                <a:lnTo>
                  <a:pt x="1729" y="778"/>
                </a:lnTo>
                <a:lnTo>
                  <a:pt x="1733" y="780"/>
                </a:lnTo>
                <a:lnTo>
                  <a:pt x="1742" y="783"/>
                </a:lnTo>
                <a:lnTo>
                  <a:pt x="1749" y="783"/>
                </a:lnTo>
                <a:lnTo>
                  <a:pt x="1756" y="782"/>
                </a:lnTo>
                <a:lnTo>
                  <a:pt x="1761" y="780"/>
                </a:lnTo>
                <a:lnTo>
                  <a:pt x="1765" y="777"/>
                </a:lnTo>
                <a:lnTo>
                  <a:pt x="1766" y="773"/>
                </a:lnTo>
                <a:lnTo>
                  <a:pt x="1767" y="761"/>
                </a:lnTo>
                <a:lnTo>
                  <a:pt x="1768" y="746"/>
                </a:lnTo>
                <a:lnTo>
                  <a:pt x="1770" y="739"/>
                </a:lnTo>
                <a:lnTo>
                  <a:pt x="1772" y="735"/>
                </a:lnTo>
                <a:lnTo>
                  <a:pt x="1773" y="734"/>
                </a:lnTo>
                <a:lnTo>
                  <a:pt x="1774" y="734"/>
                </a:lnTo>
                <a:lnTo>
                  <a:pt x="1776" y="736"/>
                </a:lnTo>
                <a:lnTo>
                  <a:pt x="1778" y="738"/>
                </a:lnTo>
                <a:lnTo>
                  <a:pt x="1782" y="745"/>
                </a:lnTo>
                <a:lnTo>
                  <a:pt x="1784" y="752"/>
                </a:lnTo>
                <a:lnTo>
                  <a:pt x="1786" y="758"/>
                </a:lnTo>
                <a:lnTo>
                  <a:pt x="1786" y="763"/>
                </a:lnTo>
                <a:lnTo>
                  <a:pt x="1787" y="769"/>
                </a:lnTo>
                <a:lnTo>
                  <a:pt x="1788" y="772"/>
                </a:lnTo>
                <a:lnTo>
                  <a:pt x="1789" y="774"/>
                </a:lnTo>
                <a:lnTo>
                  <a:pt x="1791" y="775"/>
                </a:lnTo>
                <a:lnTo>
                  <a:pt x="1794" y="773"/>
                </a:lnTo>
                <a:lnTo>
                  <a:pt x="1796" y="769"/>
                </a:lnTo>
                <a:lnTo>
                  <a:pt x="1797" y="763"/>
                </a:lnTo>
                <a:lnTo>
                  <a:pt x="1798" y="757"/>
                </a:lnTo>
                <a:lnTo>
                  <a:pt x="1800" y="745"/>
                </a:lnTo>
                <a:lnTo>
                  <a:pt x="1801" y="735"/>
                </a:lnTo>
                <a:lnTo>
                  <a:pt x="1801" y="726"/>
                </a:lnTo>
                <a:lnTo>
                  <a:pt x="1801" y="710"/>
                </a:lnTo>
                <a:lnTo>
                  <a:pt x="1801" y="703"/>
                </a:lnTo>
                <a:lnTo>
                  <a:pt x="1804" y="697"/>
                </a:lnTo>
                <a:lnTo>
                  <a:pt x="1805" y="694"/>
                </a:lnTo>
                <a:lnTo>
                  <a:pt x="1806" y="693"/>
                </a:lnTo>
                <a:lnTo>
                  <a:pt x="1808" y="692"/>
                </a:lnTo>
                <a:lnTo>
                  <a:pt x="1810" y="692"/>
                </a:lnTo>
                <a:lnTo>
                  <a:pt x="1815" y="693"/>
                </a:lnTo>
                <a:lnTo>
                  <a:pt x="1820" y="693"/>
                </a:lnTo>
                <a:lnTo>
                  <a:pt x="1826" y="692"/>
                </a:lnTo>
                <a:lnTo>
                  <a:pt x="1830" y="690"/>
                </a:lnTo>
                <a:lnTo>
                  <a:pt x="1839" y="686"/>
                </a:lnTo>
                <a:lnTo>
                  <a:pt x="1843" y="683"/>
                </a:lnTo>
                <a:lnTo>
                  <a:pt x="1849" y="679"/>
                </a:lnTo>
                <a:lnTo>
                  <a:pt x="1858" y="671"/>
                </a:lnTo>
                <a:lnTo>
                  <a:pt x="1867" y="664"/>
                </a:lnTo>
                <a:lnTo>
                  <a:pt x="1873" y="658"/>
                </a:lnTo>
                <a:lnTo>
                  <a:pt x="1873" y="656"/>
                </a:lnTo>
                <a:lnTo>
                  <a:pt x="1872" y="651"/>
                </a:lnTo>
                <a:lnTo>
                  <a:pt x="1870" y="647"/>
                </a:lnTo>
                <a:lnTo>
                  <a:pt x="1866" y="643"/>
                </a:lnTo>
                <a:lnTo>
                  <a:pt x="1862" y="639"/>
                </a:lnTo>
                <a:lnTo>
                  <a:pt x="1858" y="636"/>
                </a:lnTo>
                <a:lnTo>
                  <a:pt x="1853" y="633"/>
                </a:lnTo>
                <a:lnTo>
                  <a:pt x="1848" y="631"/>
                </a:lnTo>
                <a:lnTo>
                  <a:pt x="1839" y="630"/>
                </a:lnTo>
                <a:lnTo>
                  <a:pt x="1832" y="629"/>
                </a:lnTo>
                <a:lnTo>
                  <a:pt x="1829" y="628"/>
                </a:lnTo>
                <a:lnTo>
                  <a:pt x="1827" y="627"/>
                </a:lnTo>
                <a:lnTo>
                  <a:pt x="1825" y="624"/>
                </a:lnTo>
                <a:lnTo>
                  <a:pt x="1825" y="621"/>
                </a:lnTo>
                <a:lnTo>
                  <a:pt x="1825" y="617"/>
                </a:lnTo>
                <a:lnTo>
                  <a:pt x="1826" y="614"/>
                </a:lnTo>
                <a:lnTo>
                  <a:pt x="1829" y="609"/>
                </a:lnTo>
                <a:lnTo>
                  <a:pt x="1831" y="605"/>
                </a:lnTo>
                <a:lnTo>
                  <a:pt x="1833" y="601"/>
                </a:lnTo>
                <a:lnTo>
                  <a:pt x="1834" y="597"/>
                </a:lnTo>
                <a:lnTo>
                  <a:pt x="1833" y="595"/>
                </a:lnTo>
                <a:lnTo>
                  <a:pt x="1832" y="593"/>
                </a:lnTo>
                <a:lnTo>
                  <a:pt x="1831" y="591"/>
                </a:lnTo>
                <a:lnTo>
                  <a:pt x="1829" y="589"/>
                </a:lnTo>
                <a:lnTo>
                  <a:pt x="1816" y="580"/>
                </a:lnTo>
                <a:lnTo>
                  <a:pt x="1801" y="572"/>
                </a:lnTo>
                <a:lnTo>
                  <a:pt x="1794" y="568"/>
                </a:lnTo>
                <a:lnTo>
                  <a:pt x="1789" y="562"/>
                </a:lnTo>
                <a:lnTo>
                  <a:pt x="1787" y="560"/>
                </a:lnTo>
                <a:lnTo>
                  <a:pt x="1786" y="558"/>
                </a:lnTo>
                <a:lnTo>
                  <a:pt x="1785" y="555"/>
                </a:lnTo>
                <a:lnTo>
                  <a:pt x="1785" y="553"/>
                </a:lnTo>
                <a:lnTo>
                  <a:pt x="1786" y="540"/>
                </a:lnTo>
                <a:lnTo>
                  <a:pt x="1786" y="527"/>
                </a:lnTo>
                <a:lnTo>
                  <a:pt x="1785" y="520"/>
                </a:lnTo>
                <a:lnTo>
                  <a:pt x="1784" y="515"/>
                </a:lnTo>
                <a:lnTo>
                  <a:pt x="1782" y="511"/>
                </a:lnTo>
                <a:lnTo>
                  <a:pt x="1777" y="507"/>
                </a:lnTo>
                <a:lnTo>
                  <a:pt x="1766" y="501"/>
                </a:lnTo>
                <a:lnTo>
                  <a:pt x="1753" y="491"/>
                </a:lnTo>
                <a:lnTo>
                  <a:pt x="1747" y="487"/>
                </a:lnTo>
                <a:lnTo>
                  <a:pt x="1742" y="482"/>
                </a:lnTo>
                <a:lnTo>
                  <a:pt x="1739" y="477"/>
                </a:lnTo>
                <a:lnTo>
                  <a:pt x="1738" y="474"/>
                </a:lnTo>
                <a:lnTo>
                  <a:pt x="1737" y="461"/>
                </a:lnTo>
                <a:lnTo>
                  <a:pt x="1734" y="441"/>
                </a:lnTo>
                <a:lnTo>
                  <a:pt x="1732" y="422"/>
                </a:lnTo>
                <a:lnTo>
                  <a:pt x="1729" y="412"/>
                </a:lnTo>
                <a:lnTo>
                  <a:pt x="1724" y="407"/>
                </a:lnTo>
                <a:lnTo>
                  <a:pt x="1717" y="399"/>
                </a:lnTo>
                <a:lnTo>
                  <a:pt x="1713" y="395"/>
                </a:lnTo>
                <a:lnTo>
                  <a:pt x="1709" y="393"/>
                </a:lnTo>
                <a:lnTo>
                  <a:pt x="1707" y="392"/>
                </a:lnTo>
                <a:lnTo>
                  <a:pt x="1705" y="392"/>
                </a:lnTo>
                <a:lnTo>
                  <a:pt x="1704" y="392"/>
                </a:lnTo>
                <a:lnTo>
                  <a:pt x="1703" y="393"/>
                </a:lnTo>
                <a:lnTo>
                  <a:pt x="1700" y="395"/>
                </a:lnTo>
                <a:lnTo>
                  <a:pt x="1696" y="395"/>
                </a:lnTo>
                <a:lnTo>
                  <a:pt x="1691" y="396"/>
                </a:lnTo>
                <a:lnTo>
                  <a:pt x="1687" y="396"/>
                </a:lnTo>
                <a:lnTo>
                  <a:pt x="1683" y="396"/>
                </a:lnTo>
                <a:lnTo>
                  <a:pt x="1681" y="397"/>
                </a:lnTo>
                <a:lnTo>
                  <a:pt x="1680" y="398"/>
                </a:lnTo>
                <a:lnTo>
                  <a:pt x="1681" y="400"/>
                </a:lnTo>
                <a:lnTo>
                  <a:pt x="1694" y="407"/>
                </a:lnTo>
                <a:lnTo>
                  <a:pt x="1701" y="412"/>
                </a:lnTo>
                <a:lnTo>
                  <a:pt x="1701" y="416"/>
                </a:lnTo>
                <a:lnTo>
                  <a:pt x="1701" y="421"/>
                </a:lnTo>
                <a:lnTo>
                  <a:pt x="1700" y="424"/>
                </a:lnTo>
                <a:lnTo>
                  <a:pt x="1699" y="427"/>
                </a:lnTo>
                <a:lnTo>
                  <a:pt x="1696" y="430"/>
                </a:lnTo>
                <a:lnTo>
                  <a:pt x="1693" y="435"/>
                </a:lnTo>
                <a:lnTo>
                  <a:pt x="1684" y="442"/>
                </a:lnTo>
                <a:lnTo>
                  <a:pt x="1677" y="450"/>
                </a:lnTo>
                <a:lnTo>
                  <a:pt x="1675" y="454"/>
                </a:lnTo>
                <a:lnTo>
                  <a:pt x="1673" y="458"/>
                </a:lnTo>
                <a:lnTo>
                  <a:pt x="1673" y="461"/>
                </a:lnTo>
                <a:lnTo>
                  <a:pt x="1674" y="464"/>
                </a:lnTo>
                <a:lnTo>
                  <a:pt x="1681" y="472"/>
                </a:lnTo>
                <a:lnTo>
                  <a:pt x="1689" y="484"/>
                </a:lnTo>
                <a:lnTo>
                  <a:pt x="1694" y="489"/>
                </a:lnTo>
                <a:lnTo>
                  <a:pt x="1696" y="493"/>
                </a:lnTo>
                <a:lnTo>
                  <a:pt x="1696" y="495"/>
                </a:lnTo>
                <a:lnTo>
                  <a:pt x="1696" y="496"/>
                </a:lnTo>
                <a:lnTo>
                  <a:pt x="1696" y="497"/>
                </a:lnTo>
                <a:lnTo>
                  <a:pt x="1694" y="498"/>
                </a:lnTo>
                <a:lnTo>
                  <a:pt x="1685" y="497"/>
                </a:lnTo>
                <a:lnTo>
                  <a:pt x="1675" y="493"/>
                </a:lnTo>
                <a:lnTo>
                  <a:pt x="1669" y="492"/>
                </a:lnTo>
                <a:lnTo>
                  <a:pt x="1666" y="491"/>
                </a:lnTo>
                <a:lnTo>
                  <a:pt x="1663" y="490"/>
                </a:lnTo>
                <a:lnTo>
                  <a:pt x="1662" y="491"/>
                </a:lnTo>
                <a:lnTo>
                  <a:pt x="1660" y="494"/>
                </a:lnTo>
                <a:lnTo>
                  <a:pt x="1657" y="496"/>
                </a:lnTo>
                <a:lnTo>
                  <a:pt x="1656" y="499"/>
                </a:lnTo>
                <a:lnTo>
                  <a:pt x="1655" y="504"/>
                </a:lnTo>
                <a:lnTo>
                  <a:pt x="1661" y="513"/>
                </a:lnTo>
                <a:lnTo>
                  <a:pt x="1673" y="529"/>
                </a:lnTo>
                <a:lnTo>
                  <a:pt x="1684" y="542"/>
                </a:lnTo>
                <a:lnTo>
                  <a:pt x="1689" y="549"/>
                </a:lnTo>
                <a:lnTo>
                  <a:pt x="1688" y="551"/>
                </a:lnTo>
                <a:lnTo>
                  <a:pt x="1687" y="555"/>
                </a:lnTo>
                <a:lnTo>
                  <a:pt x="1683" y="560"/>
                </a:lnTo>
                <a:lnTo>
                  <a:pt x="1677" y="567"/>
                </a:lnTo>
                <a:lnTo>
                  <a:pt x="1668" y="573"/>
                </a:lnTo>
                <a:lnTo>
                  <a:pt x="1662" y="577"/>
                </a:lnTo>
                <a:lnTo>
                  <a:pt x="1659" y="577"/>
                </a:lnTo>
                <a:lnTo>
                  <a:pt x="1657" y="577"/>
                </a:lnTo>
                <a:lnTo>
                  <a:pt x="1655" y="575"/>
                </a:lnTo>
                <a:lnTo>
                  <a:pt x="1654" y="572"/>
                </a:lnTo>
                <a:lnTo>
                  <a:pt x="1653" y="563"/>
                </a:lnTo>
                <a:lnTo>
                  <a:pt x="1650" y="556"/>
                </a:lnTo>
                <a:lnTo>
                  <a:pt x="1647" y="554"/>
                </a:lnTo>
                <a:lnTo>
                  <a:pt x="1646" y="553"/>
                </a:lnTo>
                <a:lnTo>
                  <a:pt x="1644" y="554"/>
                </a:lnTo>
                <a:lnTo>
                  <a:pt x="1642" y="556"/>
                </a:lnTo>
                <a:lnTo>
                  <a:pt x="1639" y="563"/>
                </a:lnTo>
                <a:lnTo>
                  <a:pt x="1638" y="570"/>
                </a:lnTo>
                <a:lnTo>
                  <a:pt x="1638" y="576"/>
                </a:lnTo>
                <a:lnTo>
                  <a:pt x="1639" y="582"/>
                </a:lnTo>
                <a:lnTo>
                  <a:pt x="1641" y="589"/>
                </a:lnTo>
                <a:lnTo>
                  <a:pt x="1646" y="594"/>
                </a:lnTo>
                <a:lnTo>
                  <a:pt x="1652" y="599"/>
                </a:lnTo>
                <a:lnTo>
                  <a:pt x="1659" y="604"/>
                </a:lnTo>
                <a:lnTo>
                  <a:pt x="1666" y="608"/>
                </a:lnTo>
                <a:lnTo>
                  <a:pt x="1674" y="614"/>
                </a:lnTo>
                <a:lnTo>
                  <a:pt x="1683" y="618"/>
                </a:lnTo>
                <a:lnTo>
                  <a:pt x="1695" y="622"/>
                </a:lnTo>
                <a:lnTo>
                  <a:pt x="1697" y="623"/>
                </a:lnTo>
                <a:lnTo>
                  <a:pt x="1698" y="624"/>
                </a:lnTo>
                <a:lnTo>
                  <a:pt x="1698" y="624"/>
                </a:lnTo>
                <a:lnTo>
                  <a:pt x="1697" y="624"/>
                </a:lnTo>
                <a:lnTo>
                  <a:pt x="1693" y="625"/>
                </a:lnTo>
                <a:lnTo>
                  <a:pt x="1686" y="625"/>
                </a:lnTo>
                <a:lnTo>
                  <a:pt x="1679" y="626"/>
                </a:lnTo>
                <a:lnTo>
                  <a:pt x="1673" y="627"/>
                </a:lnTo>
                <a:lnTo>
                  <a:pt x="1669" y="628"/>
                </a:lnTo>
                <a:lnTo>
                  <a:pt x="1667" y="629"/>
                </a:lnTo>
                <a:lnTo>
                  <a:pt x="1665" y="630"/>
                </a:lnTo>
                <a:lnTo>
                  <a:pt x="1664" y="633"/>
                </a:lnTo>
                <a:lnTo>
                  <a:pt x="1665" y="637"/>
                </a:lnTo>
                <a:lnTo>
                  <a:pt x="1667" y="641"/>
                </a:lnTo>
                <a:lnTo>
                  <a:pt x="1671" y="644"/>
                </a:lnTo>
                <a:lnTo>
                  <a:pt x="1675" y="647"/>
                </a:lnTo>
                <a:lnTo>
                  <a:pt x="1679" y="650"/>
                </a:lnTo>
                <a:lnTo>
                  <a:pt x="1684" y="652"/>
                </a:lnTo>
                <a:lnTo>
                  <a:pt x="1688" y="653"/>
                </a:lnTo>
                <a:lnTo>
                  <a:pt x="1691" y="652"/>
                </a:lnTo>
                <a:lnTo>
                  <a:pt x="1705" y="642"/>
                </a:lnTo>
                <a:lnTo>
                  <a:pt x="1717" y="633"/>
                </a:lnTo>
                <a:lnTo>
                  <a:pt x="1722" y="633"/>
                </a:lnTo>
                <a:lnTo>
                  <a:pt x="1729" y="633"/>
                </a:lnTo>
                <a:lnTo>
                  <a:pt x="1732" y="634"/>
                </a:lnTo>
                <a:lnTo>
                  <a:pt x="1735" y="636"/>
                </a:lnTo>
                <a:lnTo>
                  <a:pt x="1738" y="640"/>
                </a:lnTo>
                <a:lnTo>
                  <a:pt x="1738" y="644"/>
                </a:lnTo>
                <a:lnTo>
                  <a:pt x="1744" y="660"/>
                </a:lnTo>
                <a:lnTo>
                  <a:pt x="1749" y="669"/>
                </a:lnTo>
                <a:lnTo>
                  <a:pt x="1746" y="671"/>
                </a:lnTo>
                <a:lnTo>
                  <a:pt x="1743" y="672"/>
                </a:lnTo>
                <a:lnTo>
                  <a:pt x="1738" y="673"/>
                </a:lnTo>
                <a:lnTo>
                  <a:pt x="1732" y="674"/>
                </a:lnTo>
                <a:lnTo>
                  <a:pt x="1722" y="674"/>
                </a:lnTo>
                <a:lnTo>
                  <a:pt x="1715" y="675"/>
                </a:lnTo>
                <a:lnTo>
                  <a:pt x="1706" y="679"/>
                </a:lnTo>
                <a:lnTo>
                  <a:pt x="1694" y="684"/>
                </a:lnTo>
                <a:lnTo>
                  <a:pt x="1683" y="690"/>
                </a:lnTo>
                <a:lnTo>
                  <a:pt x="1677" y="694"/>
                </a:lnTo>
                <a:lnTo>
                  <a:pt x="1677" y="696"/>
                </a:lnTo>
                <a:lnTo>
                  <a:pt x="1678" y="696"/>
                </a:lnTo>
                <a:lnTo>
                  <a:pt x="1680" y="697"/>
                </a:lnTo>
                <a:lnTo>
                  <a:pt x="1682" y="697"/>
                </a:lnTo>
                <a:lnTo>
                  <a:pt x="1686" y="699"/>
                </a:lnTo>
                <a:lnTo>
                  <a:pt x="1688" y="699"/>
                </a:lnTo>
                <a:close/>
                <a:moveTo>
                  <a:pt x="1598" y="1064"/>
                </a:moveTo>
                <a:lnTo>
                  <a:pt x="1601" y="1060"/>
                </a:lnTo>
                <a:lnTo>
                  <a:pt x="1606" y="1052"/>
                </a:lnTo>
                <a:lnTo>
                  <a:pt x="1609" y="1042"/>
                </a:lnTo>
                <a:lnTo>
                  <a:pt x="1613" y="1032"/>
                </a:lnTo>
                <a:lnTo>
                  <a:pt x="1615" y="1021"/>
                </a:lnTo>
                <a:lnTo>
                  <a:pt x="1616" y="1011"/>
                </a:lnTo>
                <a:lnTo>
                  <a:pt x="1617" y="1000"/>
                </a:lnTo>
                <a:lnTo>
                  <a:pt x="1615" y="993"/>
                </a:lnTo>
                <a:lnTo>
                  <a:pt x="1611" y="976"/>
                </a:lnTo>
                <a:lnTo>
                  <a:pt x="1606" y="959"/>
                </a:lnTo>
                <a:lnTo>
                  <a:pt x="1601" y="952"/>
                </a:lnTo>
                <a:lnTo>
                  <a:pt x="1598" y="947"/>
                </a:lnTo>
                <a:lnTo>
                  <a:pt x="1596" y="945"/>
                </a:lnTo>
                <a:lnTo>
                  <a:pt x="1594" y="943"/>
                </a:lnTo>
                <a:lnTo>
                  <a:pt x="1591" y="943"/>
                </a:lnTo>
                <a:lnTo>
                  <a:pt x="1589" y="943"/>
                </a:lnTo>
                <a:lnTo>
                  <a:pt x="1584" y="945"/>
                </a:lnTo>
                <a:lnTo>
                  <a:pt x="1579" y="948"/>
                </a:lnTo>
                <a:lnTo>
                  <a:pt x="1575" y="952"/>
                </a:lnTo>
                <a:lnTo>
                  <a:pt x="1572" y="955"/>
                </a:lnTo>
                <a:lnTo>
                  <a:pt x="1569" y="958"/>
                </a:lnTo>
                <a:lnTo>
                  <a:pt x="1566" y="959"/>
                </a:lnTo>
                <a:lnTo>
                  <a:pt x="1565" y="958"/>
                </a:lnTo>
                <a:lnTo>
                  <a:pt x="1563" y="957"/>
                </a:lnTo>
                <a:lnTo>
                  <a:pt x="1560" y="955"/>
                </a:lnTo>
                <a:lnTo>
                  <a:pt x="1558" y="953"/>
                </a:lnTo>
                <a:lnTo>
                  <a:pt x="1555" y="946"/>
                </a:lnTo>
                <a:lnTo>
                  <a:pt x="1551" y="940"/>
                </a:lnTo>
                <a:lnTo>
                  <a:pt x="1546" y="934"/>
                </a:lnTo>
                <a:lnTo>
                  <a:pt x="1542" y="929"/>
                </a:lnTo>
                <a:lnTo>
                  <a:pt x="1537" y="927"/>
                </a:lnTo>
                <a:lnTo>
                  <a:pt x="1534" y="926"/>
                </a:lnTo>
                <a:lnTo>
                  <a:pt x="1532" y="927"/>
                </a:lnTo>
                <a:lnTo>
                  <a:pt x="1531" y="928"/>
                </a:lnTo>
                <a:lnTo>
                  <a:pt x="1529" y="929"/>
                </a:lnTo>
                <a:lnTo>
                  <a:pt x="1528" y="932"/>
                </a:lnTo>
                <a:lnTo>
                  <a:pt x="1527" y="940"/>
                </a:lnTo>
                <a:lnTo>
                  <a:pt x="1528" y="947"/>
                </a:lnTo>
                <a:lnTo>
                  <a:pt x="1530" y="955"/>
                </a:lnTo>
                <a:lnTo>
                  <a:pt x="1533" y="965"/>
                </a:lnTo>
                <a:lnTo>
                  <a:pt x="1536" y="972"/>
                </a:lnTo>
                <a:lnTo>
                  <a:pt x="1538" y="979"/>
                </a:lnTo>
                <a:lnTo>
                  <a:pt x="1540" y="985"/>
                </a:lnTo>
                <a:lnTo>
                  <a:pt x="1540" y="988"/>
                </a:lnTo>
                <a:lnTo>
                  <a:pt x="1536" y="989"/>
                </a:lnTo>
                <a:lnTo>
                  <a:pt x="1532" y="990"/>
                </a:lnTo>
                <a:lnTo>
                  <a:pt x="1526" y="991"/>
                </a:lnTo>
                <a:lnTo>
                  <a:pt x="1519" y="990"/>
                </a:lnTo>
                <a:lnTo>
                  <a:pt x="1512" y="989"/>
                </a:lnTo>
                <a:lnTo>
                  <a:pt x="1505" y="987"/>
                </a:lnTo>
                <a:lnTo>
                  <a:pt x="1500" y="982"/>
                </a:lnTo>
                <a:lnTo>
                  <a:pt x="1496" y="978"/>
                </a:lnTo>
                <a:lnTo>
                  <a:pt x="1490" y="965"/>
                </a:lnTo>
                <a:lnTo>
                  <a:pt x="1485" y="950"/>
                </a:lnTo>
                <a:lnTo>
                  <a:pt x="1483" y="945"/>
                </a:lnTo>
                <a:lnTo>
                  <a:pt x="1480" y="941"/>
                </a:lnTo>
                <a:lnTo>
                  <a:pt x="1478" y="941"/>
                </a:lnTo>
                <a:lnTo>
                  <a:pt x="1477" y="942"/>
                </a:lnTo>
                <a:lnTo>
                  <a:pt x="1475" y="943"/>
                </a:lnTo>
                <a:lnTo>
                  <a:pt x="1471" y="946"/>
                </a:lnTo>
                <a:lnTo>
                  <a:pt x="1468" y="952"/>
                </a:lnTo>
                <a:lnTo>
                  <a:pt x="1466" y="958"/>
                </a:lnTo>
                <a:lnTo>
                  <a:pt x="1465" y="965"/>
                </a:lnTo>
                <a:lnTo>
                  <a:pt x="1466" y="971"/>
                </a:lnTo>
                <a:lnTo>
                  <a:pt x="1470" y="980"/>
                </a:lnTo>
                <a:lnTo>
                  <a:pt x="1476" y="989"/>
                </a:lnTo>
                <a:lnTo>
                  <a:pt x="1479" y="991"/>
                </a:lnTo>
                <a:lnTo>
                  <a:pt x="1484" y="992"/>
                </a:lnTo>
                <a:lnTo>
                  <a:pt x="1489" y="992"/>
                </a:lnTo>
                <a:lnTo>
                  <a:pt x="1494" y="991"/>
                </a:lnTo>
                <a:lnTo>
                  <a:pt x="1500" y="992"/>
                </a:lnTo>
                <a:lnTo>
                  <a:pt x="1504" y="993"/>
                </a:lnTo>
                <a:lnTo>
                  <a:pt x="1505" y="994"/>
                </a:lnTo>
                <a:lnTo>
                  <a:pt x="1506" y="996"/>
                </a:lnTo>
                <a:lnTo>
                  <a:pt x="1506" y="999"/>
                </a:lnTo>
                <a:lnTo>
                  <a:pt x="1506" y="1003"/>
                </a:lnTo>
                <a:lnTo>
                  <a:pt x="1503" y="1017"/>
                </a:lnTo>
                <a:lnTo>
                  <a:pt x="1501" y="1025"/>
                </a:lnTo>
                <a:lnTo>
                  <a:pt x="1501" y="1030"/>
                </a:lnTo>
                <a:lnTo>
                  <a:pt x="1501" y="1032"/>
                </a:lnTo>
                <a:lnTo>
                  <a:pt x="1502" y="1034"/>
                </a:lnTo>
                <a:lnTo>
                  <a:pt x="1504" y="1036"/>
                </a:lnTo>
                <a:lnTo>
                  <a:pt x="1506" y="1036"/>
                </a:lnTo>
                <a:lnTo>
                  <a:pt x="1510" y="1035"/>
                </a:lnTo>
                <a:lnTo>
                  <a:pt x="1514" y="1033"/>
                </a:lnTo>
                <a:lnTo>
                  <a:pt x="1520" y="1030"/>
                </a:lnTo>
                <a:lnTo>
                  <a:pt x="1525" y="1026"/>
                </a:lnTo>
                <a:lnTo>
                  <a:pt x="1529" y="1023"/>
                </a:lnTo>
                <a:lnTo>
                  <a:pt x="1533" y="1022"/>
                </a:lnTo>
                <a:lnTo>
                  <a:pt x="1537" y="1022"/>
                </a:lnTo>
                <a:lnTo>
                  <a:pt x="1541" y="1024"/>
                </a:lnTo>
                <a:lnTo>
                  <a:pt x="1544" y="1026"/>
                </a:lnTo>
                <a:lnTo>
                  <a:pt x="1546" y="1030"/>
                </a:lnTo>
                <a:lnTo>
                  <a:pt x="1549" y="1034"/>
                </a:lnTo>
                <a:lnTo>
                  <a:pt x="1550" y="1037"/>
                </a:lnTo>
                <a:lnTo>
                  <a:pt x="1551" y="1041"/>
                </a:lnTo>
                <a:lnTo>
                  <a:pt x="1552" y="1045"/>
                </a:lnTo>
                <a:lnTo>
                  <a:pt x="1551" y="1050"/>
                </a:lnTo>
                <a:lnTo>
                  <a:pt x="1546" y="1058"/>
                </a:lnTo>
                <a:lnTo>
                  <a:pt x="1541" y="1068"/>
                </a:lnTo>
                <a:lnTo>
                  <a:pt x="1538" y="1074"/>
                </a:lnTo>
                <a:lnTo>
                  <a:pt x="1537" y="1079"/>
                </a:lnTo>
                <a:lnTo>
                  <a:pt x="1537" y="1082"/>
                </a:lnTo>
                <a:lnTo>
                  <a:pt x="1537" y="1084"/>
                </a:lnTo>
                <a:lnTo>
                  <a:pt x="1538" y="1086"/>
                </a:lnTo>
                <a:lnTo>
                  <a:pt x="1541" y="1088"/>
                </a:lnTo>
                <a:lnTo>
                  <a:pt x="1545" y="1091"/>
                </a:lnTo>
                <a:lnTo>
                  <a:pt x="1549" y="1095"/>
                </a:lnTo>
                <a:lnTo>
                  <a:pt x="1554" y="1097"/>
                </a:lnTo>
                <a:lnTo>
                  <a:pt x="1559" y="1099"/>
                </a:lnTo>
                <a:lnTo>
                  <a:pt x="1565" y="1099"/>
                </a:lnTo>
                <a:lnTo>
                  <a:pt x="1569" y="1099"/>
                </a:lnTo>
                <a:lnTo>
                  <a:pt x="1573" y="1097"/>
                </a:lnTo>
                <a:lnTo>
                  <a:pt x="1577" y="1095"/>
                </a:lnTo>
                <a:lnTo>
                  <a:pt x="1591" y="1076"/>
                </a:lnTo>
                <a:lnTo>
                  <a:pt x="1598" y="1064"/>
                </a:lnTo>
                <a:close/>
                <a:moveTo>
                  <a:pt x="1629" y="902"/>
                </a:moveTo>
                <a:lnTo>
                  <a:pt x="1619" y="903"/>
                </a:lnTo>
                <a:lnTo>
                  <a:pt x="1613" y="904"/>
                </a:lnTo>
                <a:lnTo>
                  <a:pt x="1613" y="907"/>
                </a:lnTo>
                <a:lnTo>
                  <a:pt x="1613" y="909"/>
                </a:lnTo>
                <a:lnTo>
                  <a:pt x="1614" y="912"/>
                </a:lnTo>
                <a:lnTo>
                  <a:pt x="1615" y="915"/>
                </a:lnTo>
                <a:lnTo>
                  <a:pt x="1619" y="921"/>
                </a:lnTo>
                <a:lnTo>
                  <a:pt x="1623" y="927"/>
                </a:lnTo>
                <a:lnTo>
                  <a:pt x="1634" y="943"/>
                </a:lnTo>
                <a:lnTo>
                  <a:pt x="1643" y="957"/>
                </a:lnTo>
                <a:lnTo>
                  <a:pt x="1650" y="970"/>
                </a:lnTo>
                <a:lnTo>
                  <a:pt x="1657" y="984"/>
                </a:lnTo>
                <a:lnTo>
                  <a:pt x="1660" y="989"/>
                </a:lnTo>
                <a:lnTo>
                  <a:pt x="1663" y="993"/>
                </a:lnTo>
                <a:lnTo>
                  <a:pt x="1664" y="996"/>
                </a:lnTo>
                <a:lnTo>
                  <a:pt x="1665" y="998"/>
                </a:lnTo>
                <a:lnTo>
                  <a:pt x="1665" y="1002"/>
                </a:lnTo>
                <a:lnTo>
                  <a:pt x="1664" y="1008"/>
                </a:lnTo>
                <a:lnTo>
                  <a:pt x="1663" y="1015"/>
                </a:lnTo>
                <a:lnTo>
                  <a:pt x="1660" y="1021"/>
                </a:lnTo>
                <a:lnTo>
                  <a:pt x="1657" y="1029"/>
                </a:lnTo>
                <a:lnTo>
                  <a:pt x="1653" y="1035"/>
                </a:lnTo>
                <a:lnTo>
                  <a:pt x="1645" y="1047"/>
                </a:lnTo>
                <a:lnTo>
                  <a:pt x="1640" y="1056"/>
                </a:lnTo>
                <a:lnTo>
                  <a:pt x="1636" y="1060"/>
                </a:lnTo>
                <a:lnTo>
                  <a:pt x="1631" y="1063"/>
                </a:lnTo>
                <a:lnTo>
                  <a:pt x="1629" y="1065"/>
                </a:lnTo>
                <a:lnTo>
                  <a:pt x="1628" y="1068"/>
                </a:lnTo>
                <a:lnTo>
                  <a:pt x="1627" y="1074"/>
                </a:lnTo>
                <a:lnTo>
                  <a:pt x="1627" y="1081"/>
                </a:lnTo>
                <a:lnTo>
                  <a:pt x="1628" y="1088"/>
                </a:lnTo>
                <a:lnTo>
                  <a:pt x="1630" y="1095"/>
                </a:lnTo>
                <a:lnTo>
                  <a:pt x="1631" y="1100"/>
                </a:lnTo>
                <a:lnTo>
                  <a:pt x="1634" y="1103"/>
                </a:lnTo>
                <a:lnTo>
                  <a:pt x="1640" y="1110"/>
                </a:lnTo>
                <a:lnTo>
                  <a:pt x="1650" y="1119"/>
                </a:lnTo>
                <a:lnTo>
                  <a:pt x="1654" y="1123"/>
                </a:lnTo>
                <a:lnTo>
                  <a:pt x="1659" y="1125"/>
                </a:lnTo>
                <a:lnTo>
                  <a:pt x="1665" y="1125"/>
                </a:lnTo>
                <a:lnTo>
                  <a:pt x="1671" y="1123"/>
                </a:lnTo>
                <a:lnTo>
                  <a:pt x="1681" y="1120"/>
                </a:lnTo>
                <a:lnTo>
                  <a:pt x="1690" y="1118"/>
                </a:lnTo>
                <a:lnTo>
                  <a:pt x="1695" y="1118"/>
                </a:lnTo>
                <a:lnTo>
                  <a:pt x="1698" y="1117"/>
                </a:lnTo>
                <a:lnTo>
                  <a:pt x="1701" y="1113"/>
                </a:lnTo>
                <a:lnTo>
                  <a:pt x="1704" y="1110"/>
                </a:lnTo>
                <a:lnTo>
                  <a:pt x="1705" y="1106"/>
                </a:lnTo>
                <a:lnTo>
                  <a:pt x="1706" y="1101"/>
                </a:lnTo>
                <a:lnTo>
                  <a:pt x="1706" y="1095"/>
                </a:lnTo>
                <a:lnTo>
                  <a:pt x="1704" y="1088"/>
                </a:lnTo>
                <a:lnTo>
                  <a:pt x="1702" y="1081"/>
                </a:lnTo>
                <a:lnTo>
                  <a:pt x="1697" y="1075"/>
                </a:lnTo>
                <a:lnTo>
                  <a:pt x="1690" y="1068"/>
                </a:lnTo>
                <a:lnTo>
                  <a:pt x="1684" y="1062"/>
                </a:lnTo>
                <a:lnTo>
                  <a:pt x="1678" y="1056"/>
                </a:lnTo>
                <a:lnTo>
                  <a:pt x="1674" y="1050"/>
                </a:lnTo>
                <a:lnTo>
                  <a:pt x="1673" y="1045"/>
                </a:lnTo>
                <a:lnTo>
                  <a:pt x="1672" y="1042"/>
                </a:lnTo>
                <a:lnTo>
                  <a:pt x="1673" y="1038"/>
                </a:lnTo>
                <a:lnTo>
                  <a:pt x="1674" y="1034"/>
                </a:lnTo>
                <a:lnTo>
                  <a:pt x="1677" y="1025"/>
                </a:lnTo>
                <a:lnTo>
                  <a:pt x="1678" y="1018"/>
                </a:lnTo>
                <a:lnTo>
                  <a:pt x="1679" y="1011"/>
                </a:lnTo>
                <a:lnTo>
                  <a:pt x="1678" y="1004"/>
                </a:lnTo>
                <a:lnTo>
                  <a:pt x="1676" y="996"/>
                </a:lnTo>
                <a:lnTo>
                  <a:pt x="1675" y="993"/>
                </a:lnTo>
                <a:lnTo>
                  <a:pt x="1675" y="991"/>
                </a:lnTo>
                <a:lnTo>
                  <a:pt x="1677" y="987"/>
                </a:lnTo>
                <a:lnTo>
                  <a:pt x="1678" y="985"/>
                </a:lnTo>
                <a:lnTo>
                  <a:pt x="1679" y="981"/>
                </a:lnTo>
                <a:lnTo>
                  <a:pt x="1681" y="980"/>
                </a:lnTo>
                <a:lnTo>
                  <a:pt x="1684" y="978"/>
                </a:lnTo>
                <a:lnTo>
                  <a:pt x="1690" y="971"/>
                </a:lnTo>
                <a:lnTo>
                  <a:pt x="1698" y="960"/>
                </a:lnTo>
                <a:lnTo>
                  <a:pt x="1699" y="959"/>
                </a:lnTo>
                <a:lnTo>
                  <a:pt x="1701" y="957"/>
                </a:lnTo>
                <a:lnTo>
                  <a:pt x="1702" y="957"/>
                </a:lnTo>
                <a:lnTo>
                  <a:pt x="1703" y="958"/>
                </a:lnTo>
                <a:lnTo>
                  <a:pt x="1705" y="963"/>
                </a:lnTo>
                <a:lnTo>
                  <a:pt x="1705" y="973"/>
                </a:lnTo>
                <a:lnTo>
                  <a:pt x="1706" y="979"/>
                </a:lnTo>
                <a:lnTo>
                  <a:pt x="1707" y="986"/>
                </a:lnTo>
                <a:lnTo>
                  <a:pt x="1708" y="991"/>
                </a:lnTo>
                <a:lnTo>
                  <a:pt x="1710" y="996"/>
                </a:lnTo>
                <a:lnTo>
                  <a:pt x="1715" y="1003"/>
                </a:lnTo>
                <a:lnTo>
                  <a:pt x="1719" y="1010"/>
                </a:lnTo>
                <a:lnTo>
                  <a:pt x="1723" y="1014"/>
                </a:lnTo>
                <a:lnTo>
                  <a:pt x="1727" y="1017"/>
                </a:lnTo>
                <a:lnTo>
                  <a:pt x="1729" y="1020"/>
                </a:lnTo>
                <a:lnTo>
                  <a:pt x="1729" y="1022"/>
                </a:lnTo>
                <a:lnTo>
                  <a:pt x="1726" y="1029"/>
                </a:lnTo>
                <a:lnTo>
                  <a:pt x="1721" y="1037"/>
                </a:lnTo>
                <a:lnTo>
                  <a:pt x="1717" y="1044"/>
                </a:lnTo>
                <a:lnTo>
                  <a:pt x="1715" y="1052"/>
                </a:lnTo>
                <a:lnTo>
                  <a:pt x="1715" y="1062"/>
                </a:lnTo>
                <a:lnTo>
                  <a:pt x="1716" y="1080"/>
                </a:lnTo>
                <a:lnTo>
                  <a:pt x="1717" y="1089"/>
                </a:lnTo>
                <a:lnTo>
                  <a:pt x="1719" y="1098"/>
                </a:lnTo>
                <a:lnTo>
                  <a:pt x="1721" y="1102"/>
                </a:lnTo>
                <a:lnTo>
                  <a:pt x="1723" y="1106"/>
                </a:lnTo>
                <a:lnTo>
                  <a:pt x="1725" y="1109"/>
                </a:lnTo>
                <a:lnTo>
                  <a:pt x="1728" y="1111"/>
                </a:lnTo>
                <a:lnTo>
                  <a:pt x="1734" y="1116"/>
                </a:lnTo>
                <a:lnTo>
                  <a:pt x="1740" y="1118"/>
                </a:lnTo>
                <a:lnTo>
                  <a:pt x="1744" y="1119"/>
                </a:lnTo>
                <a:lnTo>
                  <a:pt x="1748" y="1119"/>
                </a:lnTo>
                <a:lnTo>
                  <a:pt x="1752" y="1120"/>
                </a:lnTo>
                <a:lnTo>
                  <a:pt x="1755" y="1120"/>
                </a:lnTo>
                <a:lnTo>
                  <a:pt x="1759" y="1122"/>
                </a:lnTo>
                <a:lnTo>
                  <a:pt x="1762" y="1124"/>
                </a:lnTo>
                <a:lnTo>
                  <a:pt x="1764" y="1125"/>
                </a:lnTo>
                <a:lnTo>
                  <a:pt x="1766" y="1126"/>
                </a:lnTo>
                <a:lnTo>
                  <a:pt x="1767" y="1126"/>
                </a:lnTo>
                <a:lnTo>
                  <a:pt x="1769" y="1125"/>
                </a:lnTo>
                <a:lnTo>
                  <a:pt x="1773" y="1123"/>
                </a:lnTo>
                <a:lnTo>
                  <a:pt x="1778" y="1120"/>
                </a:lnTo>
                <a:lnTo>
                  <a:pt x="1783" y="1118"/>
                </a:lnTo>
                <a:lnTo>
                  <a:pt x="1788" y="1116"/>
                </a:lnTo>
                <a:lnTo>
                  <a:pt x="1790" y="1116"/>
                </a:lnTo>
                <a:lnTo>
                  <a:pt x="1792" y="1116"/>
                </a:lnTo>
                <a:lnTo>
                  <a:pt x="1795" y="1117"/>
                </a:lnTo>
                <a:lnTo>
                  <a:pt x="1797" y="1118"/>
                </a:lnTo>
                <a:lnTo>
                  <a:pt x="1804" y="1125"/>
                </a:lnTo>
                <a:lnTo>
                  <a:pt x="1810" y="1129"/>
                </a:lnTo>
                <a:lnTo>
                  <a:pt x="1821" y="1133"/>
                </a:lnTo>
                <a:lnTo>
                  <a:pt x="1842" y="1136"/>
                </a:lnTo>
                <a:lnTo>
                  <a:pt x="1849" y="1136"/>
                </a:lnTo>
                <a:lnTo>
                  <a:pt x="1854" y="1136"/>
                </a:lnTo>
                <a:lnTo>
                  <a:pt x="1858" y="1136"/>
                </a:lnTo>
                <a:lnTo>
                  <a:pt x="1862" y="1135"/>
                </a:lnTo>
                <a:lnTo>
                  <a:pt x="1869" y="1132"/>
                </a:lnTo>
                <a:lnTo>
                  <a:pt x="1874" y="1129"/>
                </a:lnTo>
                <a:lnTo>
                  <a:pt x="1877" y="1126"/>
                </a:lnTo>
                <a:lnTo>
                  <a:pt x="1879" y="1124"/>
                </a:lnTo>
                <a:lnTo>
                  <a:pt x="1881" y="1124"/>
                </a:lnTo>
                <a:lnTo>
                  <a:pt x="1882" y="1124"/>
                </a:lnTo>
                <a:lnTo>
                  <a:pt x="1883" y="1125"/>
                </a:lnTo>
                <a:lnTo>
                  <a:pt x="1885" y="1126"/>
                </a:lnTo>
                <a:lnTo>
                  <a:pt x="1887" y="1127"/>
                </a:lnTo>
                <a:lnTo>
                  <a:pt x="1889" y="1128"/>
                </a:lnTo>
                <a:lnTo>
                  <a:pt x="1892" y="1128"/>
                </a:lnTo>
                <a:lnTo>
                  <a:pt x="1894" y="1128"/>
                </a:lnTo>
                <a:lnTo>
                  <a:pt x="1899" y="1126"/>
                </a:lnTo>
                <a:lnTo>
                  <a:pt x="1904" y="1123"/>
                </a:lnTo>
                <a:lnTo>
                  <a:pt x="1909" y="1120"/>
                </a:lnTo>
                <a:lnTo>
                  <a:pt x="1914" y="1118"/>
                </a:lnTo>
                <a:lnTo>
                  <a:pt x="1916" y="1118"/>
                </a:lnTo>
                <a:lnTo>
                  <a:pt x="1918" y="1118"/>
                </a:lnTo>
                <a:lnTo>
                  <a:pt x="1920" y="1119"/>
                </a:lnTo>
                <a:lnTo>
                  <a:pt x="1921" y="1120"/>
                </a:lnTo>
                <a:lnTo>
                  <a:pt x="1925" y="1124"/>
                </a:lnTo>
                <a:lnTo>
                  <a:pt x="1930" y="1126"/>
                </a:lnTo>
                <a:lnTo>
                  <a:pt x="1937" y="1128"/>
                </a:lnTo>
                <a:lnTo>
                  <a:pt x="1944" y="1129"/>
                </a:lnTo>
                <a:lnTo>
                  <a:pt x="1960" y="1130"/>
                </a:lnTo>
                <a:lnTo>
                  <a:pt x="1971" y="1131"/>
                </a:lnTo>
                <a:lnTo>
                  <a:pt x="1976" y="1131"/>
                </a:lnTo>
                <a:lnTo>
                  <a:pt x="1982" y="1128"/>
                </a:lnTo>
                <a:lnTo>
                  <a:pt x="1988" y="1125"/>
                </a:lnTo>
                <a:lnTo>
                  <a:pt x="1994" y="1120"/>
                </a:lnTo>
                <a:lnTo>
                  <a:pt x="1998" y="1114"/>
                </a:lnTo>
                <a:lnTo>
                  <a:pt x="2002" y="1110"/>
                </a:lnTo>
                <a:lnTo>
                  <a:pt x="2003" y="1107"/>
                </a:lnTo>
                <a:lnTo>
                  <a:pt x="2003" y="1105"/>
                </a:lnTo>
                <a:lnTo>
                  <a:pt x="2002" y="1103"/>
                </a:lnTo>
                <a:lnTo>
                  <a:pt x="2001" y="1102"/>
                </a:lnTo>
                <a:lnTo>
                  <a:pt x="1993" y="1096"/>
                </a:lnTo>
                <a:lnTo>
                  <a:pt x="1985" y="1091"/>
                </a:lnTo>
                <a:lnTo>
                  <a:pt x="1982" y="1088"/>
                </a:lnTo>
                <a:lnTo>
                  <a:pt x="1980" y="1085"/>
                </a:lnTo>
                <a:lnTo>
                  <a:pt x="1981" y="1082"/>
                </a:lnTo>
                <a:lnTo>
                  <a:pt x="1984" y="1078"/>
                </a:lnTo>
                <a:lnTo>
                  <a:pt x="1992" y="1070"/>
                </a:lnTo>
                <a:lnTo>
                  <a:pt x="1998" y="1064"/>
                </a:lnTo>
                <a:lnTo>
                  <a:pt x="2001" y="1062"/>
                </a:lnTo>
                <a:lnTo>
                  <a:pt x="2001" y="1059"/>
                </a:lnTo>
                <a:lnTo>
                  <a:pt x="2000" y="1056"/>
                </a:lnTo>
                <a:lnTo>
                  <a:pt x="1996" y="1052"/>
                </a:lnTo>
                <a:lnTo>
                  <a:pt x="1985" y="1039"/>
                </a:lnTo>
                <a:lnTo>
                  <a:pt x="1971" y="1024"/>
                </a:lnTo>
                <a:lnTo>
                  <a:pt x="1964" y="1018"/>
                </a:lnTo>
                <a:lnTo>
                  <a:pt x="1957" y="1012"/>
                </a:lnTo>
                <a:lnTo>
                  <a:pt x="1951" y="1009"/>
                </a:lnTo>
                <a:lnTo>
                  <a:pt x="1947" y="1008"/>
                </a:lnTo>
                <a:lnTo>
                  <a:pt x="1938" y="1013"/>
                </a:lnTo>
                <a:lnTo>
                  <a:pt x="1927" y="1020"/>
                </a:lnTo>
                <a:lnTo>
                  <a:pt x="1923" y="1023"/>
                </a:lnTo>
                <a:lnTo>
                  <a:pt x="1918" y="1025"/>
                </a:lnTo>
                <a:lnTo>
                  <a:pt x="1916" y="1025"/>
                </a:lnTo>
                <a:lnTo>
                  <a:pt x="1914" y="1024"/>
                </a:lnTo>
                <a:lnTo>
                  <a:pt x="1913" y="1023"/>
                </a:lnTo>
                <a:lnTo>
                  <a:pt x="1910" y="1021"/>
                </a:lnTo>
                <a:lnTo>
                  <a:pt x="1906" y="1013"/>
                </a:lnTo>
                <a:lnTo>
                  <a:pt x="1904" y="1008"/>
                </a:lnTo>
                <a:lnTo>
                  <a:pt x="1903" y="1007"/>
                </a:lnTo>
                <a:lnTo>
                  <a:pt x="1901" y="1007"/>
                </a:lnTo>
                <a:lnTo>
                  <a:pt x="1899" y="1007"/>
                </a:lnTo>
                <a:lnTo>
                  <a:pt x="1897" y="1009"/>
                </a:lnTo>
                <a:lnTo>
                  <a:pt x="1894" y="1012"/>
                </a:lnTo>
                <a:lnTo>
                  <a:pt x="1893" y="1016"/>
                </a:lnTo>
                <a:lnTo>
                  <a:pt x="1892" y="1020"/>
                </a:lnTo>
                <a:lnTo>
                  <a:pt x="1891" y="1025"/>
                </a:lnTo>
                <a:lnTo>
                  <a:pt x="1888" y="1030"/>
                </a:lnTo>
                <a:lnTo>
                  <a:pt x="1886" y="1034"/>
                </a:lnTo>
                <a:lnTo>
                  <a:pt x="1881" y="1037"/>
                </a:lnTo>
                <a:lnTo>
                  <a:pt x="1875" y="1040"/>
                </a:lnTo>
                <a:lnTo>
                  <a:pt x="1859" y="1043"/>
                </a:lnTo>
                <a:lnTo>
                  <a:pt x="1845" y="1045"/>
                </a:lnTo>
                <a:lnTo>
                  <a:pt x="1835" y="1046"/>
                </a:lnTo>
                <a:lnTo>
                  <a:pt x="1832" y="1047"/>
                </a:lnTo>
                <a:lnTo>
                  <a:pt x="1831" y="1043"/>
                </a:lnTo>
                <a:lnTo>
                  <a:pt x="1829" y="1036"/>
                </a:lnTo>
                <a:lnTo>
                  <a:pt x="1827" y="1033"/>
                </a:lnTo>
                <a:lnTo>
                  <a:pt x="1823" y="1031"/>
                </a:lnTo>
                <a:lnTo>
                  <a:pt x="1822" y="1031"/>
                </a:lnTo>
                <a:lnTo>
                  <a:pt x="1820" y="1031"/>
                </a:lnTo>
                <a:lnTo>
                  <a:pt x="1818" y="1032"/>
                </a:lnTo>
                <a:lnTo>
                  <a:pt x="1816" y="1034"/>
                </a:lnTo>
                <a:lnTo>
                  <a:pt x="1803" y="1046"/>
                </a:lnTo>
                <a:lnTo>
                  <a:pt x="1799" y="1051"/>
                </a:lnTo>
                <a:lnTo>
                  <a:pt x="1792" y="1043"/>
                </a:lnTo>
                <a:lnTo>
                  <a:pt x="1770" y="1022"/>
                </a:lnTo>
                <a:lnTo>
                  <a:pt x="1764" y="1016"/>
                </a:lnTo>
                <a:lnTo>
                  <a:pt x="1759" y="1011"/>
                </a:lnTo>
                <a:lnTo>
                  <a:pt x="1755" y="1006"/>
                </a:lnTo>
                <a:lnTo>
                  <a:pt x="1754" y="1001"/>
                </a:lnTo>
                <a:lnTo>
                  <a:pt x="1753" y="998"/>
                </a:lnTo>
                <a:lnTo>
                  <a:pt x="1754" y="995"/>
                </a:lnTo>
                <a:lnTo>
                  <a:pt x="1755" y="993"/>
                </a:lnTo>
                <a:lnTo>
                  <a:pt x="1757" y="992"/>
                </a:lnTo>
                <a:lnTo>
                  <a:pt x="1759" y="991"/>
                </a:lnTo>
                <a:lnTo>
                  <a:pt x="1759" y="991"/>
                </a:lnTo>
                <a:lnTo>
                  <a:pt x="1757" y="990"/>
                </a:lnTo>
                <a:lnTo>
                  <a:pt x="1756" y="990"/>
                </a:lnTo>
                <a:lnTo>
                  <a:pt x="1752" y="988"/>
                </a:lnTo>
                <a:lnTo>
                  <a:pt x="1746" y="987"/>
                </a:lnTo>
                <a:lnTo>
                  <a:pt x="1741" y="985"/>
                </a:lnTo>
                <a:lnTo>
                  <a:pt x="1737" y="981"/>
                </a:lnTo>
                <a:lnTo>
                  <a:pt x="1735" y="980"/>
                </a:lnTo>
                <a:lnTo>
                  <a:pt x="1734" y="979"/>
                </a:lnTo>
                <a:lnTo>
                  <a:pt x="1735" y="978"/>
                </a:lnTo>
                <a:lnTo>
                  <a:pt x="1737" y="976"/>
                </a:lnTo>
                <a:lnTo>
                  <a:pt x="1753" y="964"/>
                </a:lnTo>
                <a:lnTo>
                  <a:pt x="1763" y="957"/>
                </a:lnTo>
                <a:lnTo>
                  <a:pt x="1765" y="951"/>
                </a:lnTo>
                <a:lnTo>
                  <a:pt x="1768" y="941"/>
                </a:lnTo>
                <a:lnTo>
                  <a:pt x="1771" y="936"/>
                </a:lnTo>
                <a:lnTo>
                  <a:pt x="1774" y="934"/>
                </a:lnTo>
                <a:lnTo>
                  <a:pt x="1776" y="934"/>
                </a:lnTo>
                <a:lnTo>
                  <a:pt x="1777" y="935"/>
                </a:lnTo>
                <a:lnTo>
                  <a:pt x="1779" y="937"/>
                </a:lnTo>
                <a:lnTo>
                  <a:pt x="1782" y="941"/>
                </a:lnTo>
                <a:lnTo>
                  <a:pt x="1786" y="948"/>
                </a:lnTo>
                <a:lnTo>
                  <a:pt x="1790" y="953"/>
                </a:lnTo>
                <a:lnTo>
                  <a:pt x="1794" y="958"/>
                </a:lnTo>
                <a:lnTo>
                  <a:pt x="1798" y="962"/>
                </a:lnTo>
                <a:lnTo>
                  <a:pt x="1804" y="964"/>
                </a:lnTo>
                <a:lnTo>
                  <a:pt x="1809" y="965"/>
                </a:lnTo>
                <a:lnTo>
                  <a:pt x="1814" y="965"/>
                </a:lnTo>
                <a:lnTo>
                  <a:pt x="1820" y="964"/>
                </a:lnTo>
                <a:lnTo>
                  <a:pt x="1823" y="964"/>
                </a:lnTo>
                <a:lnTo>
                  <a:pt x="1827" y="962"/>
                </a:lnTo>
                <a:lnTo>
                  <a:pt x="1829" y="959"/>
                </a:lnTo>
                <a:lnTo>
                  <a:pt x="1831" y="957"/>
                </a:lnTo>
                <a:lnTo>
                  <a:pt x="1835" y="952"/>
                </a:lnTo>
                <a:lnTo>
                  <a:pt x="1839" y="946"/>
                </a:lnTo>
                <a:lnTo>
                  <a:pt x="1842" y="942"/>
                </a:lnTo>
                <a:lnTo>
                  <a:pt x="1845" y="940"/>
                </a:lnTo>
                <a:lnTo>
                  <a:pt x="1848" y="940"/>
                </a:lnTo>
                <a:lnTo>
                  <a:pt x="1850" y="941"/>
                </a:lnTo>
                <a:lnTo>
                  <a:pt x="1851" y="943"/>
                </a:lnTo>
                <a:lnTo>
                  <a:pt x="1853" y="946"/>
                </a:lnTo>
                <a:lnTo>
                  <a:pt x="1858" y="952"/>
                </a:lnTo>
                <a:lnTo>
                  <a:pt x="1863" y="957"/>
                </a:lnTo>
                <a:lnTo>
                  <a:pt x="1870" y="962"/>
                </a:lnTo>
                <a:lnTo>
                  <a:pt x="1875" y="963"/>
                </a:lnTo>
                <a:lnTo>
                  <a:pt x="1880" y="963"/>
                </a:lnTo>
                <a:lnTo>
                  <a:pt x="1884" y="962"/>
                </a:lnTo>
                <a:lnTo>
                  <a:pt x="1888" y="959"/>
                </a:lnTo>
                <a:lnTo>
                  <a:pt x="1891" y="957"/>
                </a:lnTo>
                <a:lnTo>
                  <a:pt x="1892" y="949"/>
                </a:lnTo>
                <a:lnTo>
                  <a:pt x="1894" y="943"/>
                </a:lnTo>
                <a:lnTo>
                  <a:pt x="1895" y="941"/>
                </a:lnTo>
                <a:lnTo>
                  <a:pt x="1897" y="940"/>
                </a:lnTo>
                <a:lnTo>
                  <a:pt x="1899" y="941"/>
                </a:lnTo>
                <a:lnTo>
                  <a:pt x="1901" y="943"/>
                </a:lnTo>
                <a:lnTo>
                  <a:pt x="1907" y="949"/>
                </a:lnTo>
                <a:lnTo>
                  <a:pt x="1911" y="953"/>
                </a:lnTo>
                <a:lnTo>
                  <a:pt x="1916" y="956"/>
                </a:lnTo>
                <a:lnTo>
                  <a:pt x="1920" y="957"/>
                </a:lnTo>
                <a:lnTo>
                  <a:pt x="1925" y="956"/>
                </a:lnTo>
                <a:lnTo>
                  <a:pt x="1932" y="952"/>
                </a:lnTo>
                <a:lnTo>
                  <a:pt x="1939" y="949"/>
                </a:lnTo>
                <a:lnTo>
                  <a:pt x="1946" y="948"/>
                </a:lnTo>
                <a:lnTo>
                  <a:pt x="1951" y="949"/>
                </a:lnTo>
                <a:lnTo>
                  <a:pt x="1956" y="950"/>
                </a:lnTo>
                <a:lnTo>
                  <a:pt x="1962" y="953"/>
                </a:lnTo>
                <a:lnTo>
                  <a:pt x="1968" y="957"/>
                </a:lnTo>
                <a:lnTo>
                  <a:pt x="1982" y="966"/>
                </a:lnTo>
                <a:lnTo>
                  <a:pt x="1993" y="974"/>
                </a:lnTo>
                <a:lnTo>
                  <a:pt x="1998" y="975"/>
                </a:lnTo>
                <a:lnTo>
                  <a:pt x="2003" y="975"/>
                </a:lnTo>
                <a:lnTo>
                  <a:pt x="2005" y="974"/>
                </a:lnTo>
                <a:lnTo>
                  <a:pt x="2007" y="973"/>
                </a:lnTo>
                <a:lnTo>
                  <a:pt x="2009" y="971"/>
                </a:lnTo>
                <a:lnTo>
                  <a:pt x="2011" y="968"/>
                </a:lnTo>
                <a:lnTo>
                  <a:pt x="2022" y="951"/>
                </a:lnTo>
                <a:lnTo>
                  <a:pt x="2029" y="940"/>
                </a:lnTo>
                <a:lnTo>
                  <a:pt x="2034" y="932"/>
                </a:lnTo>
                <a:lnTo>
                  <a:pt x="2040" y="926"/>
                </a:lnTo>
                <a:lnTo>
                  <a:pt x="2042" y="923"/>
                </a:lnTo>
                <a:lnTo>
                  <a:pt x="2044" y="920"/>
                </a:lnTo>
                <a:lnTo>
                  <a:pt x="2042" y="916"/>
                </a:lnTo>
                <a:lnTo>
                  <a:pt x="2039" y="912"/>
                </a:lnTo>
                <a:lnTo>
                  <a:pt x="2034" y="909"/>
                </a:lnTo>
                <a:lnTo>
                  <a:pt x="2029" y="907"/>
                </a:lnTo>
                <a:lnTo>
                  <a:pt x="2023" y="905"/>
                </a:lnTo>
                <a:lnTo>
                  <a:pt x="2016" y="903"/>
                </a:lnTo>
                <a:lnTo>
                  <a:pt x="2004" y="900"/>
                </a:lnTo>
                <a:lnTo>
                  <a:pt x="1992" y="894"/>
                </a:lnTo>
                <a:lnTo>
                  <a:pt x="1982" y="888"/>
                </a:lnTo>
                <a:lnTo>
                  <a:pt x="1973" y="884"/>
                </a:lnTo>
                <a:lnTo>
                  <a:pt x="1969" y="883"/>
                </a:lnTo>
                <a:lnTo>
                  <a:pt x="1966" y="882"/>
                </a:lnTo>
                <a:lnTo>
                  <a:pt x="1963" y="883"/>
                </a:lnTo>
                <a:lnTo>
                  <a:pt x="1960" y="884"/>
                </a:lnTo>
                <a:lnTo>
                  <a:pt x="1957" y="886"/>
                </a:lnTo>
                <a:lnTo>
                  <a:pt x="1952" y="887"/>
                </a:lnTo>
                <a:lnTo>
                  <a:pt x="1948" y="888"/>
                </a:lnTo>
                <a:lnTo>
                  <a:pt x="1944" y="888"/>
                </a:lnTo>
                <a:lnTo>
                  <a:pt x="1940" y="887"/>
                </a:lnTo>
                <a:lnTo>
                  <a:pt x="1938" y="886"/>
                </a:lnTo>
                <a:lnTo>
                  <a:pt x="1938" y="883"/>
                </a:lnTo>
                <a:lnTo>
                  <a:pt x="1941" y="880"/>
                </a:lnTo>
                <a:lnTo>
                  <a:pt x="1948" y="870"/>
                </a:lnTo>
                <a:lnTo>
                  <a:pt x="1956" y="860"/>
                </a:lnTo>
                <a:lnTo>
                  <a:pt x="1959" y="856"/>
                </a:lnTo>
                <a:lnTo>
                  <a:pt x="1962" y="854"/>
                </a:lnTo>
                <a:lnTo>
                  <a:pt x="1963" y="853"/>
                </a:lnTo>
                <a:lnTo>
                  <a:pt x="1964" y="853"/>
                </a:lnTo>
                <a:lnTo>
                  <a:pt x="1965" y="854"/>
                </a:lnTo>
                <a:lnTo>
                  <a:pt x="1966" y="855"/>
                </a:lnTo>
                <a:lnTo>
                  <a:pt x="1969" y="859"/>
                </a:lnTo>
                <a:lnTo>
                  <a:pt x="1972" y="862"/>
                </a:lnTo>
                <a:lnTo>
                  <a:pt x="1978" y="865"/>
                </a:lnTo>
                <a:lnTo>
                  <a:pt x="1985" y="867"/>
                </a:lnTo>
                <a:lnTo>
                  <a:pt x="1991" y="870"/>
                </a:lnTo>
                <a:lnTo>
                  <a:pt x="1995" y="870"/>
                </a:lnTo>
                <a:lnTo>
                  <a:pt x="2001" y="868"/>
                </a:lnTo>
                <a:lnTo>
                  <a:pt x="2014" y="864"/>
                </a:lnTo>
                <a:lnTo>
                  <a:pt x="2023" y="861"/>
                </a:lnTo>
                <a:lnTo>
                  <a:pt x="2029" y="857"/>
                </a:lnTo>
                <a:lnTo>
                  <a:pt x="2033" y="852"/>
                </a:lnTo>
                <a:lnTo>
                  <a:pt x="2036" y="846"/>
                </a:lnTo>
                <a:lnTo>
                  <a:pt x="2037" y="841"/>
                </a:lnTo>
                <a:lnTo>
                  <a:pt x="2037" y="836"/>
                </a:lnTo>
                <a:lnTo>
                  <a:pt x="2036" y="832"/>
                </a:lnTo>
                <a:lnTo>
                  <a:pt x="2034" y="827"/>
                </a:lnTo>
                <a:lnTo>
                  <a:pt x="2027" y="822"/>
                </a:lnTo>
                <a:lnTo>
                  <a:pt x="2019" y="817"/>
                </a:lnTo>
                <a:lnTo>
                  <a:pt x="2017" y="815"/>
                </a:lnTo>
                <a:lnTo>
                  <a:pt x="2016" y="813"/>
                </a:lnTo>
                <a:lnTo>
                  <a:pt x="2016" y="812"/>
                </a:lnTo>
                <a:lnTo>
                  <a:pt x="2019" y="812"/>
                </a:lnTo>
                <a:lnTo>
                  <a:pt x="2030" y="811"/>
                </a:lnTo>
                <a:lnTo>
                  <a:pt x="2041" y="811"/>
                </a:lnTo>
                <a:lnTo>
                  <a:pt x="2054" y="811"/>
                </a:lnTo>
                <a:lnTo>
                  <a:pt x="2063" y="809"/>
                </a:lnTo>
                <a:lnTo>
                  <a:pt x="2066" y="807"/>
                </a:lnTo>
                <a:lnTo>
                  <a:pt x="2066" y="805"/>
                </a:lnTo>
                <a:lnTo>
                  <a:pt x="2066" y="804"/>
                </a:lnTo>
                <a:lnTo>
                  <a:pt x="2064" y="802"/>
                </a:lnTo>
                <a:lnTo>
                  <a:pt x="2062" y="799"/>
                </a:lnTo>
                <a:lnTo>
                  <a:pt x="2059" y="794"/>
                </a:lnTo>
                <a:lnTo>
                  <a:pt x="2056" y="790"/>
                </a:lnTo>
                <a:lnTo>
                  <a:pt x="2054" y="787"/>
                </a:lnTo>
                <a:lnTo>
                  <a:pt x="2054" y="784"/>
                </a:lnTo>
                <a:lnTo>
                  <a:pt x="2054" y="783"/>
                </a:lnTo>
                <a:lnTo>
                  <a:pt x="2055" y="782"/>
                </a:lnTo>
                <a:lnTo>
                  <a:pt x="2057" y="781"/>
                </a:lnTo>
                <a:lnTo>
                  <a:pt x="2069" y="782"/>
                </a:lnTo>
                <a:lnTo>
                  <a:pt x="2080" y="784"/>
                </a:lnTo>
                <a:lnTo>
                  <a:pt x="2084" y="784"/>
                </a:lnTo>
                <a:lnTo>
                  <a:pt x="2089" y="782"/>
                </a:lnTo>
                <a:lnTo>
                  <a:pt x="2090" y="780"/>
                </a:lnTo>
                <a:lnTo>
                  <a:pt x="2091" y="778"/>
                </a:lnTo>
                <a:lnTo>
                  <a:pt x="2091" y="775"/>
                </a:lnTo>
                <a:lnTo>
                  <a:pt x="2092" y="771"/>
                </a:lnTo>
                <a:lnTo>
                  <a:pt x="2091" y="767"/>
                </a:lnTo>
                <a:lnTo>
                  <a:pt x="2090" y="763"/>
                </a:lnTo>
                <a:lnTo>
                  <a:pt x="2088" y="760"/>
                </a:lnTo>
                <a:lnTo>
                  <a:pt x="2086" y="758"/>
                </a:lnTo>
                <a:lnTo>
                  <a:pt x="2081" y="754"/>
                </a:lnTo>
                <a:lnTo>
                  <a:pt x="2077" y="752"/>
                </a:lnTo>
                <a:lnTo>
                  <a:pt x="2073" y="750"/>
                </a:lnTo>
                <a:lnTo>
                  <a:pt x="2070" y="749"/>
                </a:lnTo>
                <a:lnTo>
                  <a:pt x="2070" y="748"/>
                </a:lnTo>
                <a:lnTo>
                  <a:pt x="2073" y="747"/>
                </a:lnTo>
                <a:lnTo>
                  <a:pt x="2082" y="744"/>
                </a:lnTo>
                <a:lnTo>
                  <a:pt x="2092" y="739"/>
                </a:lnTo>
                <a:lnTo>
                  <a:pt x="2095" y="737"/>
                </a:lnTo>
                <a:lnTo>
                  <a:pt x="2098" y="735"/>
                </a:lnTo>
                <a:lnTo>
                  <a:pt x="2100" y="733"/>
                </a:lnTo>
                <a:lnTo>
                  <a:pt x="2100" y="731"/>
                </a:lnTo>
                <a:lnTo>
                  <a:pt x="2101" y="726"/>
                </a:lnTo>
                <a:lnTo>
                  <a:pt x="2103" y="721"/>
                </a:lnTo>
                <a:lnTo>
                  <a:pt x="2103" y="717"/>
                </a:lnTo>
                <a:lnTo>
                  <a:pt x="2102" y="714"/>
                </a:lnTo>
                <a:lnTo>
                  <a:pt x="2099" y="711"/>
                </a:lnTo>
                <a:lnTo>
                  <a:pt x="2094" y="708"/>
                </a:lnTo>
                <a:lnTo>
                  <a:pt x="2082" y="700"/>
                </a:lnTo>
                <a:lnTo>
                  <a:pt x="2072" y="692"/>
                </a:lnTo>
                <a:lnTo>
                  <a:pt x="2067" y="690"/>
                </a:lnTo>
                <a:lnTo>
                  <a:pt x="2062" y="689"/>
                </a:lnTo>
                <a:lnTo>
                  <a:pt x="2058" y="688"/>
                </a:lnTo>
                <a:lnTo>
                  <a:pt x="2055" y="690"/>
                </a:lnTo>
                <a:lnTo>
                  <a:pt x="2054" y="693"/>
                </a:lnTo>
                <a:lnTo>
                  <a:pt x="2053" y="697"/>
                </a:lnTo>
                <a:lnTo>
                  <a:pt x="2053" y="702"/>
                </a:lnTo>
                <a:lnTo>
                  <a:pt x="2053" y="705"/>
                </a:lnTo>
                <a:lnTo>
                  <a:pt x="2053" y="706"/>
                </a:lnTo>
                <a:lnTo>
                  <a:pt x="2052" y="707"/>
                </a:lnTo>
                <a:lnTo>
                  <a:pt x="2051" y="708"/>
                </a:lnTo>
                <a:lnTo>
                  <a:pt x="2050" y="708"/>
                </a:lnTo>
                <a:lnTo>
                  <a:pt x="2045" y="707"/>
                </a:lnTo>
                <a:lnTo>
                  <a:pt x="2037" y="703"/>
                </a:lnTo>
                <a:lnTo>
                  <a:pt x="2033" y="700"/>
                </a:lnTo>
                <a:lnTo>
                  <a:pt x="2030" y="697"/>
                </a:lnTo>
                <a:lnTo>
                  <a:pt x="2029" y="695"/>
                </a:lnTo>
                <a:lnTo>
                  <a:pt x="2028" y="693"/>
                </a:lnTo>
                <a:lnTo>
                  <a:pt x="2030" y="690"/>
                </a:lnTo>
                <a:lnTo>
                  <a:pt x="2034" y="687"/>
                </a:lnTo>
                <a:lnTo>
                  <a:pt x="2039" y="685"/>
                </a:lnTo>
                <a:lnTo>
                  <a:pt x="2045" y="682"/>
                </a:lnTo>
                <a:lnTo>
                  <a:pt x="2046" y="681"/>
                </a:lnTo>
                <a:lnTo>
                  <a:pt x="2048" y="680"/>
                </a:lnTo>
                <a:lnTo>
                  <a:pt x="2049" y="678"/>
                </a:lnTo>
                <a:lnTo>
                  <a:pt x="2048" y="675"/>
                </a:lnTo>
                <a:lnTo>
                  <a:pt x="2046" y="669"/>
                </a:lnTo>
                <a:lnTo>
                  <a:pt x="2045" y="664"/>
                </a:lnTo>
                <a:lnTo>
                  <a:pt x="2045" y="661"/>
                </a:lnTo>
                <a:lnTo>
                  <a:pt x="2045" y="659"/>
                </a:lnTo>
                <a:lnTo>
                  <a:pt x="2046" y="657"/>
                </a:lnTo>
                <a:lnTo>
                  <a:pt x="2047" y="655"/>
                </a:lnTo>
                <a:lnTo>
                  <a:pt x="2050" y="647"/>
                </a:lnTo>
                <a:lnTo>
                  <a:pt x="2051" y="639"/>
                </a:lnTo>
                <a:lnTo>
                  <a:pt x="2052" y="636"/>
                </a:lnTo>
                <a:lnTo>
                  <a:pt x="2054" y="634"/>
                </a:lnTo>
                <a:lnTo>
                  <a:pt x="2057" y="635"/>
                </a:lnTo>
                <a:lnTo>
                  <a:pt x="2062" y="639"/>
                </a:lnTo>
                <a:lnTo>
                  <a:pt x="2073" y="650"/>
                </a:lnTo>
                <a:lnTo>
                  <a:pt x="2082" y="658"/>
                </a:lnTo>
                <a:lnTo>
                  <a:pt x="2086" y="659"/>
                </a:lnTo>
                <a:lnTo>
                  <a:pt x="2092" y="659"/>
                </a:lnTo>
                <a:lnTo>
                  <a:pt x="2097" y="656"/>
                </a:lnTo>
                <a:lnTo>
                  <a:pt x="2102" y="650"/>
                </a:lnTo>
                <a:lnTo>
                  <a:pt x="2115" y="639"/>
                </a:lnTo>
                <a:lnTo>
                  <a:pt x="2123" y="631"/>
                </a:lnTo>
                <a:lnTo>
                  <a:pt x="2125" y="628"/>
                </a:lnTo>
                <a:lnTo>
                  <a:pt x="2127" y="625"/>
                </a:lnTo>
                <a:lnTo>
                  <a:pt x="2128" y="622"/>
                </a:lnTo>
                <a:lnTo>
                  <a:pt x="2127" y="619"/>
                </a:lnTo>
                <a:lnTo>
                  <a:pt x="2122" y="608"/>
                </a:lnTo>
                <a:lnTo>
                  <a:pt x="2115" y="599"/>
                </a:lnTo>
                <a:lnTo>
                  <a:pt x="2113" y="595"/>
                </a:lnTo>
                <a:lnTo>
                  <a:pt x="2111" y="592"/>
                </a:lnTo>
                <a:lnTo>
                  <a:pt x="2111" y="590"/>
                </a:lnTo>
                <a:lnTo>
                  <a:pt x="2112" y="590"/>
                </a:lnTo>
                <a:lnTo>
                  <a:pt x="2113" y="589"/>
                </a:lnTo>
                <a:lnTo>
                  <a:pt x="2114" y="589"/>
                </a:lnTo>
                <a:lnTo>
                  <a:pt x="2119" y="591"/>
                </a:lnTo>
                <a:lnTo>
                  <a:pt x="2126" y="595"/>
                </a:lnTo>
                <a:lnTo>
                  <a:pt x="2135" y="601"/>
                </a:lnTo>
                <a:lnTo>
                  <a:pt x="2143" y="607"/>
                </a:lnTo>
                <a:lnTo>
                  <a:pt x="2151" y="613"/>
                </a:lnTo>
                <a:lnTo>
                  <a:pt x="2159" y="617"/>
                </a:lnTo>
                <a:lnTo>
                  <a:pt x="2161" y="617"/>
                </a:lnTo>
                <a:lnTo>
                  <a:pt x="2164" y="617"/>
                </a:lnTo>
                <a:lnTo>
                  <a:pt x="2165" y="616"/>
                </a:lnTo>
                <a:lnTo>
                  <a:pt x="2166" y="614"/>
                </a:lnTo>
                <a:lnTo>
                  <a:pt x="2166" y="607"/>
                </a:lnTo>
                <a:lnTo>
                  <a:pt x="2163" y="601"/>
                </a:lnTo>
                <a:lnTo>
                  <a:pt x="2160" y="596"/>
                </a:lnTo>
                <a:lnTo>
                  <a:pt x="2156" y="591"/>
                </a:lnTo>
                <a:lnTo>
                  <a:pt x="2151" y="584"/>
                </a:lnTo>
                <a:lnTo>
                  <a:pt x="2149" y="579"/>
                </a:lnTo>
                <a:lnTo>
                  <a:pt x="2149" y="576"/>
                </a:lnTo>
                <a:lnTo>
                  <a:pt x="2149" y="573"/>
                </a:lnTo>
                <a:lnTo>
                  <a:pt x="2150" y="570"/>
                </a:lnTo>
                <a:lnTo>
                  <a:pt x="2151" y="567"/>
                </a:lnTo>
                <a:lnTo>
                  <a:pt x="2156" y="560"/>
                </a:lnTo>
                <a:lnTo>
                  <a:pt x="2160" y="556"/>
                </a:lnTo>
                <a:lnTo>
                  <a:pt x="2163" y="552"/>
                </a:lnTo>
                <a:lnTo>
                  <a:pt x="2167" y="550"/>
                </a:lnTo>
                <a:lnTo>
                  <a:pt x="2177" y="546"/>
                </a:lnTo>
                <a:lnTo>
                  <a:pt x="2188" y="540"/>
                </a:lnTo>
                <a:lnTo>
                  <a:pt x="2193" y="537"/>
                </a:lnTo>
                <a:lnTo>
                  <a:pt x="2199" y="534"/>
                </a:lnTo>
                <a:lnTo>
                  <a:pt x="2203" y="531"/>
                </a:lnTo>
                <a:lnTo>
                  <a:pt x="2206" y="528"/>
                </a:lnTo>
                <a:lnTo>
                  <a:pt x="2208" y="524"/>
                </a:lnTo>
                <a:lnTo>
                  <a:pt x="2210" y="519"/>
                </a:lnTo>
                <a:lnTo>
                  <a:pt x="2212" y="514"/>
                </a:lnTo>
                <a:lnTo>
                  <a:pt x="2213" y="509"/>
                </a:lnTo>
                <a:lnTo>
                  <a:pt x="2215" y="503"/>
                </a:lnTo>
                <a:lnTo>
                  <a:pt x="2218" y="497"/>
                </a:lnTo>
                <a:lnTo>
                  <a:pt x="2224" y="492"/>
                </a:lnTo>
                <a:lnTo>
                  <a:pt x="2229" y="487"/>
                </a:lnTo>
                <a:lnTo>
                  <a:pt x="2240" y="476"/>
                </a:lnTo>
                <a:lnTo>
                  <a:pt x="2251" y="466"/>
                </a:lnTo>
                <a:lnTo>
                  <a:pt x="2271" y="445"/>
                </a:lnTo>
                <a:lnTo>
                  <a:pt x="2302" y="415"/>
                </a:lnTo>
                <a:lnTo>
                  <a:pt x="2316" y="399"/>
                </a:lnTo>
                <a:lnTo>
                  <a:pt x="2327" y="385"/>
                </a:lnTo>
                <a:lnTo>
                  <a:pt x="2331" y="380"/>
                </a:lnTo>
                <a:lnTo>
                  <a:pt x="2333" y="375"/>
                </a:lnTo>
                <a:lnTo>
                  <a:pt x="2333" y="373"/>
                </a:lnTo>
                <a:lnTo>
                  <a:pt x="2333" y="371"/>
                </a:lnTo>
                <a:lnTo>
                  <a:pt x="2332" y="370"/>
                </a:lnTo>
                <a:lnTo>
                  <a:pt x="2331" y="368"/>
                </a:lnTo>
                <a:lnTo>
                  <a:pt x="2325" y="367"/>
                </a:lnTo>
                <a:lnTo>
                  <a:pt x="2319" y="367"/>
                </a:lnTo>
                <a:lnTo>
                  <a:pt x="2312" y="371"/>
                </a:lnTo>
                <a:lnTo>
                  <a:pt x="2303" y="374"/>
                </a:lnTo>
                <a:lnTo>
                  <a:pt x="2282" y="383"/>
                </a:lnTo>
                <a:lnTo>
                  <a:pt x="2260" y="395"/>
                </a:lnTo>
                <a:lnTo>
                  <a:pt x="2239" y="406"/>
                </a:lnTo>
                <a:lnTo>
                  <a:pt x="2222" y="415"/>
                </a:lnTo>
                <a:lnTo>
                  <a:pt x="2215" y="418"/>
                </a:lnTo>
                <a:lnTo>
                  <a:pt x="2210" y="419"/>
                </a:lnTo>
                <a:lnTo>
                  <a:pt x="2208" y="420"/>
                </a:lnTo>
                <a:lnTo>
                  <a:pt x="2206" y="419"/>
                </a:lnTo>
                <a:lnTo>
                  <a:pt x="2205" y="419"/>
                </a:lnTo>
                <a:lnTo>
                  <a:pt x="2205" y="418"/>
                </a:lnTo>
                <a:lnTo>
                  <a:pt x="2206" y="415"/>
                </a:lnTo>
                <a:lnTo>
                  <a:pt x="2207" y="411"/>
                </a:lnTo>
                <a:lnTo>
                  <a:pt x="2210" y="407"/>
                </a:lnTo>
                <a:lnTo>
                  <a:pt x="2213" y="404"/>
                </a:lnTo>
                <a:lnTo>
                  <a:pt x="2223" y="397"/>
                </a:lnTo>
                <a:lnTo>
                  <a:pt x="2232" y="390"/>
                </a:lnTo>
                <a:lnTo>
                  <a:pt x="2251" y="380"/>
                </a:lnTo>
                <a:lnTo>
                  <a:pt x="2259" y="376"/>
                </a:lnTo>
                <a:lnTo>
                  <a:pt x="2221" y="357"/>
                </a:lnTo>
                <a:lnTo>
                  <a:pt x="2262" y="349"/>
                </a:lnTo>
                <a:lnTo>
                  <a:pt x="2267" y="350"/>
                </a:lnTo>
                <a:lnTo>
                  <a:pt x="2277" y="353"/>
                </a:lnTo>
                <a:lnTo>
                  <a:pt x="2283" y="353"/>
                </a:lnTo>
                <a:lnTo>
                  <a:pt x="2289" y="353"/>
                </a:lnTo>
                <a:lnTo>
                  <a:pt x="2294" y="352"/>
                </a:lnTo>
                <a:lnTo>
                  <a:pt x="2298" y="350"/>
                </a:lnTo>
                <a:lnTo>
                  <a:pt x="2309" y="336"/>
                </a:lnTo>
                <a:lnTo>
                  <a:pt x="2316" y="328"/>
                </a:lnTo>
                <a:lnTo>
                  <a:pt x="2325" y="326"/>
                </a:lnTo>
                <a:lnTo>
                  <a:pt x="2340" y="317"/>
                </a:lnTo>
                <a:lnTo>
                  <a:pt x="2348" y="313"/>
                </a:lnTo>
                <a:lnTo>
                  <a:pt x="2356" y="308"/>
                </a:lnTo>
                <a:lnTo>
                  <a:pt x="2362" y="302"/>
                </a:lnTo>
                <a:lnTo>
                  <a:pt x="2365" y="297"/>
                </a:lnTo>
                <a:lnTo>
                  <a:pt x="2375" y="284"/>
                </a:lnTo>
                <a:lnTo>
                  <a:pt x="2389" y="265"/>
                </a:lnTo>
                <a:lnTo>
                  <a:pt x="2396" y="255"/>
                </a:lnTo>
                <a:lnTo>
                  <a:pt x="2400" y="245"/>
                </a:lnTo>
                <a:lnTo>
                  <a:pt x="2401" y="241"/>
                </a:lnTo>
                <a:lnTo>
                  <a:pt x="2401" y="236"/>
                </a:lnTo>
                <a:lnTo>
                  <a:pt x="2400" y="232"/>
                </a:lnTo>
                <a:lnTo>
                  <a:pt x="2398" y="229"/>
                </a:lnTo>
                <a:lnTo>
                  <a:pt x="2383" y="210"/>
                </a:lnTo>
                <a:lnTo>
                  <a:pt x="2374" y="199"/>
                </a:lnTo>
                <a:lnTo>
                  <a:pt x="2365" y="191"/>
                </a:lnTo>
                <a:lnTo>
                  <a:pt x="2355" y="184"/>
                </a:lnTo>
                <a:lnTo>
                  <a:pt x="2351" y="180"/>
                </a:lnTo>
                <a:lnTo>
                  <a:pt x="2346" y="175"/>
                </a:lnTo>
                <a:lnTo>
                  <a:pt x="2344" y="169"/>
                </a:lnTo>
                <a:lnTo>
                  <a:pt x="2342" y="164"/>
                </a:lnTo>
                <a:lnTo>
                  <a:pt x="2341" y="151"/>
                </a:lnTo>
                <a:lnTo>
                  <a:pt x="2338" y="139"/>
                </a:lnTo>
                <a:lnTo>
                  <a:pt x="2336" y="134"/>
                </a:lnTo>
                <a:lnTo>
                  <a:pt x="2333" y="130"/>
                </a:lnTo>
                <a:lnTo>
                  <a:pt x="2329" y="126"/>
                </a:lnTo>
                <a:lnTo>
                  <a:pt x="2324" y="126"/>
                </a:lnTo>
                <a:lnTo>
                  <a:pt x="2318" y="128"/>
                </a:lnTo>
                <a:lnTo>
                  <a:pt x="2312" y="132"/>
                </a:lnTo>
                <a:lnTo>
                  <a:pt x="2303" y="137"/>
                </a:lnTo>
                <a:lnTo>
                  <a:pt x="2295" y="143"/>
                </a:lnTo>
                <a:lnTo>
                  <a:pt x="2278" y="157"/>
                </a:lnTo>
                <a:lnTo>
                  <a:pt x="2265" y="169"/>
                </a:lnTo>
                <a:lnTo>
                  <a:pt x="2253" y="179"/>
                </a:lnTo>
                <a:lnTo>
                  <a:pt x="2242" y="186"/>
                </a:lnTo>
                <a:lnTo>
                  <a:pt x="2236" y="188"/>
                </a:lnTo>
                <a:lnTo>
                  <a:pt x="2232" y="188"/>
                </a:lnTo>
                <a:lnTo>
                  <a:pt x="2230" y="188"/>
                </a:lnTo>
                <a:lnTo>
                  <a:pt x="2229" y="187"/>
                </a:lnTo>
                <a:lnTo>
                  <a:pt x="2228" y="185"/>
                </a:lnTo>
                <a:lnTo>
                  <a:pt x="2227" y="183"/>
                </a:lnTo>
                <a:lnTo>
                  <a:pt x="2226" y="180"/>
                </a:lnTo>
                <a:lnTo>
                  <a:pt x="2225" y="177"/>
                </a:lnTo>
                <a:lnTo>
                  <a:pt x="2226" y="175"/>
                </a:lnTo>
                <a:lnTo>
                  <a:pt x="2227" y="173"/>
                </a:lnTo>
                <a:lnTo>
                  <a:pt x="2232" y="168"/>
                </a:lnTo>
                <a:lnTo>
                  <a:pt x="2240" y="158"/>
                </a:lnTo>
                <a:lnTo>
                  <a:pt x="2248" y="152"/>
                </a:lnTo>
                <a:lnTo>
                  <a:pt x="2257" y="145"/>
                </a:lnTo>
                <a:lnTo>
                  <a:pt x="2267" y="141"/>
                </a:lnTo>
                <a:lnTo>
                  <a:pt x="2275" y="137"/>
                </a:lnTo>
                <a:lnTo>
                  <a:pt x="2278" y="135"/>
                </a:lnTo>
                <a:lnTo>
                  <a:pt x="2281" y="133"/>
                </a:lnTo>
                <a:lnTo>
                  <a:pt x="2282" y="132"/>
                </a:lnTo>
                <a:lnTo>
                  <a:pt x="2283" y="130"/>
                </a:lnTo>
                <a:lnTo>
                  <a:pt x="2282" y="129"/>
                </a:lnTo>
                <a:lnTo>
                  <a:pt x="2279" y="126"/>
                </a:lnTo>
                <a:lnTo>
                  <a:pt x="2275" y="125"/>
                </a:lnTo>
                <a:lnTo>
                  <a:pt x="2269" y="124"/>
                </a:lnTo>
                <a:lnTo>
                  <a:pt x="2242" y="119"/>
                </a:lnTo>
                <a:lnTo>
                  <a:pt x="2220" y="116"/>
                </a:lnTo>
                <a:lnTo>
                  <a:pt x="2204" y="113"/>
                </a:lnTo>
                <a:lnTo>
                  <a:pt x="2194" y="112"/>
                </a:lnTo>
                <a:lnTo>
                  <a:pt x="2188" y="110"/>
                </a:lnTo>
                <a:lnTo>
                  <a:pt x="2180" y="109"/>
                </a:lnTo>
                <a:lnTo>
                  <a:pt x="2177" y="109"/>
                </a:lnTo>
                <a:lnTo>
                  <a:pt x="2173" y="111"/>
                </a:lnTo>
                <a:lnTo>
                  <a:pt x="2171" y="114"/>
                </a:lnTo>
                <a:lnTo>
                  <a:pt x="2170" y="119"/>
                </a:lnTo>
                <a:lnTo>
                  <a:pt x="2170" y="124"/>
                </a:lnTo>
                <a:lnTo>
                  <a:pt x="2169" y="130"/>
                </a:lnTo>
                <a:lnTo>
                  <a:pt x="2167" y="133"/>
                </a:lnTo>
                <a:lnTo>
                  <a:pt x="2165" y="135"/>
                </a:lnTo>
                <a:lnTo>
                  <a:pt x="2163" y="136"/>
                </a:lnTo>
                <a:lnTo>
                  <a:pt x="2161" y="136"/>
                </a:lnTo>
                <a:lnTo>
                  <a:pt x="2158" y="135"/>
                </a:lnTo>
                <a:lnTo>
                  <a:pt x="2156" y="134"/>
                </a:lnTo>
                <a:lnTo>
                  <a:pt x="2151" y="126"/>
                </a:lnTo>
                <a:lnTo>
                  <a:pt x="2148" y="116"/>
                </a:lnTo>
                <a:lnTo>
                  <a:pt x="2146" y="111"/>
                </a:lnTo>
                <a:lnTo>
                  <a:pt x="2143" y="108"/>
                </a:lnTo>
                <a:lnTo>
                  <a:pt x="2142" y="107"/>
                </a:lnTo>
                <a:lnTo>
                  <a:pt x="2140" y="106"/>
                </a:lnTo>
                <a:lnTo>
                  <a:pt x="2138" y="106"/>
                </a:lnTo>
                <a:lnTo>
                  <a:pt x="2136" y="107"/>
                </a:lnTo>
                <a:lnTo>
                  <a:pt x="2130" y="108"/>
                </a:lnTo>
                <a:lnTo>
                  <a:pt x="2126" y="108"/>
                </a:lnTo>
                <a:lnTo>
                  <a:pt x="2123" y="107"/>
                </a:lnTo>
                <a:lnTo>
                  <a:pt x="2121" y="106"/>
                </a:lnTo>
                <a:lnTo>
                  <a:pt x="2119" y="104"/>
                </a:lnTo>
                <a:lnTo>
                  <a:pt x="2117" y="104"/>
                </a:lnTo>
                <a:lnTo>
                  <a:pt x="2116" y="108"/>
                </a:lnTo>
                <a:lnTo>
                  <a:pt x="2115" y="113"/>
                </a:lnTo>
                <a:lnTo>
                  <a:pt x="2115" y="120"/>
                </a:lnTo>
                <a:lnTo>
                  <a:pt x="2118" y="128"/>
                </a:lnTo>
                <a:lnTo>
                  <a:pt x="2121" y="134"/>
                </a:lnTo>
                <a:lnTo>
                  <a:pt x="2125" y="141"/>
                </a:lnTo>
                <a:lnTo>
                  <a:pt x="2129" y="147"/>
                </a:lnTo>
                <a:lnTo>
                  <a:pt x="2133" y="153"/>
                </a:lnTo>
                <a:lnTo>
                  <a:pt x="2135" y="156"/>
                </a:lnTo>
                <a:lnTo>
                  <a:pt x="2135" y="159"/>
                </a:lnTo>
                <a:lnTo>
                  <a:pt x="2132" y="166"/>
                </a:lnTo>
                <a:lnTo>
                  <a:pt x="2129" y="177"/>
                </a:lnTo>
                <a:lnTo>
                  <a:pt x="2127" y="181"/>
                </a:lnTo>
                <a:lnTo>
                  <a:pt x="2124" y="182"/>
                </a:lnTo>
                <a:lnTo>
                  <a:pt x="2123" y="182"/>
                </a:lnTo>
                <a:lnTo>
                  <a:pt x="2121" y="181"/>
                </a:lnTo>
                <a:lnTo>
                  <a:pt x="2119" y="179"/>
                </a:lnTo>
                <a:lnTo>
                  <a:pt x="2116" y="176"/>
                </a:lnTo>
                <a:lnTo>
                  <a:pt x="2104" y="160"/>
                </a:lnTo>
                <a:lnTo>
                  <a:pt x="2093" y="144"/>
                </a:lnTo>
                <a:lnTo>
                  <a:pt x="2088" y="137"/>
                </a:lnTo>
                <a:lnTo>
                  <a:pt x="2083" y="130"/>
                </a:lnTo>
                <a:lnTo>
                  <a:pt x="2081" y="124"/>
                </a:lnTo>
                <a:lnTo>
                  <a:pt x="2080" y="119"/>
                </a:lnTo>
                <a:lnTo>
                  <a:pt x="2079" y="112"/>
                </a:lnTo>
                <a:lnTo>
                  <a:pt x="2078" y="107"/>
                </a:lnTo>
                <a:lnTo>
                  <a:pt x="2076" y="106"/>
                </a:lnTo>
                <a:lnTo>
                  <a:pt x="2073" y="106"/>
                </a:lnTo>
                <a:lnTo>
                  <a:pt x="2069" y="106"/>
                </a:lnTo>
                <a:lnTo>
                  <a:pt x="2062" y="107"/>
                </a:lnTo>
                <a:lnTo>
                  <a:pt x="2050" y="108"/>
                </a:lnTo>
                <a:lnTo>
                  <a:pt x="2041" y="107"/>
                </a:lnTo>
                <a:lnTo>
                  <a:pt x="2037" y="107"/>
                </a:lnTo>
                <a:lnTo>
                  <a:pt x="2034" y="108"/>
                </a:lnTo>
                <a:lnTo>
                  <a:pt x="2031" y="110"/>
                </a:lnTo>
                <a:lnTo>
                  <a:pt x="2028" y="114"/>
                </a:lnTo>
                <a:lnTo>
                  <a:pt x="2025" y="119"/>
                </a:lnTo>
                <a:lnTo>
                  <a:pt x="2025" y="123"/>
                </a:lnTo>
                <a:lnTo>
                  <a:pt x="2026" y="129"/>
                </a:lnTo>
                <a:lnTo>
                  <a:pt x="2027" y="134"/>
                </a:lnTo>
                <a:lnTo>
                  <a:pt x="2030" y="138"/>
                </a:lnTo>
                <a:lnTo>
                  <a:pt x="2033" y="142"/>
                </a:lnTo>
                <a:lnTo>
                  <a:pt x="2036" y="145"/>
                </a:lnTo>
                <a:lnTo>
                  <a:pt x="2039" y="147"/>
                </a:lnTo>
                <a:lnTo>
                  <a:pt x="2048" y="155"/>
                </a:lnTo>
                <a:lnTo>
                  <a:pt x="2061" y="166"/>
                </a:lnTo>
                <a:lnTo>
                  <a:pt x="2068" y="173"/>
                </a:lnTo>
                <a:lnTo>
                  <a:pt x="2073" y="179"/>
                </a:lnTo>
                <a:lnTo>
                  <a:pt x="2077" y="184"/>
                </a:lnTo>
                <a:lnTo>
                  <a:pt x="2078" y="188"/>
                </a:lnTo>
                <a:lnTo>
                  <a:pt x="2078" y="198"/>
                </a:lnTo>
                <a:lnTo>
                  <a:pt x="2079" y="205"/>
                </a:lnTo>
                <a:lnTo>
                  <a:pt x="2079" y="208"/>
                </a:lnTo>
                <a:lnTo>
                  <a:pt x="2077" y="210"/>
                </a:lnTo>
                <a:lnTo>
                  <a:pt x="2074" y="210"/>
                </a:lnTo>
                <a:lnTo>
                  <a:pt x="2069" y="208"/>
                </a:lnTo>
                <a:lnTo>
                  <a:pt x="2057" y="203"/>
                </a:lnTo>
                <a:lnTo>
                  <a:pt x="2050" y="198"/>
                </a:lnTo>
                <a:lnTo>
                  <a:pt x="2044" y="191"/>
                </a:lnTo>
                <a:lnTo>
                  <a:pt x="2038" y="182"/>
                </a:lnTo>
                <a:lnTo>
                  <a:pt x="2033" y="172"/>
                </a:lnTo>
                <a:lnTo>
                  <a:pt x="2029" y="161"/>
                </a:lnTo>
                <a:lnTo>
                  <a:pt x="2025" y="152"/>
                </a:lnTo>
                <a:lnTo>
                  <a:pt x="2020" y="145"/>
                </a:lnTo>
                <a:lnTo>
                  <a:pt x="2006" y="132"/>
                </a:lnTo>
                <a:lnTo>
                  <a:pt x="1996" y="123"/>
                </a:lnTo>
                <a:lnTo>
                  <a:pt x="1990" y="125"/>
                </a:lnTo>
                <a:lnTo>
                  <a:pt x="1976" y="132"/>
                </a:lnTo>
                <a:lnTo>
                  <a:pt x="1970" y="135"/>
                </a:lnTo>
                <a:lnTo>
                  <a:pt x="1966" y="139"/>
                </a:lnTo>
                <a:lnTo>
                  <a:pt x="1965" y="141"/>
                </a:lnTo>
                <a:lnTo>
                  <a:pt x="1964" y="143"/>
                </a:lnTo>
                <a:lnTo>
                  <a:pt x="1965" y="145"/>
                </a:lnTo>
                <a:lnTo>
                  <a:pt x="1966" y="146"/>
                </a:lnTo>
                <a:lnTo>
                  <a:pt x="1975" y="152"/>
                </a:lnTo>
                <a:lnTo>
                  <a:pt x="1983" y="156"/>
                </a:lnTo>
                <a:lnTo>
                  <a:pt x="1986" y="157"/>
                </a:lnTo>
                <a:lnTo>
                  <a:pt x="1988" y="158"/>
                </a:lnTo>
                <a:lnTo>
                  <a:pt x="1988" y="160"/>
                </a:lnTo>
                <a:lnTo>
                  <a:pt x="1987" y="162"/>
                </a:lnTo>
                <a:lnTo>
                  <a:pt x="1971" y="174"/>
                </a:lnTo>
                <a:lnTo>
                  <a:pt x="1960" y="181"/>
                </a:lnTo>
                <a:lnTo>
                  <a:pt x="1961" y="181"/>
                </a:lnTo>
                <a:lnTo>
                  <a:pt x="1963" y="184"/>
                </a:lnTo>
                <a:lnTo>
                  <a:pt x="1963" y="186"/>
                </a:lnTo>
                <a:lnTo>
                  <a:pt x="1963" y="188"/>
                </a:lnTo>
                <a:lnTo>
                  <a:pt x="1962" y="190"/>
                </a:lnTo>
                <a:lnTo>
                  <a:pt x="1959" y="194"/>
                </a:lnTo>
                <a:lnTo>
                  <a:pt x="1956" y="197"/>
                </a:lnTo>
                <a:lnTo>
                  <a:pt x="1951" y="199"/>
                </a:lnTo>
                <a:lnTo>
                  <a:pt x="1946" y="200"/>
                </a:lnTo>
                <a:lnTo>
                  <a:pt x="1942" y="202"/>
                </a:lnTo>
                <a:lnTo>
                  <a:pt x="1936" y="203"/>
                </a:lnTo>
                <a:lnTo>
                  <a:pt x="1932" y="203"/>
                </a:lnTo>
                <a:lnTo>
                  <a:pt x="1926" y="213"/>
                </a:lnTo>
                <a:lnTo>
                  <a:pt x="1917" y="227"/>
                </a:lnTo>
                <a:lnTo>
                  <a:pt x="1916" y="228"/>
                </a:lnTo>
                <a:lnTo>
                  <a:pt x="1916" y="230"/>
                </a:lnTo>
                <a:lnTo>
                  <a:pt x="1917" y="233"/>
                </a:lnTo>
                <a:lnTo>
                  <a:pt x="1919" y="236"/>
                </a:lnTo>
                <a:lnTo>
                  <a:pt x="1924" y="243"/>
                </a:lnTo>
                <a:lnTo>
                  <a:pt x="1929" y="248"/>
                </a:lnTo>
                <a:lnTo>
                  <a:pt x="1935" y="253"/>
                </a:lnTo>
                <a:lnTo>
                  <a:pt x="1942" y="258"/>
                </a:lnTo>
                <a:lnTo>
                  <a:pt x="1948" y="266"/>
                </a:lnTo>
                <a:lnTo>
                  <a:pt x="1952" y="273"/>
                </a:lnTo>
                <a:lnTo>
                  <a:pt x="1954" y="277"/>
                </a:lnTo>
                <a:lnTo>
                  <a:pt x="1954" y="283"/>
                </a:lnTo>
                <a:lnTo>
                  <a:pt x="1954" y="288"/>
                </a:lnTo>
                <a:lnTo>
                  <a:pt x="1953" y="292"/>
                </a:lnTo>
                <a:lnTo>
                  <a:pt x="1951" y="296"/>
                </a:lnTo>
                <a:lnTo>
                  <a:pt x="1949" y="297"/>
                </a:lnTo>
                <a:lnTo>
                  <a:pt x="1947" y="297"/>
                </a:lnTo>
                <a:lnTo>
                  <a:pt x="1946" y="296"/>
                </a:lnTo>
                <a:lnTo>
                  <a:pt x="1944" y="294"/>
                </a:lnTo>
                <a:lnTo>
                  <a:pt x="1942" y="291"/>
                </a:lnTo>
                <a:lnTo>
                  <a:pt x="1933" y="280"/>
                </a:lnTo>
                <a:lnTo>
                  <a:pt x="1926" y="273"/>
                </a:lnTo>
                <a:lnTo>
                  <a:pt x="1920" y="268"/>
                </a:lnTo>
                <a:lnTo>
                  <a:pt x="1913" y="263"/>
                </a:lnTo>
                <a:lnTo>
                  <a:pt x="1904" y="257"/>
                </a:lnTo>
                <a:lnTo>
                  <a:pt x="1895" y="254"/>
                </a:lnTo>
                <a:lnTo>
                  <a:pt x="1891" y="252"/>
                </a:lnTo>
                <a:lnTo>
                  <a:pt x="1886" y="249"/>
                </a:lnTo>
                <a:lnTo>
                  <a:pt x="1882" y="245"/>
                </a:lnTo>
                <a:lnTo>
                  <a:pt x="1880" y="240"/>
                </a:lnTo>
                <a:lnTo>
                  <a:pt x="1876" y="228"/>
                </a:lnTo>
                <a:lnTo>
                  <a:pt x="1870" y="217"/>
                </a:lnTo>
                <a:lnTo>
                  <a:pt x="1867" y="211"/>
                </a:lnTo>
                <a:lnTo>
                  <a:pt x="1864" y="207"/>
                </a:lnTo>
                <a:lnTo>
                  <a:pt x="1862" y="205"/>
                </a:lnTo>
                <a:lnTo>
                  <a:pt x="1859" y="204"/>
                </a:lnTo>
                <a:lnTo>
                  <a:pt x="1853" y="205"/>
                </a:lnTo>
                <a:lnTo>
                  <a:pt x="1844" y="209"/>
                </a:lnTo>
                <a:lnTo>
                  <a:pt x="1841" y="212"/>
                </a:lnTo>
                <a:lnTo>
                  <a:pt x="1839" y="217"/>
                </a:lnTo>
                <a:lnTo>
                  <a:pt x="1839" y="220"/>
                </a:lnTo>
                <a:lnTo>
                  <a:pt x="1841" y="225"/>
                </a:lnTo>
                <a:lnTo>
                  <a:pt x="1845" y="232"/>
                </a:lnTo>
                <a:lnTo>
                  <a:pt x="1848" y="238"/>
                </a:lnTo>
                <a:lnTo>
                  <a:pt x="1848" y="240"/>
                </a:lnTo>
                <a:lnTo>
                  <a:pt x="1847" y="242"/>
                </a:lnTo>
                <a:lnTo>
                  <a:pt x="1844" y="244"/>
                </a:lnTo>
                <a:lnTo>
                  <a:pt x="1841" y="247"/>
                </a:lnTo>
                <a:lnTo>
                  <a:pt x="1833" y="252"/>
                </a:lnTo>
                <a:lnTo>
                  <a:pt x="1827" y="257"/>
                </a:lnTo>
                <a:lnTo>
                  <a:pt x="1825" y="260"/>
                </a:lnTo>
                <a:lnTo>
                  <a:pt x="1823" y="262"/>
                </a:lnTo>
                <a:lnTo>
                  <a:pt x="1823" y="265"/>
                </a:lnTo>
                <a:lnTo>
                  <a:pt x="1825" y="268"/>
                </a:lnTo>
                <a:lnTo>
                  <a:pt x="1832" y="275"/>
                </a:lnTo>
                <a:lnTo>
                  <a:pt x="1842" y="283"/>
                </a:lnTo>
                <a:lnTo>
                  <a:pt x="1847" y="286"/>
                </a:lnTo>
                <a:lnTo>
                  <a:pt x="1850" y="289"/>
                </a:lnTo>
                <a:lnTo>
                  <a:pt x="1851" y="290"/>
                </a:lnTo>
                <a:lnTo>
                  <a:pt x="1851" y="291"/>
                </a:lnTo>
                <a:lnTo>
                  <a:pt x="1851" y="292"/>
                </a:lnTo>
                <a:lnTo>
                  <a:pt x="1850" y="292"/>
                </a:lnTo>
                <a:lnTo>
                  <a:pt x="1841" y="294"/>
                </a:lnTo>
                <a:lnTo>
                  <a:pt x="1832" y="295"/>
                </a:lnTo>
                <a:lnTo>
                  <a:pt x="1827" y="295"/>
                </a:lnTo>
                <a:lnTo>
                  <a:pt x="1822" y="294"/>
                </a:lnTo>
                <a:lnTo>
                  <a:pt x="1819" y="292"/>
                </a:lnTo>
                <a:lnTo>
                  <a:pt x="1817" y="290"/>
                </a:lnTo>
                <a:lnTo>
                  <a:pt x="1816" y="284"/>
                </a:lnTo>
                <a:lnTo>
                  <a:pt x="1815" y="276"/>
                </a:lnTo>
                <a:lnTo>
                  <a:pt x="1815" y="274"/>
                </a:lnTo>
                <a:lnTo>
                  <a:pt x="1813" y="272"/>
                </a:lnTo>
                <a:lnTo>
                  <a:pt x="1811" y="272"/>
                </a:lnTo>
                <a:lnTo>
                  <a:pt x="1806" y="274"/>
                </a:lnTo>
                <a:lnTo>
                  <a:pt x="1793" y="290"/>
                </a:lnTo>
                <a:lnTo>
                  <a:pt x="1785" y="298"/>
                </a:lnTo>
                <a:lnTo>
                  <a:pt x="1782" y="298"/>
                </a:lnTo>
                <a:lnTo>
                  <a:pt x="1778" y="299"/>
                </a:lnTo>
                <a:lnTo>
                  <a:pt x="1775" y="300"/>
                </a:lnTo>
                <a:lnTo>
                  <a:pt x="1772" y="302"/>
                </a:lnTo>
                <a:lnTo>
                  <a:pt x="1767" y="307"/>
                </a:lnTo>
                <a:lnTo>
                  <a:pt x="1764" y="309"/>
                </a:lnTo>
                <a:lnTo>
                  <a:pt x="1757" y="311"/>
                </a:lnTo>
                <a:lnTo>
                  <a:pt x="1747" y="315"/>
                </a:lnTo>
                <a:lnTo>
                  <a:pt x="1741" y="317"/>
                </a:lnTo>
                <a:lnTo>
                  <a:pt x="1735" y="321"/>
                </a:lnTo>
                <a:lnTo>
                  <a:pt x="1731" y="326"/>
                </a:lnTo>
                <a:lnTo>
                  <a:pt x="1729" y="330"/>
                </a:lnTo>
                <a:lnTo>
                  <a:pt x="1727" y="335"/>
                </a:lnTo>
                <a:lnTo>
                  <a:pt x="1727" y="339"/>
                </a:lnTo>
                <a:lnTo>
                  <a:pt x="1727" y="343"/>
                </a:lnTo>
                <a:lnTo>
                  <a:pt x="1727" y="346"/>
                </a:lnTo>
                <a:lnTo>
                  <a:pt x="1728" y="350"/>
                </a:lnTo>
                <a:lnTo>
                  <a:pt x="1729" y="353"/>
                </a:lnTo>
                <a:lnTo>
                  <a:pt x="1731" y="356"/>
                </a:lnTo>
                <a:lnTo>
                  <a:pt x="1733" y="358"/>
                </a:lnTo>
                <a:lnTo>
                  <a:pt x="1737" y="359"/>
                </a:lnTo>
                <a:lnTo>
                  <a:pt x="1740" y="358"/>
                </a:lnTo>
                <a:lnTo>
                  <a:pt x="1744" y="357"/>
                </a:lnTo>
                <a:lnTo>
                  <a:pt x="1748" y="355"/>
                </a:lnTo>
                <a:lnTo>
                  <a:pt x="1752" y="353"/>
                </a:lnTo>
                <a:lnTo>
                  <a:pt x="1756" y="352"/>
                </a:lnTo>
                <a:lnTo>
                  <a:pt x="1760" y="352"/>
                </a:lnTo>
                <a:lnTo>
                  <a:pt x="1762" y="354"/>
                </a:lnTo>
                <a:lnTo>
                  <a:pt x="1767" y="360"/>
                </a:lnTo>
                <a:lnTo>
                  <a:pt x="1772" y="365"/>
                </a:lnTo>
                <a:lnTo>
                  <a:pt x="1774" y="366"/>
                </a:lnTo>
                <a:lnTo>
                  <a:pt x="1778" y="364"/>
                </a:lnTo>
                <a:lnTo>
                  <a:pt x="1784" y="362"/>
                </a:lnTo>
                <a:lnTo>
                  <a:pt x="1789" y="359"/>
                </a:lnTo>
                <a:lnTo>
                  <a:pt x="1794" y="356"/>
                </a:lnTo>
                <a:lnTo>
                  <a:pt x="1798" y="355"/>
                </a:lnTo>
                <a:lnTo>
                  <a:pt x="1800" y="354"/>
                </a:lnTo>
                <a:lnTo>
                  <a:pt x="1801" y="355"/>
                </a:lnTo>
                <a:lnTo>
                  <a:pt x="1801" y="356"/>
                </a:lnTo>
                <a:lnTo>
                  <a:pt x="1801" y="357"/>
                </a:lnTo>
                <a:lnTo>
                  <a:pt x="1799" y="366"/>
                </a:lnTo>
                <a:lnTo>
                  <a:pt x="1795" y="375"/>
                </a:lnTo>
                <a:lnTo>
                  <a:pt x="1792" y="382"/>
                </a:lnTo>
                <a:lnTo>
                  <a:pt x="1788" y="387"/>
                </a:lnTo>
                <a:lnTo>
                  <a:pt x="1785" y="389"/>
                </a:lnTo>
                <a:lnTo>
                  <a:pt x="1781" y="392"/>
                </a:lnTo>
                <a:lnTo>
                  <a:pt x="1778" y="393"/>
                </a:lnTo>
                <a:lnTo>
                  <a:pt x="1776" y="396"/>
                </a:lnTo>
                <a:lnTo>
                  <a:pt x="1776" y="400"/>
                </a:lnTo>
                <a:lnTo>
                  <a:pt x="1775" y="405"/>
                </a:lnTo>
                <a:lnTo>
                  <a:pt x="1774" y="417"/>
                </a:lnTo>
                <a:lnTo>
                  <a:pt x="1772" y="426"/>
                </a:lnTo>
                <a:lnTo>
                  <a:pt x="1771" y="429"/>
                </a:lnTo>
                <a:lnTo>
                  <a:pt x="1772" y="432"/>
                </a:lnTo>
                <a:lnTo>
                  <a:pt x="1773" y="436"/>
                </a:lnTo>
                <a:lnTo>
                  <a:pt x="1777" y="438"/>
                </a:lnTo>
                <a:lnTo>
                  <a:pt x="1782" y="439"/>
                </a:lnTo>
                <a:lnTo>
                  <a:pt x="1787" y="439"/>
                </a:lnTo>
                <a:lnTo>
                  <a:pt x="1793" y="437"/>
                </a:lnTo>
                <a:lnTo>
                  <a:pt x="1798" y="435"/>
                </a:lnTo>
                <a:lnTo>
                  <a:pt x="1805" y="432"/>
                </a:lnTo>
                <a:lnTo>
                  <a:pt x="1810" y="431"/>
                </a:lnTo>
                <a:lnTo>
                  <a:pt x="1815" y="431"/>
                </a:lnTo>
                <a:lnTo>
                  <a:pt x="1818" y="433"/>
                </a:lnTo>
                <a:lnTo>
                  <a:pt x="1820" y="435"/>
                </a:lnTo>
                <a:lnTo>
                  <a:pt x="1822" y="436"/>
                </a:lnTo>
                <a:lnTo>
                  <a:pt x="1826" y="436"/>
                </a:lnTo>
                <a:lnTo>
                  <a:pt x="1828" y="435"/>
                </a:lnTo>
                <a:lnTo>
                  <a:pt x="1835" y="432"/>
                </a:lnTo>
                <a:lnTo>
                  <a:pt x="1842" y="429"/>
                </a:lnTo>
                <a:lnTo>
                  <a:pt x="1855" y="423"/>
                </a:lnTo>
                <a:lnTo>
                  <a:pt x="1862" y="419"/>
                </a:lnTo>
                <a:lnTo>
                  <a:pt x="1869" y="414"/>
                </a:lnTo>
                <a:lnTo>
                  <a:pt x="1878" y="403"/>
                </a:lnTo>
                <a:lnTo>
                  <a:pt x="1882" y="399"/>
                </a:lnTo>
                <a:lnTo>
                  <a:pt x="1885" y="396"/>
                </a:lnTo>
                <a:lnTo>
                  <a:pt x="1886" y="396"/>
                </a:lnTo>
                <a:lnTo>
                  <a:pt x="1887" y="396"/>
                </a:lnTo>
                <a:lnTo>
                  <a:pt x="1887" y="397"/>
                </a:lnTo>
                <a:lnTo>
                  <a:pt x="1887" y="400"/>
                </a:lnTo>
                <a:lnTo>
                  <a:pt x="1884" y="405"/>
                </a:lnTo>
                <a:lnTo>
                  <a:pt x="1881" y="410"/>
                </a:lnTo>
                <a:lnTo>
                  <a:pt x="1877" y="415"/>
                </a:lnTo>
                <a:lnTo>
                  <a:pt x="1873" y="419"/>
                </a:lnTo>
                <a:lnTo>
                  <a:pt x="1865" y="425"/>
                </a:lnTo>
                <a:lnTo>
                  <a:pt x="1859" y="431"/>
                </a:lnTo>
                <a:lnTo>
                  <a:pt x="1859" y="432"/>
                </a:lnTo>
                <a:lnTo>
                  <a:pt x="1860" y="433"/>
                </a:lnTo>
                <a:lnTo>
                  <a:pt x="1862" y="433"/>
                </a:lnTo>
                <a:lnTo>
                  <a:pt x="1864" y="432"/>
                </a:lnTo>
                <a:lnTo>
                  <a:pt x="1872" y="430"/>
                </a:lnTo>
                <a:lnTo>
                  <a:pt x="1881" y="427"/>
                </a:lnTo>
                <a:lnTo>
                  <a:pt x="1891" y="424"/>
                </a:lnTo>
                <a:lnTo>
                  <a:pt x="1899" y="422"/>
                </a:lnTo>
                <a:lnTo>
                  <a:pt x="1903" y="421"/>
                </a:lnTo>
                <a:lnTo>
                  <a:pt x="1906" y="421"/>
                </a:lnTo>
                <a:lnTo>
                  <a:pt x="1908" y="421"/>
                </a:lnTo>
                <a:lnTo>
                  <a:pt x="1910" y="422"/>
                </a:lnTo>
                <a:lnTo>
                  <a:pt x="1911" y="424"/>
                </a:lnTo>
                <a:lnTo>
                  <a:pt x="1913" y="427"/>
                </a:lnTo>
                <a:lnTo>
                  <a:pt x="1913" y="429"/>
                </a:lnTo>
                <a:lnTo>
                  <a:pt x="1911" y="431"/>
                </a:lnTo>
                <a:lnTo>
                  <a:pt x="1910" y="433"/>
                </a:lnTo>
                <a:lnTo>
                  <a:pt x="1907" y="436"/>
                </a:lnTo>
                <a:lnTo>
                  <a:pt x="1903" y="438"/>
                </a:lnTo>
                <a:lnTo>
                  <a:pt x="1898" y="439"/>
                </a:lnTo>
                <a:lnTo>
                  <a:pt x="1893" y="440"/>
                </a:lnTo>
                <a:lnTo>
                  <a:pt x="1886" y="439"/>
                </a:lnTo>
                <a:lnTo>
                  <a:pt x="1880" y="438"/>
                </a:lnTo>
                <a:lnTo>
                  <a:pt x="1875" y="437"/>
                </a:lnTo>
                <a:lnTo>
                  <a:pt x="1871" y="437"/>
                </a:lnTo>
                <a:lnTo>
                  <a:pt x="1866" y="438"/>
                </a:lnTo>
                <a:lnTo>
                  <a:pt x="1864" y="439"/>
                </a:lnTo>
                <a:lnTo>
                  <a:pt x="1863" y="441"/>
                </a:lnTo>
                <a:lnTo>
                  <a:pt x="1862" y="443"/>
                </a:lnTo>
                <a:lnTo>
                  <a:pt x="1861" y="446"/>
                </a:lnTo>
                <a:lnTo>
                  <a:pt x="1860" y="452"/>
                </a:lnTo>
                <a:lnTo>
                  <a:pt x="1858" y="459"/>
                </a:lnTo>
                <a:lnTo>
                  <a:pt x="1856" y="463"/>
                </a:lnTo>
                <a:lnTo>
                  <a:pt x="1854" y="467"/>
                </a:lnTo>
                <a:lnTo>
                  <a:pt x="1851" y="469"/>
                </a:lnTo>
                <a:lnTo>
                  <a:pt x="1849" y="471"/>
                </a:lnTo>
                <a:lnTo>
                  <a:pt x="1845" y="470"/>
                </a:lnTo>
                <a:lnTo>
                  <a:pt x="1843" y="468"/>
                </a:lnTo>
                <a:lnTo>
                  <a:pt x="1839" y="465"/>
                </a:lnTo>
                <a:lnTo>
                  <a:pt x="1833" y="462"/>
                </a:lnTo>
                <a:lnTo>
                  <a:pt x="1825" y="458"/>
                </a:lnTo>
                <a:lnTo>
                  <a:pt x="1816" y="455"/>
                </a:lnTo>
                <a:lnTo>
                  <a:pt x="1808" y="453"/>
                </a:lnTo>
                <a:lnTo>
                  <a:pt x="1801" y="453"/>
                </a:lnTo>
                <a:lnTo>
                  <a:pt x="1798" y="453"/>
                </a:lnTo>
                <a:lnTo>
                  <a:pt x="1796" y="454"/>
                </a:lnTo>
                <a:lnTo>
                  <a:pt x="1795" y="455"/>
                </a:lnTo>
                <a:lnTo>
                  <a:pt x="1794" y="458"/>
                </a:lnTo>
                <a:lnTo>
                  <a:pt x="1794" y="463"/>
                </a:lnTo>
                <a:lnTo>
                  <a:pt x="1795" y="468"/>
                </a:lnTo>
                <a:lnTo>
                  <a:pt x="1796" y="473"/>
                </a:lnTo>
                <a:lnTo>
                  <a:pt x="1799" y="480"/>
                </a:lnTo>
                <a:lnTo>
                  <a:pt x="1803" y="484"/>
                </a:lnTo>
                <a:lnTo>
                  <a:pt x="1808" y="488"/>
                </a:lnTo>
                <a:lnTo>
                  <a:pt x="1810" y="489"/>
                </a:lnTo>
                <a:lnTo>
                  <a:pt x="1814" y="490"/>
                </a:lnTo>
                <a:lnTo>
                  <a:pt x="1817" y="490"/>
                </a:lnTo>
                <a:lnTo>
                  <a:pt x="1821" y="490"/>
                </a:lnTo>
                <a:lnTo>
                  <a:pt x="1829" y="489"/>
                </a:lnTo>
                <a:lnTo>
                  <a:pt x="1835" y="486"/>
                </a:lnTo>
                <a:lnTo>
                  <a:pt x="1839" y="483"/>
                </a:lnTo>
                <a:lnTo>
                  <a:pt x="1842" y="481"/>
                </a:lnTo>
                <a:lnTo>
                  <a:pt x="1844" y="479"/>
                </a:lnTo>
                <a:lnTo>
                  <a:pt x="1847" y="477"/>
                </a:lnTo>
                <a:lnTo>
                  <a:pt x="1849" y="477"/>
                </a:lnTo>
                <a:lnTo>
                  <a:pt x="1852" y="481"/>
                </a:lnTo>
                <a:lnTo>
                  <a:pt x="1857" y="489"/>
                </a:lnTo>
                <a:lnTo>
                  <a:pt x="1862" y="495"/>
                </a:lnTo>
                <a:lnTo>
                  <a:pt x="1865" y="498"/>
                </a:lnTo>
                <a:lnTo>
                  <a:pt x="1870" y="501"/>
                </a:lnTo>
                <a:lnTo>
                  <a:pt x="1875" y="502"/>
                </a:lnTo>
                <a:lnTo>
                  <a:pt x="1881" y="503"/>
                </a:lnTo>
                <a:lnTo>
                  <a:pt x="1885" y="503"/>
                </a:lnTo>
                <a:lnTo>
                  <a:pt x="1889" y="502"/>
                </a:lnTo>
                <a:lnTo>
                  <a:pt x="1895" y="499"/>
                </a:lnTo>
                <a:lnTo>
                  <a:pt x="1899" y="497"/>
                </a:lnTo>
                <a:lnTo>
                  <a:pt x="1908" y="490"/>
                </a:lnTo>
                <a:lnTo>
                  <a:pt x="1918" y="483"/>
                </a:lnTo>
                <a:lnTo>
                  <a:pt x="1925" y="475"/>
                </a:lnTo>
                <a:lnTo>
                  <a:pt x="1931" y="471"/>
                </a:lnTo>
                <a:lnTo>
                  <a:pt x="1935" y="470"/>
                </a:lnTo>
                <a:lnTo>
                  <a:pt x="1936" y="470"/>
                </a:lnTo>
                <a:lnTo>
                  <a:pt x="1937" y="471"/>
                </a:lnTo>
                <a:lnTo>
                  <a:pt x="1937" y="474"/>
                </a:lnTo>
                <a:lnTo>
                  <a:pt x="1936" y="487"/>
                </a:lnTo>
                <a:lnTo>
                  <a:pt x="1937" y="494"/>
                </a:lnTo>
                <a:lnTo>
                  <a:pt x="1938" y="496"/>
                </a:lnTo>
                <a:lnTo>
                  <a:pt x="1940" y="497"/>
                </a:lnTo>
                <a:lnTo>
                  <a:pt x="1943" y="496"/>
                </a:lnTo>
                <a:lnTo>
                  <a:pt x="1947" y="494"/>
                </a:lnTo>
                <a:lnTo>
                  <a:pt x="1960" y="486"/>
                </a:lnTo>
                <a:lnTo>
                  <a:pt x="1975" y="472"/>
                </a:lnTo>
                <a:lnTo>
                  <a:pt x="1984" y="465"/>
                </a:lnTo>
                <a:lnTo>
                  <a:pt x="1990" y="455"/>
                </a:lnTo>
                <a:lnTo>
                  <a:pt x="1993" y="451"/>
                </a:lnTo>
                <a:lnTo>
                  <a:pt x="1995" y="446"/>
                </a:lnTo>
                <a:lnTo>
                  <a:pt x="1997" y="442"/>
                </a:lnTo>
                <a:lnTo>
                  <a:pt x="1998" y="437"/>
                </a:lnTo>
                <a:lnTo>
                  <a:pt x="2001" y="425"/>
                </a:lnTo>
                <a:lnTo>
                  <a:pt x="2004" y="414"/>
                </a:lnTo>
                <a:lnTo>
                  <a:pt x="2008" y="402"/>
                </a:lnTo>
                <a:lnTo>
                  <a:pt x="2013" y="390"/>
                </a:lnTo>
                <a:lnTo>
                  <a:pt x="2017" y="381"/>
                </a:lnTo>
                <a:lnTo>
                  <a:pt x="2023" y="376"/>
                </a:lnTo>
                <a:lnTo>
                  <a:pt x="2025" y="374"/>
                </a:lnTo>
                <a:lnTo>
                  <a:pt x="2027" y="373"/>
                </a:lnTo>
                <a:lnTo>
                  <a:pt x="2029" y="374"/>
                </a:lnTo>
                <a:lnTo>
                  <a:pt x="2030" y="376"/>
                </a:lnTo>
                <a:lnTo>
                  <a:pt x="2033" y="381"/>
                </a:lnTo>
                <a:lnTo>
                  <a:pt x="2035" y="385"/>
                </a:lnTo>
                <a:lnTo>
                  <a:pt x="2037" y="389"/>
                </a:lnTo>
                <a:lnTo>
                  <a:pt x="2037" y="394"/>
                </a:lnTo>
                <a:lnTo>
                  <a:pt x="2037" y="399"/>
                </a:lnTo>
                <a:lnTo>
                  <a:pt x="2035" y="403"/>
                </a:lnTo>
                <a:lnTo>
                  <a:pt x="2032" y="408"/>
                </a:lnTo>
                <a:lnTo>
                  <a:pt x="2028" y="415"/>
                </a:lnTo>
                <a:lnTo>
                  <a:pt x="2016" y="428"/>
                </a:lnTo>
                <a:lnTo>
                  <a:pt x="2007" y="440"/>
                </a:lnTo>
                <a:lnTo>
                  <a:pt x="2004" y="444"/>
                </a:lnTo>
                <a:lnTo>
                  <a:pt x="2003" y="448"/>
                </a:lnTo>
                <a:lnTo>
                  <a:pt x="2004" y="449"/>
                </a:lnTo>
                <a:lnTo>
                  <a:pt x="2005" y="450"/>
                </a:lnTo>
                <a:lnTo>
                  <a:pt x="2007" y="451"/>
                </a:lnTo>
                <a:lnTo>
                  <a:pt x="2009" y="451"/>
                </a:lnTo>
                <a:lnTo>
                  <a:pt x="2026" y="450"/>
                </a:lnTo>
                <a:lnTo>
                  <a:pt x="2047" y="449"/>
                </a:lnTo>
                <a:lnTo>
                  <a:pt x="2055" y="448"/>
                </a:lnTo>
                <a:lnTo>
                  <a:pt x="2060" y="449"/>
                </a:lnTo>
                <a:lnTo>
                  <a:pt x="2062" y="450"/>
                </a:lnTo>
                <a:lnTo>
                  <a:pt x="2062" y="451"/>
                </a:lnTo>
                <a:lnTo>
                  <a:pt x="2062" y="453"/>
                </a:lnTo>
                <a:lnTo>
                  <a:pt x="2060" y="455"/>
                </a:lnTo>
                <a:lnTo>
                  <a:pt x="2057" y="459"/>
                </a:lnTo>
                <a:lnTo>
                  <a:pt x="2053" y="460"/>
                </a:lnTo>
                <a:lnTo>
                  <a:pt x="2049" y="462"/>
                </a:lnTo>
                <a:lnTo>
                  <a:pt x="2045" y="463"/>
                </a:lnTo>
                <a:lnTo>
                  <a:pt x="2034" y="463"/>
                </a:lnTo>
                <a:lnTo>
                  <a:pt x="2024" y="464"/>
                </a:lnTo>
                <a:lnTo>
                  <a:pt x="2014" y="464"/>
                </a:lnTo>
                <a:lnTo>
                  <a:pt x="2005" y="466"/>
                </a:lnTo>
                <a:lnTo>
                  <a:pt x="2002" y="467"/>
                </a:lnTo>
                <a:lnTo>
                  <a:pt x="1997" y="468"/>
                </a:lnTo>
                <a:lnTo>
                  <a:pt x="1995" y="470"/>
                </a:lnTo>
                <a:lnTo>
                  <a:pt x="1993" y="473"/>
                </a:lnTo>
                <a:lnTo>
                  <a:pt x="1992" y="476"/>
                </a:lnTo>
                <a:lnTo>
                  <a:pt x="1992" y="480"/>
                </a:lnTo>
                <a:lnTo>
                  <a:pt x="1992" y="483"/>
                </a:lnTo>
                <a:lnTo>
                  <a:pt x="1993" y="485"/>
                </a:lnTo>
                <a:lnTo>
                  <a:pt x="1997" y="490"/>
                </a:lnTo>
                <a:lnTo>
                  <a:pt x="2001" y="495"/>
                </a:lnTo>
                <a:lnTo>
                  <a:pt x="2005" y="498"/>
                </a:lnTo>
                <a:lnTo>
                  <a:pt x="2006" y="502"/>
                </a:lnTo>
                <a:lnTo>
                  <a:pt x="2006" y="504"/>
                </a:lnTo>
                <a:lnTo>
                  <a:pt x="2005" y="505"/>
                </a:lnTo>
                <a:lnTo>
                  <a:pt x="2003" y="505"/>
                </a:lnTo>
                <a:lnTo>
                  <a:pt x="2000" y="506"/>
                </a:lnTo>
                <a:lnTo>
                  <a:pt x="1985" y="507"/>
                </a:lnTo>
                <a:lnTo>
                  <a:pt x="1972" y="508"/>
                </a:lnTo>
                <a:lnTo>
                  <a:pt x="1967" y="509"/>
                </a:lnTo>
                <a:lnTo>
                  <a:pt x="1962" y="510"/>
                </a:lnTo>
                <a:lnTo>
                  <a:pt x="1959" y="512"/>
                </a:lnTo>
                <a:lnTo>
                  <a:pt x="1956" y="514"/>
                </a:lnTo>
                <a:lnTo>
                  <a:pt x="1953" y="516"/>
                </a:lnTo>
                <a:lnTo>
                  <a:pt x="1947" y="518"/>
                </a:lnTo>
                <a:lnTo>
                  <a:pt x="1941" y="519"/>
                </a:lnTo>
                <a:lnTo>
                  <a:pt x="1935" y="520"/>
                </a:lnTo>
                <a:lnTo>
                  <a:pt x="1928" y="521"/>
                </a:lnTo>
                <a:lnTo>
                  <a:pt x="1923" y="524"/>
                </a:lnTo>
                <a:lnTo>
                  <a:pt x="1922" y="525"/>
                </a:lnTo>
                <a:lnTo>
                  <a:pt x="1921" y="527"/>
                </a:lnTo>
                <a:lnTo>
                  <a:pt x="1921" y="529"/>
                </a:lnTo>
                <a:lnTo>
                  <a:pt x="1922" y="532"/>
                </a:lnTo>
                <a:lnTo>
                  <a:pt x="1929" y="546"/>
                </a:lnTo>
                <a:lnTo>
                  <a:pt x="1938" y="559"/>
                </a:lnTo>
                <a:lnTo>
                  <a:pt x="1946" y="571"/>
                </a:lnTo>
                <a:lnTo>
                  <a:pt x="1951" y="578"/>
                </a:lnTo>
                <a:lnTo>
                  <a:pt x="1957" y="587"/>
                </a:lnTo>
                <a:lnTo>
                  <a:pt x="1963" y="602"/>
                </a:lnTo>
                <a:lnTo>
                  <a:pt x="1966" y="604"/>
                </a:lnTo>
                <a:lnTo>
                  <a:pt x="1971" y="605"/>
                </a:lnTo>
                <a:lnTo>
                  <a:pt x="1976" y="606"/>
                </a:lnTo>
                <a:lnTo>
                  <a:pt x="1983" y="606"/>
                </a:lnTo>
                <a:lnTo>
                  <a:pt x="1987" y="606"/>
                </a:lnTo>
                <a:lnTo>
                  <a:pt x="1990" y="608"/>
                </a:lnTo>
                <a:lnTo>
                  <a:pt x="1991" y="609"/>
                </a:lnTo>
                <a:lnTo>
                  <a:pt x="1990" y="611"/>
                </a:lnTo>
                <a:lnTo>
                  <a:pt x="1990" y="613"/>
                </a:lnTo>
                <a:lnTo>
                  <a:pt x="1988" y="616"/>
                </a:lnTo>
                <a:lnTo>
                  <a:pt x="1981" y="626"/>
                </a:lnTo>
                <a:lnTo>
                  <a:pt x="1979" y="633"/>
                </a:lnTo>
                <a:lnTo>
                  <a:pt x="1976" y="635"/>
                </a:lnTo>
                <a:lnTo>
                  <a:pt x="1975" y="635"/>
                </a:lnTo>
                <a:lnTo>
                  <a:pt x="1972" y="635"/>
                </a:lnTo>
                <a:lnTo>
                  <a:pt x="1968" y="633"/>
                </a:lnTo>
                <a:lnTo>
                  <a:pt x="1958" y="628"/>
                </a:lnTo>
                <a:lnTo>
                  <a:pt x="1946" y="624"/>
                </a:lnTo>
                <a:lnTo>
                  <a:pt x="1941" y="621"/>
                </a:lnTo>
                <a:lnTo>
                  <a:pt x="1936" y="618"/>
                </a:lnTo>
                <a:lnTo>
                  <a:pt x="1932" y="614"/>
                </a:lnTo>
                <a:lnTo>
                  <a:pt x="1930" y="608"/>
                </a:lnTo>
                <a:lnTo>
                  <a:pt x="1924" y="591"/>
                </a:lnTo>
                <a:lnTo>
                  <a:pt x="1915" y="567"/>
                </a:lnTo>
                <a:lnTo>
                  <a:pt x="1908" y="554"/>
                </a:lnTo>
                <a:lnTo>
                  <a:pt x="1901" y="545"/>
                </a:lnTo>
                <a:lnTo>
                  <a:pt x="1898" y="540"/>
                </a:lnTo>
                <a:lnTo>
                  <a:pt x="1894" y="537"/>
                </a:lnTo>
                <a:lnTo>
                  <a:pt x="1891" y="535"/>
                </a:lnTo>
                <a:lnTo>
                  <a:pt x="1886" y="534"/>
                </a:lnTo>
                <a:lnTo>
                  <a:pt x="1879" y="532"/>
                </a:lnTo>
                <a:lnTo>
                  <a:pt x="1874" y="530"/>
                </a:lnTo>
                <a:lnTo>
                  <a:pt x="1871" y="528"/>
                </a:lnTo>
                <a:lnTo>
                  <a:pt x="1867" y="526"/>
                </a:lnTo>
                <a:lnTo>
                  <a:pt x="1865" y="525"/>
                </a:lnTo>
                <a:lnTo>
                  <a:pt x="1863" y="526"/>
                </a:lnTo>
                <a:lnTo>
                  <a:pt x="1862" y="529"/>
                </a:lnTo>
                <a:lnTo>
                  <a:pt x="1861" y="534"/>
                </a:lnTo>
                <a:lnTo>
                  <a:pt x="1860" y="540"/>
                </a:lnTo>
                <a:lnTo>
                  <a:pt x="1858" y="545"/>
                </a:lnTo>
                <a:lnTo>
                  <a:pt x="1856" y="548"/>
                </a:lnTo>
                <a:lnTo>
                  <a:pt x="1854" y="550"/>
                </a:lnTo>
                <a:lnTo>
                  <a:pt x="1852" y="553"/>
                </a:lnTo>
                <a:lnTo>
                  <a:pt x="1852" y="556"/>
                </a:lnTo>
                <a:lnTo>
                  <a:pt x="1852" y="560"/>
                </a:lnTo>
                <a:lnTo>
                  <a:pt x="1854" y="567"/>
                </a:lnTo>
                <a:lnTo>
                  <a:pt x="1858" y="583"/>
                </a:lnTo>
                <a:lnTo>
                  <a:pt x="1861" y="600"/>
                </a:lnTo>
                <a:lnTo>
                  <a:pt x="1863" y="607"/>
                </a:lnTo>
                <a:lnTo>
                  <a:pt x="1866" y="615"/>
                </a:lnTo>
                <a:lnTo>
                  <a:pt x="1870" y="621"/>
                </a:lnTo>
                <a:lnTo>
                  <a:pt x="1874" y="627"/>
                </a:lnTo>
                <a:lnTo>
                  <a:pt x="1877" y="629"/>
                </a:lnTo>
                <a:lnTo>
                  <a:pt x="1879" y="630"/>
                </a:lnTo>
                <a:lnTo>
                  <a:pt x="1881" y="630"/>
                </a:lnTo>
                <a:lnTo>
                  <a:pt x="1883" y="630"/>
                </a:lnTo>
                <a:lnTo>
                  <a:pt x="1887" y="629"/>
                </a:lnTo>
                <a:lnTo>
                  <a:pt x="1892" y="627"/>
                </a:lnTo>
                <a:lnTo>
                  <a:pt x="1894" y="626"/>
                </a:lnTo>
                <a:lnTo>
                  <a:pt x="1897" y="626"/>
                </a:lnTo>
                <a:lnTo>
                  <a:pt x="1899" y="628"/>
                </a:lnTo>
                <a:lnTo>
                  <a:pt x="1901" y="634"/>
                </a:lnTo>
                <a:lnTo>
                  <a:pt x="1902" y="647"/>
                </a:lnTo>
                <a:lnTo>
                  <a:pt x="1902" y="657"/>
                </a:lnTo>
                <a:lnTo>
                  <a:pt x="1903" y="661"/>
                </a:lnTo>
                <a:lnTo>
                  <a:pt x="1906" y="665"/>
                </a:lnTo>
                <a:lnTo>
                  <a:pt x="1910" y="671"/>
                </a:lnTo>
                <a:lnTo>
                  <a:pt x="1917" y="678"/>
                </a:lnTo>
                <a:lnTo>
                  <a:pt x="1924" y="684"/>
                </a:lnTo>
                <a:lnTo>
                  <a:pt x="1931" y="688"/>
                </a:lnTo>
                <a:lnTo>
                  <a:pt x="1939" y="689"/>
                </a:lnTo>
                <a:lnTo>
                  <a:pt x="1944" y="690"/>
                </a:lnTo>
                <a:lnTo>
                  <a:pt x="1949" y="690"/>
                </a:lnTo>
                <a:lnTo>
                  <a:pt x="1953" y="691"/>
                </a:lnTo>
                <a:lnTo>
                  <a:pt x="1956" y="692"/>
                </a:lnTo>
                <a:lnTo>
                  <a:pt x="1957" y="693"/>
                </a:lnTo>
                <a:lnTo>
                  <a:pt x="1958" y="695"/>
                </a:lnTo>
                <a:lnTo>
                  <a:pt x="1959" y="697"/>
                </a:lnTo>
                <a:lnTo>
                  <a:pt x="1959" y="703"/>
                </a:lnTo>
                <a:lnTo>
                  <a:pt x="1959" y="708"/>
                </a:lnTo>
                <a:lnTo>
                  <a:pt x="1957" y="712"/>
                </a:lnTo>
                <a:lnTo>
                  <a:pt x="1954" y="716"/>
                </a:lnTo>
                <a:lnTo>
                  <a:pt x="1951" y="719"/>
                </a:lnTo>
                <a:lnTo>
                  <a:pt x="1948" y="722"/>
                </a:lnTo>
                <a:lnTo>
                  <a:pt x="1944" y="724"/>
                </a:lnTo>
                <a:lnTo>
                  <a:pt x="1939" y="725"/>
                </a:lnTo>
                <a:lnTo>
                  <a:pt x="1929" y="728"/>
                </a:lnTo>
                <a:lnTo>
                  <a:pt x="1920" y="731"/>
                </a:lnTo>
                <a:lnTo>
                  <a:pt x="1916" y="732"/>
                </a:lnTo>
                <a:lnTo>
                  <a:pt x="1910" y="733"/>
                </a:lnTo>
                <a:lnTo>
                  <a:pt x="1907" y="732"/>
                </a:lnTo>
                <a:lnTo>
                  <a:pt x="1903" y="729"/>
                </a:lnTo>
                <a:lnTo>
                  <a:pt x="1900" y="726"/>
                </a:lnTo>
                <a:lnTo>
                  <a:pt x="1896" y="722"/>
                </a:lnTo>
                <a:lnTo>
                  <a:pt x="1891" y="718"/>
                </a:lnTo>
                <a:lnTo>
                  <a:pt x="1886" y="716"/>
                </a:lnTo>
                <a:lnTo>
                  <a:pt x="1881" y="715"/>
                </a:lnTo>
                <a:lnTo>
                  <a:pt x="1876" y="715"/>
                </a:lnTo>
                <a:lnTo>
                  <a:pt x="1871" y="716"/>
                </a:lnTo>
                <a:lnTo>
                  <a:pt x="1865" y="719"/>
                </a:lnTo>
                <a:lnTo>
                  <a:pt x="1852" y="731"/>
                </a:lnTo>
                <a:lnTo>
                  <a:pt x="1836" y="746"/>
                </a:lnTo>
                <a:lnTo>
                  <a:pt x="1829" y="753"/>
                </a:lnTo>
                <a:lnTo>
                  <a:pt x="1823" y="759"/>
                </a:lnTo>
                <a:lnTo>
                  <a:pt x="1822" y="762"/>
                </a:lnTo>
                <a:lnTo>
                  <a:pt x="1821" y="765"/>
                </a:lnTo>
                <a:lnTo>
                  <a:pt x="1822" y="768"/>
                </a:lnTo>
                <a:lnTo>
                  <a:pt x="1823" y="769"/>
                </a:lnTo>
                <a:lnTo>
                  <a:pt x="1828" y="772"/>
                </a:lnTo>
                <a:lnTo>
                  <a:pt x="1833" y="774"/>
                </a:lnTo>
                <a:lnTo>
                  <a:pt x="1839" y="775"/>
                </a:lnTo>
                <a:lnTo>
                  <a:pt x="1845" y="775"/>
                </a:lnTo>
                <a:lnTo>
                  <a:pt x="1857" y="774"/>
                </a:lnTo>
                <a:lnTo>
                  <a:pt x="1863" y="772"/>
                </a:lnTo>
                <a:lnTo>
                  <a:pt x="1870" y="768"/>
                </a:lnTo>
                <a:lnTo>
                  <a:pt x="1878" y="762"/>
                </a:lnTo>
                <a:lnTo>
                  <a:pt x="1882" y="760"/>
                </a:lnTo>
                <a:lnTo>
                  <a:pt x="1885" y="760"/>
                </a:lnTo>
                <a:lnTo>
                  <a:pt x="1886" y="761"/>
                </a:lnTo>
                <a:lnTo>
                  <a:pt x="1886" y="762"/>
                </a:lnTo>
                <a:lnTo>
                  <a:pt x="1886" y="766"/>
                </a:lnTo>
                <a:lnTo>
                  <a:pt x="1886" y="769"/>
                </a:lnTo>
                <a:lnTo>
                  <a:pt x="1881" y="780"/>
                </a:lnTo>
                <a:lnTo>
                  <a:pt x="1876" y="792"/>
                </a:lnTo>
                <a:lnTo>
                  <a:pt x="1874" y="796"/>
                </a:lnTo>
                <a:lnTo>
                  <a:pt x="1872" y="801"/>
                </a:lnTo>
                <a:lnTo>
                  <a:pt x="1871" y="805"/>
                </a:lnTo>
                <a:lnTo>
                  <a:pt x="1872" y="811"/>
                </a:lnTo>
                <a:lnTo>
                  <a:pt x="1876" y="822"/>
                </a:lnTo>
                <a:lnTo>
                  <a:pt x="1880" y="834"/>
                </a:lnTo>
                <a:lnTo>
                  <a:pt x="1882" y="839"/>
                </a:lnTo>
                <a:lnTo>
                  <a:pt x="1885" y="842"/>
                </a:lnTo>
                <a:lnTo>
                  <a:pt x="1888" y="844"/>
                </a:lnTo>
                <a:lnTo>
                  <a:pt x="1892" y="844"/>
                </a:lnTo>
                <a:lnTo>
                  <a:pt x="1902" y="838"/>
                </a:lnTo>
                <a:lnTo>
                  <a:pt x="1917" y="830"/>
                </a:lnTo>
                <a:lnTo>
                  <a:pt x="1923" y="825"/>
                </a:lnTo>
                <a:lnTo>
                  <a:pt x="1928" y="822"/>
                </a:lnTo>
                <a:lnTo>
                  <a:pt x="1931" y="822"/>
                </a:lnTo>
                <a:lnTo>
                  <a:pt x="1932" y="822"/>
                </a:lnTo>
                <a:lnTo>
                  <a:pt x="1933" y="822"/>
                </a:lnTo>
                <a:lnTo>
                  <a:pt x="1935" y="824"/>
                </a:lnTo>
                <a:lnTo>
                  <a:pt x="1935" y="828"/>
                </a:lnTo>
                <a:lnTo>
                  <a:pt x="1932" y="834"/>
                </a:lnTo>
                <a:lnTo>
                  <a:pt x="1929" y="838"/>
                </a:lnTo>
                <a:lnTo>
                  <a:pt x="1926" y="843"/>
                </a:lnTo>
                <a:lnTo>
                  <a:pt x="1919" y="853"/>
                </a:lnTo>
                <a:lnTo>
                  <a:pt x="1913" y="860"/>
                </a:lnTo>
                <a:lnTo>
                  <a:pt x="1908" y="866"/>
                </a:lnTo>
                <a:lnTo>
                  <a:pt x="1902" y="875"/>
                </a:lnTo>
                <a:lnTo>
                  <a:pt x="1898" y="878"/>
                </a:lnTo>
                <a:lnTo>
                  <a:pt x="1894" y="879"/>
                </a:lnTo>
                <a:lnTo>
                  <a:pt x="1891" y="879"/>
                </a:lnTo>
                <a:lnTo>
                  <a:pt x="1887" y="878"/>
                </a:lnTo>
                <a:lnTo>
                  <a:pt x="1884" y="877"/>
                </a:lnTo>
                <a:lnTo>
                  <a:pt x="1881" y="875"/>
                </a:lnTo>
                <a:lnTo>
                  <a:pt x="1865" y="865"/>
                </a:lnTo>
                <a:lnTo>
                  <a:pt x="1852" y="855"/>
                </a:lnTo>
                <a:lnTo>
                  <a:pt x="1847" y="849"/>
                </a:lnTo>
                <a:lnTo>
                  <a:pt x="1842" y="845"/>
                </a:lnTo>
                <a:lnTo>
                  <a:pt x="1839" y="841"/>
                </a:lnTo>
                <a:lnTo>
                  <a:pt x="1839" y="837"/>
                </a:lnTo>
                <a:lnTo>
                  <a:pt x="1841" y="828"/>
                </a:lnTo>
                <a:lnTo>
                  <a:pt x="1844" y="819"/>
                </a:lnTo>
                <a:lnTo>
                  <a:pt x="1844" y="816"/>
                </a:lnTo>
                <a:lnTo>
                  <a:pt x="1842" y="813"/>
                </a:lnTo>
                <a:lnTo>
                  <a:pt x="1839" y="812"/>
                </a:lnTo>
                <a:lnTo>
                  <a:pt x="1833" y="813"/>
                </a:lnTo>
                <a:lnTo>
                  <a:pt x="1827" y="814"/>
                </a:lnTo>
                <a:lnTo>
                  <a:pt x="1819" y="813"/>
                </a:lnTo>
                <a:lnTo>
                  <a:pt x="1814" y="810"/>
                </a:lnTo>
                <a:lnTo>
                  <a:pt x="1810" y="807"/>
                </a:lnTo>
                <a:lnTo>
                  <a:pt x="1808" y="807"/>
                </a:lnTo>
                <a:lnTo>
                  <a:pt x="1807" y="807"/>
                </a:lnTo>
                <a:lnTo>
                  <a:pt x="1806" y="807"/>
                </a:lnTo>
                <a:lnTo>
                  <a:pt x="1805" y="809"/>
                </a:lnTo>
                <a:lnTo>
                  <a:pt x="1804" y="814"/>
                </a:lnTo>
                <a:lnTo>
                  <a:pt x="1805" y="822"/>
                </a:lnTo>
                <a:lnTo>
                  <a:pt x="1807" y="833"/>
                </a:lnTo>
                <a:lnTo>
                  <a:pt x="1810" y="841"/>
                </a:lnTo>
                <a:lnTo>
                  <a:pt x="1812" y="847"/>
                </a:lnTo>
                <a:lnTo>
                  <a:pt x="1815" y="852"/>
                </a:lnTo>
                <a:lnTo>
                  <a:pt x="1821" y="858"/>
                </a:lnTo>
                <a:lnTo>
                  <a:pt x="1829" y="863"/>
                </a:lnTo>
                <a:lnTo>
                  <a:pt x="1835" y="870"/>
                </a:lnTo>
                <a:lnTo>
                  <a:pt x="1841" y="875"/>
                </a:lnTo>
                <a:lnTo>
                  <a:pt x="1842" y="877"/>
                </a:lnTo>
                <a:lnTo>
                  <a:pt x="1843" y="879"/>
                </a:lnTo>
                <a:lnTo>
                  <a:pt x="1842" y="881"/>
                </a:lnTo>
                <a:lnTo>
                  <a:pt x="1840" y="884"/>
                </a:lnTo>
                <a:lnTo>
                  <a:pt x="1828" y="889"/>
                </a:lnTo>
                <a:lnTo>
                  <a:pt x="1813" y="897"/>
                </a:lnTo>
                <a:lnTo>
                  <a:pt x="1805" y="904"/>
                </a:lnTo>
                <a:lnTo>
                  <a:pt x="1794" y="911"/>
                </a:lnTo>
                <a:lnTo>
                  <a:pt x="1784" y="918"/>
                </a:lnTo>
                <a:lnTo>
                  <a:pt x="1777" y="925"/>
                </a:lnTo>
                <a:lnTo>
                  <a:pt x="1772" y="931"/>
                </a:lnTo>
                <a:lnTo>
                  <a:pt x="1766" y="938"/>
                </a:lnTo>
                <a:lnTo>
                  <a:pt x="1762" y="941"/>
                </a:lnTo>
                <a:lnTo>
                  <a:pt x="1759" y="943"/>
                </a:lnTo>
                <a:lnTo>
                  <a:pt x="1755" y="943"/>
                </a:lnTo>
                <a:lnTo>
                  <a:pt x="1753" y="943"/>
                </a:lnTo>
                <a:lnTo>
                  <a:pt x="1749" y="941"/>
                </a:lnTo>
                <a:lnTo>
                  <a:pt x="1743" y="941"/>
                </a:lnTo>
                <a:lnTo>
                  <a:pt x="1735" y="941"/>
                </a:lnTo>
                <a:lnTo>
                  <a:pt x="1727" y="941"/>
                </a:lnTo>
                <a:lnTo>
                  <a:pt x="1712" y="942"/>
                </a:lnTo>
                <a:lnTo>
                  <a:pt x="1705" y="942"/>
                </a:lnTo>
                <a:lnTo>
                  <a:pt x="1706" y="942"/>
                </a:lnTo>
                <a:lnTo>
                  <a:pt x="1706" y="941"/>
                </a:lnTo>
                <a:lnTo>
                  <a:pt x="1704" y="935"/>
                </a:lnTo>
                <a:lnTo>
                  <a:pt x="1698" y="926"/>
                </a:lnTo>
                <a:lnTo>
                  <a:pt x="1689" y="914"/>
                </a:lnTo>
                <a:lnTo>
                  <a:pt x="1682" y="906"/>
                </a:lnTo>
                <a:lnTo>
                  <a:pt x="1678" y="904"/>
                </a:lnTo>
                <a:lnTo>
                  <a:pt x="1675" y="902"/>
                </a:lnTo>
                <a:lnTo>
                  <a:pt x="1672" y="900"/>
                </a:lnTo>
                <a:lnTo>
                  <a:pt x="1668" y="900"/>
                </a:lnTo>
                <a:lnTo>
                  <a:pt x="1655" y="898"/>
                </a:lnTo>
                <a:lnTo>
                  <a:pt x="1646" y="897"/>
                </a:lnTo>
                <a:lnTo>
                  <a:pt x="1642" y="897"/>
                </a:lnTo>
                <a:lnTo>
                  <a:pt x="1636" y="897"/>
                </a:lnTo>
                <a:lnTo>
                  <a:pt x="1632" y="900"/>
                </a:lnTo>
                <a:lnTo>
                  <a:pt x="1629" y="902"/>
                </a:lnTo>
                <a:close/>
                <a:moveTo>
                  <a:pt x="1753" y="857"/>
                </a:moveTo>
                <a:lnTo>
                  <a:pt x="1750" y="871"/>
                </a:lnTo>
                <a:lnTo>
                  <a:pt x="1746" y="883"/>
                </a:lnTo>
                <a:lnTo>
                  <a:pt x="1745" y="886"/>
                </a:lnTo>
                <a:lnTo>
                  <a:pt x="1747" y="891"/>
                </a:lnTo>
                <a:lnTo>
                  <a:pt x="1748" y="893"/>
                </a:lnTo>
                <a:lnTo>
                  <a:pt x="1750" y="896"/>
                </a:lnTo>
                <a:lnTo>
                  <a:pt x="1753" y="896"/>
                </a:lnTo>
                <a:lnTo>
                  <a:pt x="1755" y="896"/>
                </a:lnTo>
                <a:lnTo>
                  <a:pt x="1761" y="892"/>
                </a:lnTo>
                <a:lnTo>
                  <a:pt x="1766" y="889"/>
                </a:lnTo>
                <a:lnTo>
                  <a:pt x="1771" y="885"/>
                </a:lnTo>
                <a:lnTo>
                  <a:pt x="1774" y="881"/>
                </a:lnTo>
                <a:lnTo>
                  <a:pt x="1775" y="878"/>
                </a:lnTo>
                <a:lnTo>
                  <a:pt x="1775" y="875"/>
                </a:lnTo>
                <a:lnTo>
                  <a:pt x="1775" y="870"/>
                </a:lnTo>
                <a:lnTo>
                  <a:pt x="1774" y="866"/>
                </a:lnTo>
                <a:lnTo>
                  <a:pt x="1771" y="859"/>
                </a:lnTo>
                <a:lnTo>
                  <a:pt x="1769" y="855"/>
                </a:lnTo>
                <a:lnTo>
                  <a:pt x="1766" y="850"/>
                </a:lnTo>
                <a:lnTo>
                  <a:pt x="1762" y="846"/>
                </a:lnTo>
                <a:lnTo>
                  <a:pt x="1760" y="844"/>
                </a:lnTo>
                <a:lnTo>
                  <a:pt x="1757" y="843"/>
                </a:lnTo>
                <a:lnTo>
                  <a:pt x="1755" y="843"/>
                </a:lnTo>
                <a:lnTo>
                  <a:pt x="1755" y="844"/>
                </a:lnTo>
                <a:lnTo>
                  <a:pt x="1754" y="853"/>
                </a:lnTo>
                <a:lnTo>
                  <a:pt x="1753" y="857"/>
                </a:lnTo>
                <a:close/>
                <a:moveTo>
                  <a:pt x="1643" y="847"/>
                </a:moveTo>
                <a:lnTo>
                  <a:pt x="1645" y="849"/>
                </a:lnTo>
                <a:lnTo>
                  <a:pt x="1650" y="853"/>
                </a:lnTo>
                <a:lnTo>
                  <a:pt x="1655" y="856"/>
                </a:lnTo>
                <a:lnTo>
                  <a:pt x="1661" y="859"/>
                </a:lnTo>
                <a:lnTo>
                  <a:pt x="1667" y="861"/>
                </a:lnTo>
                <a:lnTo>
                  <a:pt x="1674" y="863"/>
                </a:lnTo>
                <a:lnTo>
                  <a:pt x="1679" y="863"/>
                </a:lnTo>
                <a:lnTo>
                  <a:pt x="1682" y="863"/>
                </a:lnTo>
                <a:lnTo>
                  <a:pt x="1687" y="861"/>
                </a:lnTo>
                <a:lnTo>
                  <a:pt x="1695" y="862"/>
                </a:lnTo>
                <a:lnTo>
                  <a:pt x="1698" y="862"/>
                </a:lnTo>
                <a:lnTo>
                  <a:pt x="1700" y="860"/>
                </a:lnTo>
                <a:lnTo>
                  <a:pt x="1701" y="857"/>
                </a:lnTo>
                <a:lnTo>
                  <a:pt x="1700" y="850"/>
                </a:lnTo>
                <a:lnTo>
                  <a:pt x="1698" y="843"/>
                </a:lnTo>
                <a:lnTo>
                  <a:pt x="1695" y="839"/>
                </a:lnTo>
                <a:lnTo>
                  <a:pt x="1689" y="835"/>
                </a:lnTo>
                <a:lnTo>
                  <a:pt x="1685" y="833"/>
                </a:lnTo>
                <a:lnTo>
                  <a:pt x="1677" y="831"/>
                </a:lnTo>
                <a:lnTo>
                  <a:pt x="1672" y="831"/>
                </a:lnTo>
                <a:lnTo>
                  <a:pt x="1668" y="831"/>
                </a:lnTo>
                <a:lnTo>
                  <a:pt x="1663" y="830"/>
                </a:lnTo>
                <a:lnTo>
                  <a:pt x="1661" y="830"/>
                </a:lnTo>
                <a:lnTo>
                  <a:pt x="1658" y="830"/>
                </a:lnTo>
                <a:lnTo>
                  <a:pt x="1656" y="831"/>
                </a:lnTo>
                <a:lnTo>
                  <a:pt x="1654" y="833"/>
                </a:lnTo>
                <a:lnTo>
                  <a:pt x="1646" y="842"/>
                </a:lnTo>
                <a:lnTo>
                  <a:pt x="1643" y="847"/>
                </a:lnTo>
                <a:close/>
                <a:moveTo>
                  <a:pt x="1425" y="821"/>
                </a:moveTo>
                <a:lnTo>
                  <a:pt x="1424" y="824"/>
                </a:lnTo>
                <a:lnTo>
                  <a:pt x="1424" y="832"/>
                </a:lnTo>
                <a:lnTo>
                  <a:pt x="1424" y="841"/>
                </a:lnTo>
                <a:lnTo>
                  <a:pt x="1426" y="853"/>
                </a:lnTo>
                <a:lnTo>
                  <a:pt x="1428" y="864"/>
                </a:lnTo>
                <a:lnTo>
                  <a:pt x="1432" y="876"/>
                </a:lnTo>
                <a:lnTo>
                  <a:pt x="1435" y="886"/>
                </a:lnTo>
                <a:lnTo>
                  <a:pt x="1439" y="894"/>
                </a:lnTo>
                <a:lnTo>
                  <a:pt x="1444" y="901"/>
                </a:lnTo>
                <a:lnTo>
                  <a:pt x="1449" y="904"/>
                </a:lnTo>
                <a:lnTo>
                  <a:pt x="1456" y="907"/>
                </a:lnTo>
                <a:lnTo>
                  <a:pt x="1462" y="907"/>
                </a:lnTo>
                <a:lnTo>
                  <a:pt x="1464" y="907"/>
                </a:lnTo>
                <a:lnTo>
                  <a:pt x="1466" y="906"/>
                </a:lnTo>
                <a:lnTo>
                  <a:pt x="1468" y="905"/>
                </a:lnTo>
                <a:lnTo>
                  <a:pt x="1470" y="903"/>
                </a:lnTo>
                <a:lnTo>
                  <a:pt x="1470" y="902"/>
                </a:lnTo>
                <a:lnTo>
                  <a:pt x="1471" y="899"/>
                </a:lnTo>
                <a:lnTo>
                  <a:pt x="1470" y="897"/>
                </a:lnTo>
                <a:lnTo>
                  <a:pt x="1469" y="893"/>
                </a:lnTo>
                <a:lnTo>
                  <a:pt x="1462" y="879"/>
                </a:lnTo>
                <a:lnTo>
                  <a:pt x="1453" y="864"/>
                </a:lnTo>
                <a:lnTo>
                  <a:pt x="1445" y="852"/>
                </a:lnTo>
                <a:lnTo>
                  <a:pt x="1440" y="844"/>
                </a:lnTo>
                <a:lnTo>
                  <a:pt x="1432" y="831"/>
                </a:lnTo>
                <a:lnTo>
                  <a:pt x="1425" y="821"/>
                </a:lnTo>
                <a:close/>
                <a:moveTo>
                  <a:pt x="1560" y="571"/>
                </a:moveTo>
                <a:lnTo>
                  <a:pt x="1560" y="578"/>
                </a:lnTo>
                <a:lnTo>
                  <a:pt x="1562" y="587"/>
                </a:lnTo>
                <a:lnTo>
                  <a:pt x="1565" y="598"/>
                </a:lnTo>
                <a:lnTo>
                  <a:pt x="1569" y="607"/>
                </a:lnTo>
                <a:lnTo>
                  <a:pt x="1574" y="616"/>
                </a:lnTo>
                <a:lnTo>
                  <a:pt x="1578" y="621"/>
                </a:lnTo>
                <a:lnTo>
                  <a:pt x="1580" y="622"/>
                </a:lnTo>
                <a:lnTo>
                  <a:pt x="1583" y="622"/>
                </a:lnTo>
                <a:lnTo>
                  <a:pt x="1584" y="621"/>
                </a:lnTo>
                <a:lnTo>
                  <a:pt x="1585" y="619"/>
                </a:lnTo>
                <a:lnTo>
                  <a:pt x="1589" y="604"/>
                </a:lnTo>
                <a:lnTo>
                  <a:pt x="1594" y="591"/>
                </a:lnTo>
                <a:lnTo>
                  <a:pt x="1596" y="584"/>
                </a:lnTo>
                <a:lnTo>
                  <a:pt x="1597" y="579"/>
                </a:lnTo>
                <a:lnTo>
                  <a:pt x="1596" y="573"/>
                </a:lnTo>
                <a:lnTo>
                  <a:pt x="1594" y="569"/>
                </a:lnTo>
                <a:lnTo>
                  <a:pt x="1589" y="560"/>
                </a:lnTo>
                <a:lnTo>
                  <a:pt x="1585" y="556"/>
                </a:lnTo>
                <a:lnTo>
                  <a:pt x="1584" y="555"/>
                </a:lnTo>
                <a:lnTo>
                  <a:pt x="1581" y="555"/>
                </a:lnTo>
                <a:lnTo>
                  <a:pt x="1579" y="555"/>
                </a:lnTo>
                <a:lnTo>
                  <a:pt x="1577" y="556"/>
                </a:lnTo>
                <a:lnTo>
                  <a:pt x="1567" y="564"/>
                </a:lnTo>
                <a:lnTo>
                  <a:pt x="1560" y="571"/>
                </a:lnTo>
                <a:close/>
                <a:moveTo>
                  <a:pt x="1600" y="722"/>
                </a:moveTo>
                <a:lnTo>
                  <a:pt x="1600" y="729"/>
                </a:lnTo>
                <a:lnTo>
                  <a:pt x="1601" y="736"/>
                </a:lnTo>
                <a:lnTo>
                  <a:pt x="1605" y="744"/>
                </a:lnTo>
                <a:lnTo>
                  <a:pt x="1608" y="751"/>
                </a:lnTo>
                <a:lnTo>
                  <a:pt x="1612" y="757"/>
                </a:lnTo>
                <a:lnTo>
                  <a:pt x="1614" y="763"/>
                </a:lnTo>
                <a:lnTo>
                  <a:pt x="1616" y="769"/>
                </a:lnTo>
                <a:lnTo>
                  <a:pt x="1617" y="773"/>
                </a:lnTo>
                <a:lnTo>
                  <a:pt x="1616" y="777"/>
                </a:lnTo>
                <a:lnTo>
                  <a:pt x="1614" y="780"/>
                </a:lnTo>
                <a:lnTo>
                  <a:pt x="1611" y="782"/>
                </a:lnTo>
                <a:lnTo>
                  <a:pt x="1608" y="785"/>
                </a:lnTo>
                <a:lnTo>
                  <a:pt x="1607" y="787"/>
                </a:lnTo>
                <a:lnTo>
                  <a:pt x="1606" y="789"/>
                </a:lnTo>
                <a:lnTo>
                  <a:pt x="1606" y="791"/>
                </a:lnTo>
                <a:lnTo>
                  <a:pt x="1606" y="793"/>
                </a:lnTo>
                <a:lnTo>
                  <a:pt x="1609" y="799"/>
                </a:lnTo>
                <a:lnTo>
                  <a:pt x="1615" y="807"/>
                </a:lnTo>
                <a:lnTo>
                  <a:pt x="1623" y="815"/>
                </a:lnTo>
                <a:lnTo>
                  <a:pt x="1630" y="819"/>
                </a:lnTo>
                <a:lnTo>
                  <a:pt x="1636" y="820"/>
                </a:lnTo>
                <a:lnTo>
                  <a:pt x="1640" y="820"/>
                </a:lnTo>
                <a:lnTo>
                  <a:pt x="1646" y="816"/>
                </a:lnTo>
                <a:lnTo>
                  <a:pt x="1652" y="812"/>
                </a:lnTo>
                <a:lnTo>
                  <a:pt x="1659" y="807"/>
                </a:lnTo>
                <a:lnTo>
                  <a:pt x="1671" y="801"/>
                </a:lnTo>
                <a:lnTo>
                  <a:pt x="1675" y="798"/>
                </a:lnTo>
                <a:lnTo>
                  <a:pt x="1678" y="793"/>
                </a:lnTo>
                <a:lnTo>
                  <a:pt x="1679" y="790"/>
                </a:lnTo>
                <a:lnTo>
                  <a:pt x="1679" y="787"/>
                </a:lnTo>
                <a:lnTo>
                  <a:pt x="1678" y="783"/>
                </a:lnTo>
                <a:lnTo>
                  <a:pt x="1676" y="779"/>
                </a:lnTo>
                <a:lnTo>
                  <a:pt x="1669" y="765"/>
                </a:lnTo>
                <a:lnTo>
                  <a:pt x="1665" y="751"/>
                </a:lnTo>
                <a:lnTo>
                  <a:pt x="1662" y="745"/>
                </a:lnTo>
                <a:lnTo>
                  <a:pt x="1657" y="738"/>
                </a:lnTo>
                <a:lnTo>
                  <a:pt x="1651" y="733"/>
                </a:lnTo>
                <a:lnTo>
                  <a:pt x="1640" y="728"/>
                </a:lnTo>
                <a:lnTo>
                  <a:pt x="1629" y="724"/>
                </a:lnTo>
                <a:lnTo>
                  <a:pt x="1620" y="722"/>
                </a:lnTo>
                <a:lnTo>
                  <a:pt x="1613" y="721"/>
                </a:lnTo>
                <a:lnTo>
                  <a:pt x="1608" y="721"/>
                </a:lnTo>
                <a:lnTo>
                  <a:pt x="1601" y="722"/>
                </a:lnTo>
                <a:lnTo>
                  <a:pt x="1600" y="722"/>
                </a:lnTo>
                <a:close/>
                <a:moveTo>
                  <a:pt x="1423" y="662"/>
                </a:moveTo>
                <a:lnTo>
                  <a:pt x="1422" y="666"/>
                </a:lnTo>
                <a:lnTo>
                  <a:pt x="1422" y="670"/>
                </a:lnTo>
                <a:lnTo>
                  <a:pt x="1423" y="673"/>
                </a:lnTo>
                <a:lnTo>
                  <a:pt x="1425" y="678"/>
                </a:lnTo>
                <a:lnTo>
                  <a:pt x="1430" y="685"/>
                </a:lnTo>
                <a:lnTo>
                  <a:pt x="1436" y="691"/>
                </a:lnTo>
                <a:lnTo>
                  <a:pt x="1449" y="702"/>
                </a:lnTo>
                <a:lnTo>
                  <a:pt x="1459" y="711"/>
                </a:lnTo>
                <a:lnTo>
                  <a:pt x="1462" y="714"/>
                </a:lnTo>
                <a:lnTo>
                  <a:pt x="1466" y="717"/>
                </a:lnTo>
                <a:lnTo>
                  <a:pt x="1470" y="719"/>
                </a:lnTo>
                <a:lnTo>
                  <a:pt x="1476" y="722"/>
                </a:lnTo>
                <a:lnTo>
                  <a:pt x="1479" y="724"/>
                </a:lnTo>
                <a:lnTo>
                  <a:pt x="1481" y="727"/>
                </a:lnTo>
                <a:lnTo>
                  <a:pt x="1480" y="728"/>
                </a:lnTo>
                <a:lnTo>
                  <a:pt x="1480" y="730"/>
                </a:lnTo>
                <a:lnTo>
                  <a:pt x="1478" y="733"/>
                </a:lnTo>
                <a:lnTo>
                  <a:pt x="1475" y="735"/>
                </a:lnTo>
                <a:lnTo>
                  <a:pt x="1468" y="740"/>
                </a:lnTo>
                <a:lnTo>
                  <a:pt x="1462" y="743"/>
                </a:lnTo>
                <a:lnTo>
                  <a:pt x="1457" y="745"/>
                </a:lnTo>
                <a:lnTo>
                  <a:pt x="1453" y="746"/>
                </a:lnTo>
                <a:lnTo>
                  <a:pt x="1448" y="746"/>
                </a:lnTo>
                <a:lnTo>
                  <a:pt x="1446" y="748"/>
                </a:lnTo>
                <a:lnTo>
                  <a:pt x="1446" y="750"/>
                </a:lnTo>
                <a:lnTo>
                  <a:pt x="1447" y="754"/>
                </a:lnTo>
                <a:lnTo>
                  <a:pt x="1449" y="758"/>
                </a:lnTo>
                <a:lnTo>
                  <a:pt x="1454" y="762"/>
                </a:lnTo>
                <a:lnTo>
                  <a:pt x="1458" y="767"/>
                </a:lnTo>
                <a:lnTo>
                  <a:pt x="1462" y="770"/>
                </a:lnTo>
                <a:lnTo>
                  <a:pt x="1471" y="774"/>
                </a:lnTo>
                <a:lnTo>
                  <a:pt x="1480" y="776"/>
                </a:lnTo>
                <a:lnTo>
                  <a:pt x="1484" y="776"/>
                </a:lnTo>
                <a:lnTo>
                  <a:pt x="1487" y="774"/>
                </a:lnTo>
                <a:lnTo>
                  <a:pt x="1491" y="772"/>
                </a:lnTo>
                <a:lnTo>
                  <a:pt x="1496" y="770"/>
                </a:lnTo>
                <a:lnTo>
                  <a:pt x="1500" y="767"/>
                </a:lnTo>
                <a:lnTo>
                  <a:pt x="1504" y="766"/>
                </a:lnTo>
                <a:lnTo>
                  <a:pt x="1507" y="766"/>
                </a:lnTo>
                <a:lnTo>
                  <a:pt x="1510" y="767"/>
                </a:lnTo>
                <a:lnTo>
                  <a:pt x="1516" y="772"/>
                </a:lnTo>
                <a:lnTo>
                  <a:pt x="1524" y="777"/>
                </a:lnTo>
                <a:lnTo>
                  <a:pt x="1528" y="779"/>
                </a:lnTo>
                <a:lnTo>
                  <a:pt x="1531" y="782"/>
                </a:lnTo>
                <a:lnTo>
                  <a:pt x="1533" y="785"/>
                </a:lnTo>
                <a:lnTo>
                  <a:pt x="1534" y="789"/>
                </a:lnTo>
                <a:lnTo>
                  <a:pt x="1534" y="795"/>
                </a:lnTo>
                <a:lnTo>
                  <a:pt x="1533" y="801"/>
                </a:lnTo>
                <a:lnTo>
                  <a:pt x="1534" y="804"/>
                </a:lnTo>
                <a:lnTo>
                  <a:pt x="1536" y="807"/>
                </a:lnTo>
                <a:lnTo>
                  <a:pt x="1540" y="811"/>
                </a:lnTo>
                <a:lnTo>
                  <a:pt x="1546" y="813"/>
                </a:lnTo>
                <a:lnTo>
                  <a:pt x="1557" y="819"/>
                </a:lnTo>
                <a:lnTo>
                  <a:pt x="1565" y="822"/>
                </a:lnTo>
                <a:lnTo>
                  <a:pt x="1567" y="822"/>
                </a:lnTo>
                <a:lnTo>
                  <a:pt x="1569" y="820"/>
                </a:lnTo>
                <a:lnTo>
                  <a:pt x="1570" y="817"/>
                </a:lnTo>
                <a:lnTo>
                  <a:pt x="1571" y="811"/>
                </a:lnTo>
                <a:lnTo>
                  <a:pt x="1572" y="802"/>
                </a:lnTo>
                <a:lnTo>
                  <a:pt x="1572" y="795"/>
                </a:lnTo>
                <a:lnTo>
                  <a:pt x="1571" y="787"/>
                </a:lnTo>
                <a:lnTo>
                  <a:pt x="1570" y="779"/>
                </a:lnTo>
                <a:lnTo>
                  <a:pt x="1566" y="763"/>
                </a:lnTo>
                <a:lnTo>
                  <a:pt x="1560" y="748"/>
                </a:lnTo>
                <a:lnTo>
                  <a:pt x="1557" y="739"/>
                </a:lnTo>
                <a:lnTo>
                  <a:pt x="1551" y="732"/>
                </a:lnTo>
                <a:lnTo>
                  <a:pt x="1544" y="724"/>
                </a:lnTo>
                <a:lnTo>
                  <a:pt x="1534" y="716"/>
                </a:lnTo>
                <a:lnTo>
                  <a:pt x="1514" y="702"/>
                </a:lnTo>
                <a:lnTo>
                  <a:pt x="1497" y="689"/>
                </a:lnTo>
                <a:lnTo>
                  <a:pt x="1489" y="683"/>
                </a:lnTo>
                <a:lnTo>
                  <a:pt x="1483" y="678"/>
                </a:lnTo>
                <a:lnTo>
                  <a:pt x="1479" y="671"/>
                </a:lnTo>
                <a:lnTo>
                  <a:pt x="1475" y="666"/>
                </a:lnTo>
                <a:lnTo>
                  <a:pt x="1469" y="657"/>
                </a:lnTo>
                <a:lnTo>
                  <a:pt x="1464" y="651"/>
                </a:lnTo>
                <a:lnTo>
                  <a:pt x="1459" y="649"/>
                </a:lnTo>
                <a:lnTo>
                  <a:pt x="1453" y="648"/>
                </a:lnTo>
                <a:lnTo>
                  <a:pt x="1449" y="648"/>
                </a:lnTo>
                <a:lnTo>
                  <a:pt x="1445" y="649"/>
                </a:lnTo>
                <a:lnTo>
                  <a:pt x="1442" y="651"/>
                </a:lnTo>
                <a:lnTo>
                  <a:pt x="1438" y="653"/>
                </a:lnTo>
                <a:lnTo>
                  <a:pt x="1426" y="660"/>
                </a:lnTo>
                <a:lnTo>
                  <a:pt x="1423" y="662"/>
                </a:lnTo>
                <a:close/>
                <a:moveTo>
                  <a:pt x="1256" y="767"/>
                </a:moveTo>
                <a:lnTo>
                  <a:pt x="1259" y="771"/>
                </a:lnTo>
                <a:lnTo>
                  <a:pt x="1265" y="774"/>
                </a:lnTo>
                <a:lnTo>
                  <a:pt x="1271" y="776"/>
                </a:lnTo>
                <a:lnTo>
                  <a:pt x="1279" y="777"/>
                </a:lnTo>
                <a:lnTo>
                  <a:pt x="1291" y="777"/>
                </a:lnTo>
                <a:lnTo>
                  <a:pt x="1296" y="777"/>
                </a:lnTo>
                <a:lnTo>
                  <a:pt x="1303" y="779"/>
                </a:lnTo>
                <a:lnTo>
                  <a:pt x="1316" y="782"/>
                </a:lnTo>
                <a:lnTo>
                  <a:pt x="1324" y="782"/>
                </a:lnTo>
                <a:lnTo>
                  <a:pt x="1331" y="782"/>
                </a:lnTo>
                <a:lnTo>
                  <a:pt x="1333" y="781"/>
                </a:lnTo>
                <a:lnTo>
                  <a:pt x="1335" y="780"/>
                </a:lnTo>
                <a:lnTo>
                  <a:pt x="1336" y="778"/>
                </a:lnTo>
                <a:lnTo>
                  <a:pt x="1337" y="776"/>
                </a:lnTo>
                <a:lnTo>
                  <a:pt x="1337" y="771"/>
                </a:lnTo>
                <a:lnTo>
                  <a:pt x="1336" y="763"/>
                </a:lnTo>
                <a:lnTo>
                  <a:pt x="1334" y="755"/>
                </a:lnTo>
                <a:lnTo>
                  <a:pt x="1332" y="747"/>
                </a:lnTo>
                <a:lnTo>
                  <a:pt x="1329" y="739"/>
                </a:lnTo>
                <a:lnTo>
                  <a:pt x="1326" y="733"/>
                </a:lnTo>
                <a:lnTo>
                  <a:pt x="1322" y="728"/>
                </a:lnTo>
                <a:lnTo>
                  <a:pt x="1317" y="725"/>
                </a:lnTo>
                <a:lnTo>
                  <a:pt x="1314" y="725"/>
                </a:lnTo>
                <a:lnTo>
                  <a:pt x="1312" y="725"/>
                </a:lnTo>
                <a:lnTo>
                  <a:pt x="1310" y="727"/>
                </a:lnTo>
                <a:lnTo>
                  <a:pt x="1309" y="729"/>
                </a:lnTo>
                <a:lnTo>
                  <a:pt x="1307" y="732"/>
                </a:lnTo>
                <a:lnTo>
                  <a:pt x="1305" y="736"/>
                </a:lnTo>
                <a:lnTo>
                  <a:pt x="1302" y="739"/>
                </a:lnTo>
                <a:lnTo>
                  <a:pt x="1296" y="744"/>
                </a:lnTo>
                <a:lnTo>
                  <a:pt x="1283" y="751"/>
                </a:lnTo>
                <a:lnTo>
                  <a:pt x="1269" y="759"/>
                </a:lnTo>
                <a:lnTo>
                  <a:pt x="1259" y="766"/>
                </a:lnTo>
                <a:lnTo>
                  <a:pt x="1256" y="767"/>
                </a:lnTo>
                <a:close/>
                <a:moveTo>
                  <a:pt x="1218" y="819"/>
                </a:moveTo>
                <a:lnTo>
                  <a:pt x="1227" y="822"/>
                </a:lnTo>
                <a:lnTo>
                  <a:pt x="1239" y="824"/>
                </a:lnTo>
                <a:lnTo>
                  <a:pt x="1245" y="825"/>
                </a:lnTo>
                <a:lnTo>
                  <a:pt x="1249" y="827"/>
                </a:lnTo>
                <a:lnTo>
                  <a:pt x="1251" y="830"/>
                </a:lnTo>
                <a:lnTo>
                  <a:pt x="1252" y="831"/>
                </a:lnTo>
                <a:lnTo>
                  <a:pt x="1254" y="833"/>
                </a:lnTo>
                <a:lnTo>
                  <a:pt x="1254" y="836"/>
                </a:lnTo>
                <a:lnTo>
                  <a:pt x="1254" y="839"/>
                </a:lnTo>
                <a:lnTo>
                  <a:pt x="1255" y="841"/>
                </a:lnTo>
                <a:lnTo>
                  <a:pt x="1256" y="844"/>
                </a:lnTo>
                <a:lnTo>
                  <a:pt x="1258" y="847"/>
                </a:lnTo>
                <a:lnTo>
                  <a:pt x="1262" y="853"/>
                </a:lnTo>
                <a:lnTo>
                  <a:pt x="1268" y="857"/>
                </a:lnTo>
                <a:lnTo>
                  <a:pt x="1281" y="865"/>
                </a:lnTo>
                <a:lnTo>
                  <a:pt x="1291" y="870"/>
                </a:lnTo>
                <a:lnTo>
                  <a:pt x="1293" y="871"/>
                </a:lnTo>
                <a:lnTo>
                  <a:pt x="1295" y="870"/>
                </a:lnTo>
                <a:lnTo>
                  <a:pt x="1299" y="868"/>
                </a:lnTo>
                <a:lnTo>
                  <a:pt x="1301" y="865"/>
                </a:lnTo>
                <a:lnTo>
                  <a:pt x="1307" y="858"/>
                </a:lnTo>
                <a:lnTo>
                  <a:pt x="1312" y="848"/>
                </a:lnTo>
                <a:lnTo>
                  <a:pt x="1322" y="831"/>
                </a:lnTo>
                <a:lnTo>
                  <a:pt x="1326" y="822"/>
                </a:lnTo>
                <a:lnTo>
                  <a:pt x="1331" y="820"/>
                </a:lnTo>
                <a:lnTo>
                  <a:pt x="1340" y="816"/>
                </a:lnTo>
                <a:lnTo>
                  <a:pt x="1345" y="813"/>
                </a:lnTo>
                <a:lnTo>
                  <a:pt x="1349" y="810"/>
                </a:lnTo>
                <a:lnTo>
                  <a:pt x="1350" y="807"/>
                </a:lnTo>
                <a:lnTo>
                  <a:pt x="1350" y="806"/>
                </a:lnTo>
                <a:lnTo>
                  <a:pt x="1350" y="805"/>
                </a:lnTo>
                <a:lnTo>
                  <a:pt x="1349" y="804"/>
                </a:lnTo>
                <a:lnTo>
                  <a:pt x="1343" y="799"/>
                </a:lnTo>
                <a:lnTo>
                  <a:pt x="1334" y="795"/>
                </a:lnTo>
                <a:lnTo>
                  <a:pt x="1328" y="795"/>
                </a:lnTo>
                <a:lnTo>
                  <a:pt x="1322" y="795"/>
                </a:lnTo>
                <a:lnTo>
                  <a:pt x="1312" y="797"/>
                </a:lnTo>
                <a:lnTo>
                  <a:pt x="1302" y="801"/>
                </a:lnTo>
                <a:lnTo>
                  <a:pt x="1291" y="805"/>
                </a:lnTo>
                <a:lnTo>
                  <a:pt x="1285" y="810"/>
                </a:lnTo>
                <a:lnTo>
                  <a:pt x="1280" y="814"/>
                </a:lnTo>
                <a:lnTo>
                  <a:pt x="1278" y="817"/>
                </a:lnTo>
                <a:lnTo>
                  <a:pt x="1276" y="819"/>
                </a:lnTo>
                <a:lnTo>
                  <a:pt x="1273" y="819"/>
                </a:lnTo>
                <a:lnTo>
                  <a:pt x="1271" y="819"/>
                </a:lnTo>
                <a:lnTo>
                  <a:pt x="1268" y="816"/>
                </a:lnTo>
                <a:lnTo>
                  <a:pt x="1262" y="814"/>
                </a:lnTo>
                <a:lnTo>
                  <a:pt x="1255" y="814"/>
                </a:lnTo>
                <a:lnTo>
                  <a:pt x="1246" y="814"/>
                </a:lnTo>
                <a:lnTo>
                  <a:pt x="1237" y="815"/>
                </a:lnTo>
                <a:lnTo>
                  <a:pt x="1223" y="818"/>
                </a:lnTo>
                <a:lnTo>
                  <a:pt x="1218" y="819"/>
                </a:lnTo>
                <a:close/>
                <a:moveTo>
                  <a:pt x="1081" y="1008"/>
                </a:moveTo>
                <a:lnTo>
                  <a:pt x="1077" y="1008"/>
                </a:lnTo>
                <a:lnTo>
                  <a:pt x="1074" y="1010"/>
                </a:lnTo>
                <a:lnTo>
                  <a:pt x="1070" y="1012"/>
                </a:lnTo>
                <a:lnTo>
                  <a:pt x="1067" y="1014"/>
                </a:lnTo>
                <a:lnTo>
                  <a:pt x="1063" y="1015"/>
                </a:lnTo>
                <a:lnTo>
                  <a:pt x="1059" y="1016"/>
                </a:lnTo>
                <a:lnTo>
                  <a:pt x="1054" y="1016"/>
                </a:lnTo>
                <a:lnTo>
                  <a:pt x="1051" y="1014"/>
                </a:lnTo>
                <a:lnTo>
                  <a:pt x="1048" y="1010"/>
                </a:lnTo>
                <a:lnTo>
                  <a:pt x="1046" y="1003"/>
                </a:lnTo>
                <a:lnTo>
                  <a:pt x="1045" y="996"/>
                </a:lnTo>
                <a:lnTo>
                  <a:pt x="1045" y="989"/>
                </a:lnTo>
                <a:lnTo>
                  <a:pt x="1045" y="980"/>
                </a:lnTo>
                <a:lnTo>
                  <a:pt x="1046" y="974"/>
                </a:lnTo>
                <a:lnTo>
                  <a:pt x="1048" y="969"/>
                </a:lnTo>
                <a:lnTo>
                  <a:pt x="1050" y="967"/>
                </a:lnTo>
                <a:lnTo>
                  <a:pt x="1066" y="954"/>
                </a:lnTo>
                <a:lnTo>
                  <a:pt x="1096" y="927"/>
                </a:lnTo>
                <a:lnTo>
                  <a:pt x="1126" y="898"/>
                </a:lnTo>
                <a:lnTo>
                  <a:pt x="1142" y="882"/>
                </a:lnTo>
                <a:lnTo>
                  <a:pt x="1151" y="875"/>
                </a:lnTo>
                <a:lnTo>
                  <a:pt x="1163" y="865"/>
                </a:lnTo>
                <a:lnTo>
                  <a:pt x="1176" y="856"/>
                </a:lnTo>
                <a:lnTo>
                  <a:pt x="1187" y="849"/>
                </a:lnTo>
                <a:lnTo>
                  <a:pt x="1192" y="846"/>
                </a:lnTo>
                <a:lnTo>
                  <a:pt x="1195" y="843"/>
                </a:lnTo>
                <a:lnTo>
                  <a:pt x="1198" y="839"/>
                </a:lnTo>
                <a:lnTo>
                  <a:pt x="1200" y="836"/>
                </a:lnTo>
                <a:lnTo>
                  <a:pt x="1201" y="834"/>
                </a:lnTo>
                <a:lnTo>
                  <a:pt x="1203" y="834"/>
                </a:lnTo>
                <a:lnTo>
                  <a:pt x="1204" y="836"/>
                </a:lnTo>
                <a:lnTo>
                  <a:pt x="1205" y="841"/>
                </a:lnTo>
                <a:lnTo>
                  <a:pt x="1206" y="855"/>
                </a:lnTo>
                <a:lnTo>
                  <a:pt x="1207" y="866"/>
                </a:lnTo>
                <a:lnTo>
                  <a:pt x="1206" y="876"/>
                </a:lnTo>
                <a:lnTo>
                  <a:pt x="1204" y="882"/>
                </a:lnTo>
                <a:lnTo>
                  <a:pt x="1200" y="887"/>
                </a:lnTo>
                <a:lnTo>
                  <a:pt x="1194" y="896"/>
                </a:lnTo>
                <a:lnTo>
                  <a:pt x="1191" y="900"/>
                </a:lnTo>
                <a:lnTo>
                  <a:pt x="1189" y="904"/>
                </a:lnTo>
                <a:lnTo>
                  <a:pt x="1186" y="909"/>
                </a:lnTo>
                <a:lnTo>
                  <a:pt x="1186" y="912"/>
                </a:lnTo>
                <a:lnTo>
                  <a:pt x="1187" y="922"/>
                </a:lnTo>
                <a:lnTo>
                  <a:pt x="1189" y="932"/>
                </a:lnTo>
                <a:lnTo>
                  <a:pt x="1189" y="938"/>
                </a:lnTo>
                <a:lnTo>
                  <a:pt x="1187" y="944"/>
                </a:lnTo>
                <a:lnTo>
                  <a:pt x="1185" y="950"/>
                </a:lnTo>
                <a:lnTo>
                  <a:pt x="1181" y="955"/>
                </a:lnTo>
                <a:lnTo>
                  <a:pt x="1174" y="966"/>
                </a:lnTo>
                <a:lnTo>
                  <a:pt x="1169" y="975"/>
                </a:lnTo>
                <a:lnTo>
                  <a:pt x="1165" y="979"/>
                </a:lnTo>
                <a:lnTo>
                  <a:pt x="1163" y="981"/>
                </a:lnTo>
                <a:lnTo>
                  <a:pt x="1162" y="981"/>
                </a:lnTo>
                <a:lnTo>
                  <a:pt x="1161" y="981"/>
                </a:lnTo>
                <a:lnTo>
                  <a:pt x="1159" y="980"/>
                </a:lnTo>
                <a:lnTo>
                  <a:pt x="1158" y="979"/>
                </a:lnTo>
                <a:lnTo>
                  <a:pt x="1155" y="974"/>
                </a:lnTo>
                <a:lnTo>
                  <a:pt x="1153" y="968"/>
                </a:lnTo>
                <a:lnTo>
                  <a:pt x="1152" y="959"/>
                </a:lnTo>
                <a:lnTo>
                  <a:pt x="1151" y="952"/>
                </a:lnTo>
                <a:lnTo>
                  <a:pt x="1149" y="946"/>
                </a:lnTo>
                <a:lnTo>
                  <a:pt x="1148" y="942"/>
                </a:lnTo>
                <a:lnTo>
                  <a:pt x="1147" y="941"/>
                </a:lnTo>
                <a:lnTo>
                  <a:pt x="1145" y="941"/>
                </a:lnTo>
                <a:lnTo>
                  <a:pt x="1143" y="942"/>
                </a:lnTo>
                <a:lnTo>
                  <a:pt x="1141" y="944"/>
                </a:lnTo>
                <a:lnTo>
                  <a:pt x="1134" y="954"/>
                </a:lnTo>
                <a:lnTo>
                  <a:pt x="1128" y="966"/>
                </a:lnTo>
                <a:lnTo>
                  <a:pt x="1121" y="977"/>
                </a:lnTo>
                <a:lnTo>
                  <a:pt x="1116" y="990"/>
                </a:lnTo>
                <a:lnTo>
                  <a:pt x="1110" y="1003"/>
                </a:lnTo>
                <a:lnTo>
                  <a:pt x="1105" y="1017"/>
                </a:lnTo>
                <a:lnTo>
                  <a:pt x="1103" y="1022"/>
                </a:lnTo>
                <a:lnTo>
                  <a:pt x="1099" y="1026"/>
                </a:lnTo>
                <a:lnTo>
                  <a:pt x="1096" y="1029"/>
                </a:lnTo>
                <a:lnTo>
                  <a:pt x="1093" y="1030"/>
                </a:lnTo>
                <a:lnTo>
                  <a:pt x="1092" y="1030"/>
                </a:lnTo>
                <a:lnTo>
                  <a:pt x="1091" y="1029"/>
                </a:lnTo>
                <a:lnTo>
                  <a:pt x="1090" y="1026"/>
                </a:lnTo>
                <a:lnTo>
                  <a:pt x="1089" y="1025"/>
                </a:lnTo>
                <a:lnTo>
                  <a:pt x="1089" y="1021"/>
                </a:lnTo>
                <a:lnTo>
                  <a:pt x="1089" y="1016"/>
                </a:lnTo>
                <a:lnTo>
                  <a:pt x="1091" y="1008"/>
                </a:lnTo>
                <a:lnTo>
                  <a:pt x="1092" y="1004"/>
                </a:lnTo>
                <a:lnTo>
                  <a:pt x="1087" y="1007"/>
                </a:lnTo>
                <a:lnTo>
                  <a:pt x="1081" y="1008"/>
                </a:lnTo>
                <a:close/>
                <a:moveTo>
                  <a:pt x="1139" y="1050"/>
                </a:moveTo>
                <a:lnTo>
                  <a:pt x="1146" y="1045"/>
                </a:lnTo>
                <a:lnTo>
                  <a:pt x="1153" y="1040"/>
                </a:lnTo>
                <a:lnTo>
                  <a:pt x="1156" y="1037"/>
                </a:lnTo>
                <a:lnTo>
                  <a:pt x="1158" y="1032"/>
                </a:lnTo>
                <a:lnTo>
                  <a:pt x="1159" y="1026"/>
                </a:lnTo>
                <a:lnTo>
                  <a:pt x="1159" y="1020"/>
                </a:lnTo>
                <a:lnTo>
                  <a:pt x="1158" y="1008"/>
                </a:lnTo>
                <a:lnTo>
                  <a:pt x="1158" y="997"/>
                </a:lnTo>
                <a:lnTo>
                  <a:pt x="1157" y="994"/>
                </a:lnTo>
                <a:lnTo>
                  <a:pt x="1157" y="992"/>
                </a:lnTo>
                <a:lnTo>
                  <a:pt x="1156" y="992"/>
                </a:lnTo>
                <a:lnTo>
                  <a:pt x="1154" y="994"/>
                </a:lnTo>
                <a:lnTo>
                  <a:pt x="1138" y="1011"/>
                </a:lnTo>
                <a:lnTo>
                  <a:pt x="1125" y="1024"/>
                </a:lnTo>
                <a:lnTo>
                  <a:pt x="1125" y="1028"/>
                </a:lnTo>
                <a:lnTo>
                  <a:pt x="1125" y="1031"/>
                </a:lnTo>
                <a:lnTo>
                  <a:pt x="1126" y="1035"/>
                </a:lnTo>
                <a:lnTo>
                  <a:pt x="1127" y="1039"/>
                </a:lnTo>
                <a:lnTo>
                  <a:pt x="1129" y="1046"/>
                </a:lnTo>
                <a:lnTo>
                  <a:pt x="1130" y="1051"/>
                </a:lnTo>
                <a:lnTo>
                  <a:pt x="1135" y="1050"/>
                </a:lnTo>
                <a:lnTo>
                  <a:pt x="1139" y="1050"/>
                </a:lnTo>
                <a:close/>
                <a:moveTo>
                  <a:pt x="1169" y="1063"/>
                </a:moveTo>
                <a:lnTo>
                  <a:pt x="1172" y="1067"/>
                </a:lnTo>
                <a:lnTo>
                  <a:pt x="1177" y="1072"/>
                </a:lnTo>
                <a:lnTo>
                  <a:pt x="1185" y="1076"/>
                </a:lnTo>
                <a:lnTo>
                  <a:pt x="1194" y="1080"/>
                </a:lnTo>
                <a:lnTo>
                  <a:pt x="1203" y="1084"/>
                </a:lnTo>
                <a:lnTo>
                  <a:pt x="1212" y="1086"/>
                </a:lnTo>
                <a:lnTo>
                  <a:pt x="1218" y="1087"/>
                </a:lnTo>
                <a:lnTo>
                  <a:pt x="1221" y="1086"/>
                </a:lnTo>
                <a:lnTo>
                  <a:pt x="1228" y="1079"/>
                </a:lnTo>
                <a:lnTo>
                  <a:pt x="1239" y="1068"/>
                </a:lnTo>
                <a:lnTo>
                  <a:pt x="1244" y="1063"/>
                </a:lnTo>
                <a:lnTo>
                  <a:pt x="1248" y="1060"/>
                </a:lnTo>
                <a:lnTo>
                  <a:pt x="1250" y="1059"/>
                </a:lnTo>
                <a:lnTo>
                  <a:pt x="1252" y="1059"/>
                </a:lnTo>
                <a:lnTo>
                  <a:pt x="1254" y="1059"/>
                </a:lnTo>
                <a:lnTo>
                  <a:pt x="1255" y="1060"/>
                </a:lnTo>
                <a:lnTo>
                  <a:pt x="1257" y="1063"/>
                </a:lnTo>
                <a:lnTo>
                  <a:pt x="1260" y="1065"/>
                </a:lnTo>
                <a:lnTo>
                  <a:pt x="1264" y="1067"/>
                </a:lnTo>
                <a:lnTo>
                  <a:pt x="1269" y="1068"/>
                </a:lnTo>
                <a:lnTo>
                  <a:pt x="1280" y="1070"/>
                </a:lnTo>
                <a:lnTo>
                  <a:pt x="1287" y="1072"/>
                </a:lnTo>
                <a:lnTo>
                  <a:pt x="1294" y="1073"/>
                </a:lnTo>
                <a:lnTo>
                  <a:pt x="1304" y="1074"/>
                </a:lnTo>
                <a:lnTo>
                  <a:pt x="1307" y="1075"/>
                </a:lnTo>
                <a:lnTo>
                  <a:pt x="1310" y="1076"/>
                </a:lnTo>
                <a:lnTo>
                  <a:pt x="1311" y="1077"/>
                </a:lnTo>
                <a:lnTo>
                  <a:pt x="1310" y="1079"/>
                </a:lnTo>
                <a:lnTo>
                  <a:pt x="1306" y="1081"/>
                </a:lnTo>
                <a:lnTo>
                  <a:pt x="1302" y="1082"/>
                </a:lnTo>
                <a:lnTo>
                  <a:pt x="1295" y="1083"/>
                </a:lnTo>
                <a:lnTo>
                  <a:pt x="1289" y="1084"/>
                </a:lnTo>
                <a:lnTo>
                  <a:pt x="1282" y="1085"/>
                </a:lnTo>
                <a:lnTo>
                  <a:pt x="1276" y="1086"/>
                </a:lnTo>
                <a:lnTo>
                  <a:pt x="1271" y="1089"/>
                </a:lnTo>
                <a:lnTo>
                  <a:pt x="1268" y="1094"/>
                </a:lnTo>
                <a:lnTo>
                  <a:pt x="1264" y="1098"/>
                </a:lnTo>
                <a:lnTo>
                  <a:pt x="1259" y="1102"/>
                </a:lnTo>
                <a:lnTo>
                  <a:pt x="1251" y="1106"/>
                </a:lnTo>
                <a:lnTo>
                  <a:pt x="1245" y="1110"/>
                </a:lnTo>
                <a:lnTo>
                  <a:pt x="1238" y="1114"/>
                </a:lnTo>
                <a:lnTo>
                  <a:pt x="1233" y="1118"/>
                </a:lnTo>
                <a:lnTo>
                  <a:pt x="1229" y="1121"/>
                </a:lnTo>
                <a:lnTo>
                  <a:pt x="1228" y="1123"/>
                </a:lnTo>
                <a:lnTo>
                  <a:pt x="1230" y="1125"/>
                </a:lnTo>
                <a:lnTo>
                  <a:pt x="1234" y="1128"/>
                </a:lnTo>
                <a:lnTo>
                  <a:pt x="1239" y="1130"/>
                </a:lnTo>
                <a:lnTo>
                  <a:pt x="1244" y="1133"/>
                </a:lnTo>
                <a:lnTo>
                  <a:pt x="1249" y="1134"/>
                </a:lnTo>
                <a:lnTo>
                  <a:pt x="1256" y="1136"/>
                </a:lnTo>
                <a:lnTo>
                  <a:pt x="1261" y="1138"/>
                </a:lnTo>
                <a:lnTo>
                  <a:pt x="1267" y="1138"/>
                </a:lnTo>
                <a:lnTo>
                  <a:pt x="1277" y="1138"/>
                </a:lnTo>
                <a:lnTo>
                  <a:pt x="1286" y="1139"/>
                </a:lnTo>
                <a:lnTo>
                  <a:pt x="1291" y="1138"/>
                </a:lnTo>
                <a:lnTo>
                  <a:pt x="1296" y="1135"/>
                </a:lnTo>
                <a:lnTo>
                  <a:pt x="1303" y="1130"/>
                </a:lnTo>
                <a:lnTo>
                  <a:pt x="1311" y="1123"/>
                </a:lnTo>
                <a:lnTo>
                  <a:pt x="1326" y="1105"/>
                </a:lnTo>
                <a:lnTo>
                  <a:pt x="1338" y="1090"/>
                </a:lnTo>
                <a:lnTo>
                  <a:pt x="1344" y="1085"/>
                </a:lnTo>
                <a:lnTo>
                  <a:pt x="1349" y="1082"/>
                </a:lnTo>
                <a:lnTo>
                  <a:pt x="1351" y="1081"/>
                </a:lnTo>
                <a:lnTo>
                  <a:pt x="1353" y="1080"/>
                </a:lnTo>
                <a:lnTo>
                  <a:pt x="1356" y="1081"/>
                </a:lnTo>
                <a:lnTo>
                  <a:pt x="1358" y="1082"/>
                </a:lnTo>
                <a:lnTo>
                  <a:pt x="1365" y="1089"/>
                </a:lnTo>
                <a:lnTo>
                  <a:pt x="1369" y="1096"/>
                </a:lnTo>
                <a:lnTo>
                  <a:pt x="1370" y="1098"/>
                </a:lnTo>
                <a:lnTo>
                  <a:pt x="1372" y="1100"/>
                </a:lnTo>
                <a:lnTo>
                  <a:pt x="1374" y="1100"/>
                </a:lnTo>
                <a:lnTo>
                  <a:pt x="1377" y="1099"/>
                </a:lnTo>
                <a:lnTo>
                  <a:pt x="1381" y="1097"/>
                </a:lnTo>
                <a:lnTo>
                  <a:pt x="1386" y="1096"/>
                </a:lnTo>
                <a:lnTo>
                  <a:pt x="1390" y="1096"/>
                </a:lnTo>
                <a:lnTo>
                  <a:pt x="1394" y="1096"/>
                </a:lnTo>
                <a:lnTo>
                  <a:pt x="1400" y="1097"/>
                </a:lnTo>
                <a:lnTo>
                  <a:pt x="1403" y="1098"/>
                </a:lnTo>
                <a:lnTo>
                  <a:pt x="1404" y="1099"/>
                </a:lnTo>
                <a:lnTo>
                  <a:pt x="1408" y="1102"/>
                </a:lnTo>
                <a:lnTo>
                  <a:pt x="1410" y="1103"/>
                </a:lnTo>
                <a:lnTo>
                  <a:pt x="1412" y="1103"/>
                </a:lnTo>
                <a:lnTo>
                  <a:pt x="1414" y="1101"/>
                </a:lnTo>
                <a:lnTo>
                  <a:pt x="1415" y="1098"/>
                </a:lnTo>
                <a:lnTo>
                  <a:pt x="1420" y="1086"/>
                </a:lnTo>
                <a:lnTo>
                  <a:pt x="1424" y="1076"/>
                </a:lnTo>
                <a:lnTo>
                  <a:pt x="1427" y="1067"/>
                </a:lnTo>
                <a:lnTo>
                  <a:pt x="1428" y="1064"/>
                </a:lnTo>
                <a:lnTo>
                  <a:pt x="1431" y="1062"/>
                </a:lnTo>
                <a:lnTo>
                  <a:pt x="1436" y="1055"/>
                </a:lnTo>
                <a:lnTo>
                  <a:pt x="1438" y="1050"/>
                </a:lnTo>
                <a:lnTo>
                  <a:pt x="1439" y="1043"/>
                </a:lnTo>
                <a:lnTo>
                  <a:pt x="1439" y="1036"/>
                </a:lnTo>
                <a:lnTo>
                  <a:pt x="1437" y="1029"/>
                </a:lnTo>
                <a:lnTo>
                  <a:pt x="1433" y="1012"/>
                </a:lnTo>
                <a:lnTo>
                  <a:pt x="1427" y="996"/>
                </a:lnTo>
                <a:lnTo>
                  <a:pt x="1426" y="993"/>
                </a:lnTo>
                <a:lnTo>
                  <a:pt x="1425" y="991"/>
                </a:lnTo>
                <a:lnTo>
                  <a:pt x="1423" y="990"/>
                </a:lnTo>
                <a:lnTo>
                  <a:pt x="1421" y="989"/>
                </a:lnTo>
                <a:lnTo>
                  <a:pt x="1419" y="989"/>
                </a:lnTo>
                <a:lnTo>
                  <a:pt x="1417" y="990"/>
                </a:lnTo>
                <a:lnTo>
                  <a:pt x="1414" y="992"/>
                </a:lnTo>
                <a:lnTo>
                  <a:pt x="1412" y="996"/>
                </a:lnTo>
                <a:lnTo>
                  <a:pt x="1401" y="1008"/>
                </a:lnTo>
                <a:lnTo>
                  <a:pt x="1396" y="1013"/>
                </a:lnTo>
                <a:lnTo>
                  <a:pt x="1394" y="1012"/>
                </a:lnTo>
                <a:lnTo>
                  <a:pt x="1393" y="1011"/>
                </a:lnTo>
                <a:lnTo>
                  <a:pt x="1391" y="1009"/>
                </a:lnTo>
                <a:lnTo>
                  <a:pt x="1389" y="1006"/>
                </a:lnTo>
                <a:lnTo>
                  <a:pt x="1382" y="996"/>
                </a:lnTo>
                <a:lnTo>
                  <a:pt x="1375" y="985"/>
                </a:lnTo>
                <a:lnTo>
                  <a:pt x="1371" y="979"/>
                </a:lnTo>
                <a:lnTo>
                  <a:pt x="1369" y="974"/>
                </a:lnTo>
                <a:lnTo>
                  <a:pt x="1368" y="970"/>
                </a:lnTo>
                <a:lnTo>
                  <a:pt x="1368" y="966"/>
                </a:lnTo>
                <a:lnTo>
                  <a:pt x="1371" y="958"/>
                </a:lnTo>
                <a:lnTo>
                  <a:pt x="1374" y="950"/>
                </a:lnTo>
                <a:lnTo>
                  <a:pt x="1374" y="945"/>
                </a:lnTo>
                <a:lnTo>
                  <a:pt x="1373" y="941"/>
                </a:lnTo>
                <a:lnTo>
                  <a:pt x="1371" y="936"/>
                </a:lnTo>
                <a:lnTo>
                  <a:pt x="1368" y="932"/>
                </a:lnTo>
                <a:lnTo>
                  <a:pt x="1365" y="929"/>
                </a:lnTo>
                <a:lnTo>
                  <a:pt x="1361" y="927"/>
                </a:lnTo>
                <a:lnTo>
                  <a:pt x="1359" y="927"/>
                </a:lnTo>
                <a:lnTo>
                  <a:pt x="1356" y="927"/>
                </a:lnTo>
                <a:lnTo>
                  <a:pt x="1350" y="931"/>
                </a:lnTo>
                <a:lnTo>
                  <a:pt x="1340" y="937"/>
                </a:lnTo>
                <a:lnTo>
                  <a:pt x="1335" y="942"/>
                </a:lnTo>
                <a:lnTo>
                  <a:pt x="1332" y="946"/>
                </a:lnTo>
                <a:lnTo>
                  <a:pt x="1329" y="951"/>
                </a:lnTo>
                <a:lnTo>
                  <a:pt x="1328" y="955"/>
                </a:lnTo>
                <a:lnTo>
                  <a:pt x="1328" y="963"/>
                </a:lnTo>
                <a:lnTo>
                  <a:pt x="1328" y="966"/>
                </a:lnTo>
                <a:lnTo>
                  <a:pt x="1331" y="970"/>
                </a:lnTo>
                <a:lnTo>
                  <a:pt x="1336" y="978"/>
                </a:lnTo>
                <a:lnTo>
                  <a:pt x="1342" y="989"/>
                </a:lnTo>
                <a:lnTo>
                  <a:pt x="1344" y="997"/>
                </a:lnTo>
                <a:lnTo>
                  <a:pt x="1343" y="999"/>
                </a:lnTo>
                <a:lnTo>
                  <a:pt x="1342" y="1002"/>
                </a:lnTo>
                <a:lnTo>
                  <a:pt x="1339" y="1004"/>
                </a:lnTo>
                <a:lnTo>
                  <a:pt x="1337" y="1007"/>
                </a:lnTo>
                <a:lnTo>
                  <a:pt x="1336" y="1009"/>
                </a:lnTo>
                <a:lnTo>
                  <a:pt x="1335" y="1011"/>
                </a:lnTo>
                <a:lnTo>
                  <a:pt x="1335" y="1013"/>
                </a:lnTo>
                <a:lnTo>
                  <a:pt x="1336" y="1015"/>
                </a:lnTo>
                <a:lnTo>
                  <a:pt x="1339" y="1017"/>
                </a:lnTo>
                <a:lnTo>
                  <a:pt x="1342" y="1019"/>
                </a:lnTo>
                <a:lnTo>
                  <a:pt x="1345" y="1019"/>
                </a:lnTo>
                <a:lnTo>
                  <a:pt x="1348" y="1020"/>
                </a:lnTo>
                <a:lnTo>
                  <a:pt x="1351" y="1020"/>
                </a:lnTo>
                <a:lnTo>
                  <a:pt x="1352" y="1022"/>
                </a:lnTo>
                <a:lnTo>
                  <a:pt x="1353" y="1024"/>
                </a:lnTo>
                <a:lnTo>
                  <a:pt x="1353" y="1028"/>
                </a:lnTo>
                <a:lnTo>
                  <a:pt x="1350" y="1038"/>
                </a:lnTo>
                <a:lnTo>
                  <a:pt x="1346" y="1050"/>
                </a:lnTo>
                <a:lnTo>
                  <a:pt x="1344" y="1055"/>
                </a:lnTo>
                <a:lnTo>
                  <a:pt x="1340" y="1057"/>
                </a:lnTo>
                <a:lnTo>
                  <a:pt x="1339" y="1058"/>
                </a:lnTo>
                <a:lnTo>
                  <a:pt x="1337" y="1058"/>
                </a:lnTo>
                <a:lnTo>
                  <a:pt x="1336" y="1058"/>
                </a:lnTo>
                <a:lnTo>
                  <a:pt x="1334" y="1056"/>
                </a:lnTo>
                <a:lnTo>
                  <a:pt x="1325" y="1048"/>
                </a:lnTo>
                <a:lnTo>
                  <a:pt x="1313" y="1039"/>
                </a:lnTo>
                <a:lnTo>
                  <a:pt x="1302" y="1032"/>
                </a:lnTo>
                <a:lnTo>
                  <a:pt x="1295" y="1025"/>
                </a:lnTo>
                <a:lnTo>
                  <a:pt x="1292" y="1018"/>
                </a:lnTo>
                <a:lnTo>
                  <a:pt x="1288" y="1007"/>
                </a:lnTo>
                <a:lnTo>
                  <a:pt x="1286" y="999"/>
                </a:lnTo>
                <a:lnTo>
                  <a:pt x="1282" y="993"/>
                </a:lnTo>
                <a:lnTo>
                  <a:pt x="1278" y="988"/>
                </a:lnTo>
                <a:lnTo>
                  <a:pt x="1271" y="984"/>
                </a:lnTo>
                <a:lnTo>
                  <a:pt x="1265" y="979"/>
                </a:lnTo>
                <a:lnTo>
                  <a:pt x="1260" y="973"/>
                </a:lnTo>
                <a:lnTo>
                  <a:pt x="1254" y="966"/>
                </a:lnTo>
                <a:lnTo>
                  <a:pt x="1248" y="959"/>
                </a:lnTo>
                <a:lnTo>
                  <a:pt x="1243" y="954"/>
                </a:lnTo>
                <a:lnTo>
                  <a:pt x="1238" y="951"/>
                </a:lnTo>
                <a:lnTo>
                  <a:pt x="1235" y="951"/>
                </a:lnTo>
                <a:lnTo>
                  <a:pt x="1232" y="951"/>
                </a:lnTo>
                <a:lnTo>
                  <a:pt x="1229" y="953"/>
                </a:lnTo>
                <a:lnTo>
                  <a:pt x="1226" y="956"/>
                </a:lnTo>
                <a:lnTo>
                  <a:pt x="1217" y="967"/>
                </a:lnTo>
                <a:lnTo>
                  <a:pt x="1210" y="975"/>
                </a:lnTo>
                <a:lnTo>
                  <a:pt x="1206" y="978"/>
                </a:lnTo>
                <a:lnTo>
                  <a:pt x="1204" y="980"/>
                </a:lnTo>
                <a:lnTo>
                  <a:pt x="1203" y="984"/>
                </a:lnTo>
                <a:lnTo>
                  <a:pt x="1203" y="987"/>
                </a:lnTo>
                <a:lnTo>
                  <a:pt x="1202" y="988"/>
                </a:lnTo>
                <a:lnTo>
                  <a:pt x="1202" y="989"/>
                </a:lnTo>
                <a:lnTo>
                  <a:pt x="1200" y="990"/>
                </a:lnTo>
                <a:lnTo>
                  <a:pt x="1198" y="990"/>
                </a:lnTo>
                <a:lnTo>
                  <a:pt x="1194" y="991"/>
                </a:lnTo>
                <a:lnTo>
                  <a:pt x="1189" y="991"/>
                </a:lnTo>
                <a:lnTo>
                  <a:pt x="1184" y="993"/>
                </a:lnTo>
                <a:lnTo>
                  <a:pt x="1181" y="995"/>
                </a:lnTo>
                <a:lnTo>
                  <a:pt x="1181" y="997"/>
                </a:lnTo>
                <a:lnTo>
                  <a:pt x="1181" y="999"/>
                </a:lnTo>
                <a:lnTo>
                  <a:pt x="1182" y="1002"/>
                </a:lnTo>
                <a:lnTo>
                  <a:pt x="1184" y="1007"/>
                </a:lnTo>
                <a:lnTo>
                  <a:pt x="1191" y="1013"/>
                </a:lnTo>
                <a:lnTo>
                  <a:pt x="1197" y="1019"/>
                </a:lnTo>
                <a:lnTo>
                  <a:pt x="1203" y="1023"/>
                </a:lnTo>
                <a:lnTo>
                  <a:pt x="1208" y="1026"/>
                </a:lnTo>
                <a:lnTo>
                  <a:pt x="1213" y="1030"/>
                </a:lnTo>
                <a:lnTo>
                  <a:pt x="1216" y="1032"/>
                </a:lnTo>
                <a:lnTo>
                  <a:pt x="1216" y="1033"/>
                </a:lnTo>
                <a:lnTo>
                  <a:pt x="1216" y="1033"/>
                </a:lnTo>
                <a:lnTo>
                  <a:pt x="1215" y="1034"/>
                </a:lnTo>
                <a:lnTo>
                  <a:pt x="1214" y="1035"/>
                </a:lnTo>
                <a:lnTo>
                  <a:pt x="1204" y="1039"/>
                </a:lnTo>
                <a:lnTo>
                  <a:pt x="1196" y="1043"/>
                </a:lnTo>
                <a:lnTo>
                  <a:pt x="1187" y="1046"/>
                </a:lnTo>
                <a:lnTo>
                  <a:pt x="1181" y="1048"/>
                </a:lnTo>
                <a:lnTo>
                  <a:pt x="1179" y="1048"/>
                </a:lnTo>
                <a:lnTo>
                  <a:pt x="1177" y="1051"/>
                </a:lnTo>
                <a:lnTo>
                  <a:pt x="1174" y="1054"/>
                </a:lnTo>
                <a:lnTo>
                  <a:pt x="1173" y="1057"/>
                </a:lnTo>
                <a:lnTo>
                  <a:pt x="1170" y="1062"/>
                </a:lnTo>
                <a:lnTo>
                  <a:pt x="1169" y="1063"/>
                </a:lnTo>
                <a:close/>
                <a:moveTo>
                  <a:pt x="1498" y="1258"/>
                </a:moveTo>
                <a:lnTo>
                  <a:pt x="1499" y="1262"/>
                </a:lnTo>
                <a:lnTo>
                  <a:pt x="1502" y="1266"/>
                </a:lnTo>
                <a:lnTo>
                  <a:pt x="1505" y="1272"/>
                </a:lnTo>
                <a:lnTo>
                  <a:pt x="1510" y="1277"/>
                </a:lnTo>
                <a:lnTo>
                  <a:pt x="1521" y="1287"/>
                </a:lnTo>
                <a:lnTo>
                  <a:pt x="1533" y="1300"/>
                </a:lnTo>
                <a:lnTo>
                  <a:pt x="1545" y="1311"/>
                </a:lnTo>
                <a:lnTo>
                  <a:pt x="1555" y="1322"/>
                </a:lnTo>
                <a:lnTo>
                  <a:pt x="1564" y="1332"/>
                </a:lnTo>
                <a:lnTo>
                  <a:pt x="1568" y="1340"/>
                </a:lnTo>
                <a:lnTo>
                  <a:pt x="1571" y="1352"/>
                </a:lnTo>
                <a:lnTo>
                  <a:pt x="1574" y="1364"/>
                </a:lnTo>
                <a:lnTo>
                  <a:pt x="1576" y="1368"/>
                </a:lnTo>
                <a:lnTo>
                  <a:pt x="1577" y="1372"/>
                </a:lnTo>
                <a:lnTo>
                  <a:pt x="1579" y="1374"/>
                </a:lnTo>
                <a:lnTo>
                  <a:pt x="1583" y="1375"/>
                </a:lnTo>
                <a:lnTo>
                  <a:pt x="1587" y="1374"/>
                </a:lnTo>
                <a:lnTo>
                  <a:pt x="1591" y="1372"/>
                </a:lnTo>
                <a:lnTo>
                  <a:pt x="1596" y="1368"/>
                </a:lnTo>
                <a:lnTo>
                  <a:pt x="1601" y="1364"/>
                </a:lnTo>
                <a:lnTo>
                  <a:pt x="1611" y="1354"/>
                </a:lnTo>
                <a:lnTo>
                  <a:pt x="1616" y="1346"/>
                </a:lnTo>
                <a:lnTo>
                  <a:pt x="1621" y="1337"/>
                </a:lnTo>
                <a:lnTo>
                  <a:pt x="1628" y="1320"/>
                </a:lnTo>
                <a:lnTo>
                  <a:pt x="1631" y="1310"/>
                </a:lnTo>
                <a:lnTo>
                  <a:pt x="1632" y="1301"/>
                </a:lnTo>
                <a:lnTo>
                  <a:pt x="1632" y="1296"/>
                </a:lnTo>
                <a:lnTo>
                  <a:pt x="1632" y="1292"/>
                </a:lnTo>
                <a:lnTo>
                  <a:pt x="1631" y="1287"/>
                </a:lnTo>
                <a:lnTo>
                  <a:pt x="1629" y="1284"/>
                </a:lnTo>
                <a:lnTo>
                  <a:pt x="1623" y="1278"/>
                </a:lnTo>
                <a:lnTo>
                  <a:pt x="1617" y="1272"/>
                </a:lnTo>
                <a:lnTo>
                  <a:pt x="1611" y="1266"/>
                </a:lnTo>
                <a:lnTo>
                  <a:pt x="1605" y="1261"/>
                </a:lnTo>
                <a:lnTo>
                  <a:pt x="1599" y="1257"/>
                </a:lnTo>
                <a:lnTo>
                  <a:pt x="1595" y="1253"/>
                </a:lnTo>
                <a:lnTo>
                  <a:pt x="1594" y="1251"/>
                </a:lnTo>
                <a:lnTo>
                  <a:pt x="1593" y="1249"/>
                </a:lnTo>
                <a:lnTo>
                  <a:pt x="1594" y="1247"/>
                </a:lnTo>
                <a:lnTo>
                  <a:pt x="1595" y="1244"/>
                </a:lnTo>
                <a:lnTo>
                  <a:pt x="1601" y="1232"/>
                </a:lnTo>
                <a:lnTo>
                  <a:pt x="1607" y="1216"/>
                </a:lnTo>
                <a:lnTo>
                  <a:pt x="1611" y="1201"/>
                </a:lnTo>
                <a:lnTo>
                  <a:pt x="1612" y="1193"/>
                </a:lnTo>
                <a:lnTo>
                  <a:pt x="1612" y="1185"/>
                </a:lnTo>
                <a:lnTo>
                  <a:pt x="1612" y="1173"/>
                </a:lnTo>
                <a:lnTo>
                  <a:pt x="1611" y="1168"/>
                </a:lnTo>
                <a:lnTo>
                  <a:pt x="1609" y="1164"/>
                </a:lnTo>
                <a:lnTo>
                  <a:pt x="1608" y="1163"/>
                </a:lnTo>
                <a:lnTo>
                  <a:pt x="1607" y="1163"/>
                </a:lnTo>
                <a:lnTo>
                  <a:pt x="1605" y="1163"/>
                </a:lnTo>
                <a:lnTo>
                  <a:pt x="1602" y="1164"/>
                </a:lnTo>
                <a:lnTo>
                  <a:pt x="1597" y="1169"/>
                </a:lnTo>
                <a:lnTo>
                  <a:pt x="1594" y="1175"/>
                </a:lnTo>
                <a:lnTo>
                  <a:pt x="1591" y="1184"/>
                </a:lnTo>
                <a:lnTo>
                  <a:pt x="1588" y="1192"/>
                </a:lnTo>
                <a:lnTo>
                  <a:pt x="1586" y="1199"/>
                </a:lnTo>
                <a:lnTo>
                  <a:pt x="1583" y="1205"/>
                </a:lnTo>
                <a:lnTo>
                  <a:pt x="1580" y="1207"/>
                </a:lnTo>
                <a:lnTo>
                  <a:pt x="1578" y="1207"/>
                </a:lnTo>
                <a:lnTo>
                  <a:pt x="1576" y="1206"/>
                </a:lnTo>
                <a:lnTo>
                  <a:pt x="1574" y="1204"/>
                </a:lnTo>
                <a:lnTo>
                  <a:pt x="1566" y="1193"/>
                </a:lnTo>
                <a:lnTo>
                  <a:pt x="1560" y="1184"/>
                </a:lnTo>
                <a:lnTo>
                  <a:pt x="1557" y="1182"/>
                </a:lnTo>
                <a:lnTo>
                  <a:pt x="1555" y="1180"/>
                </a:lnTo>
                <a:lnTo>
                  <a:pt x="1552" y="1182"/>
                </a:lnTo>
                <a:lnTo>
                  <a:pt x="1550" y="1187"/>
                </a:lnTo>
                <a:lnTo>
                  <a:pt x="1547" y="1192"/>
                </a:lnTo>
                <a:lnTo>
                  <a:pt x="1543" y="1196"/>
                </a:lnTo>
                <a:lnTo>
                  <a:pt x="1540" y="1199"/>
                </a:lnTo>
                <a:lnTo>
                  <a:pt x="1535" y="1201"/>
                </a:lnTo>
                <a:lnTo>
                  <a:pt x="1532" y="1205"/>
                </a:lnTo>
                <a:lnTo>
                  <a:pt x="1530" y="1207"/>
                </a:lnTo>
                <a:lnTo>
                  <a:pt x="1529" y="1210"/>
                </a:lnTo>
                <a:lnTo>
                  <a:pt x="1529" y="1213"/>
                </a:lnTo>
                <a:lnTo>
                  <a:pt x="1533" y="1223"/>
                </a:lnTo>
                <a:lnTo>
                  <a:pt x="1542" y="1235"/>
                </a:lnTo>
                <a:lnTo>
                  <a:pt x="1549" y="1245"/>
                </a:lnTo>
                <a:lnTo>
                  <a:pt x="1552" y="1253"/>
                </a:lnTo>
                <a:lnTo>
                  <a:pt x="1550" y="1260"/>
                </a:lnTo>
                <a:lnTo>
                  <a:pt x="1546" y="1267"/>
                </a:lnTo>
                <a:lnTo>
                  <a:pt x="1543" y="1271"/>
                </a:lnTo>
                <a:lnTo>
                  <a:pt x="1540" y="1273"/>
                </a:lnTo>
                <a:lnTo>
                  <a:pt x="1538" y="1274"/>
                </a:lnTo>
                <a:lnTo>
                  <a:pt x="1536" y="1274"/>
                </a:lnTo>
                <a:lnTo>
                  <a:pt x="1535" y="1273"/>
                </a:lnTo>
                <a:lnTo>
                  <a:pt x="1533" y="1272"/>
                </a:lnTo>
                <a:lnTo>
                  <a:pt x="1525" y="1265"/>
                </a:lnTo>
                <a:lnTo>
                  <a:pt x="1513" y="1258"/>
                </a:lnTo>
                <a:lnTo>
                  <a:pt x="1504" y="1253"/>
                </a:lnTo>
                <a:lnTo>
                  <a:pt x="1501" y="1251"/>
                </a:lnTo>
                <a:lnTo>
                  <a:pt x="1498" y="1258"/>
                </a:lnTo>
                <a:close/>
                <a:moveTo>
                  <a:pt x="1130" y="1287"/>
                </a:moveTo>
                <a:lnTo>
                  <a:pt x="1136" y="1281"/>
                </a:lnTo>
                <a:lnTo>
                  <a:pt x="1146" y="1273"/>
                </a:lnTo>
                <a:lnTo>
                  <a:pt x="1158" y="1264"/>
                </a:lnTo>
                <a:lnTo>
                  <a:pt x="1173" y="1255"/>
                </a:lnTo>
                <a:lnTo>
                  <a:pt x="1186" y="1245"/>
                </a:lnTo>
                <a:lnTo>
                  <a:pt x="1198" y="1236"/>
                </a:lnTo>
                <a:lnTo>
                  <a:pt x="1203" y="1232"/>
                </a:lnTo>
                <a:lnTo>
                  <a:pt x="1206" y="1228"/>
                </a:lnTo>
                <a:lnTo>
                  <a:pt x="1210" y="1225"/>
                </a:lnTo>
                <a:lnTo>
                  <a:pt x="1211" y="1221"/>
                </a:lnTo>
                <a:lnTo>
                  <a:pt x="1211" y="1216"/>
                </a:lnTo>
                <a:lnTo>
                  <a:pt x="1211" y="1211"/>
                </a:lnTo>
                <a:lnTo>
                  <a:pt x="1210" y="1206"/>
                </a:lnTo>
                <a:lnTo>
                  <a:pt x="1207" y="1199"/>
                </a:lnTo>
                <a:lnTo>
                  <a:pt x="1203" y="1193"/>
                </a:lnTo>
                <a:lnTo>
                  <a:pt x="1197" y="1187"/>
                </a:lnTo>
                <a:lnTo>
                  <a:pt x="1187" y="1179"/>
                </a:lnTo>
                <a:lnTo>
                  <a:pt x="1176" y="1171"/>
                </a:lnTo>
                <a:lnTo>
                  <a:pt x="1159" y="1158"/>
                </a:lnTo>
                <a:lnTo>
                  <a:pt x="1153" y="1152"/>
                </a:lnTo>
                <a:lnTo>
                  <a:pt x="1151" y="1151"/>
                </a:lnTo>
                <a:lnTo>
                  <a:pt x="1150" y="1152"/>
                </a:lnTo>
                <a:lnTo>
                  <a:pt x="1148" y="1155"/>
                </a:lnTo>
                <a:lnTo>
                  <a:pt x="1142" y="1158"/>
                </a:lnTo>
                <a:lnTo>
                  <a:pt x="1136" y="1163"/>
                </a:lnTo>
                <a:lnTo>
                  <a:pt x="1131" y="1166"/>
                </a:lnTo>
                <a:lnTo>
                  <a:pt x="1126" y="1168"/>
                </a:lnTo>
                <a:lnTo>
                  <a:pt x="1121" y="1169"/>
                </a:lnTo>
                <a:lnTo>
                  <a:pt x="1115" y="1170"/>
                </a:lnTo>
                <a:lnTo>
                  <a:pt x="1113" y="1170"/>
                </a:lnTo>
                <a:lnTo>
                  <a:pt x="1111" y="1163"/>
                </a:lnTo>
                <a:lnTo>
                  <a:pt x="1104" y="1148"/>
                </a:lnTo>
                <a:lnTo>
                  <a:pt x="1099" y="1140"/>
                </a:lnTo>
                <a:lnTo>
                  <a:pt x="1093" y="1133"/>
                </a:lnTo>
                <a:lnTo>
                  <a:pt x="1089" y="1130"/>
                </a:lnTo>
                <a:lnTo>
                  <a:pt x="1086" y="1128"/>
                </a:lnTo>
                <a:lnTo>
                  <a:pt x="1082" y="1127"/>
                </a:lnTo>
                <a:lnTo>
                  <a:pt x="1076" y="1127"/>
                </a:lnTo>
                <a:lnTo>
                  <a:pt x="1063" y="1129"/>
                </a:lnTo>
                <a:lnTo>
                  <a:pt x="1054" y="1131"/>
                </a:lnTo>
                <a:lnTo>
                  <a:pt x="1049" y="1133"/>
                </a:lnTo>
                <a:lnTo>
                  <a:pt x="1045" y="1134"/>
                </a:lnTo>
                <a:lnTo>
                  <a:pt x="1036" y="1134"/>
                </a:lnTo>
                <a:lnTo>
                  <a:pt x="1022" y="1134"/>
                </a:lnTo>
                <a:lnTo>
                  <a:pt x="1016" y="1135"/>
                </a:lnTo>
                <a:lnTo>
                  <a:pt x="1010" y="1138"/>
                </a:lnTo>
                <a:lnTo>
                  <a:pt x="1007" y="1139"/>
                </a:lnTo>
                <a:lnTo>
                  <a:pt x="1006" y="1141"/>
                </a:lnTo>
                <a:lnTo>
                  <a:pt x="1005" y="1144"/>
                </a:lnTo>
                <a:lnTo>
                  <a:pt x="1005" y="1147"/>
                </a:lnTo>
                <a:lnTo>
                  <a:pt x="1005" y="1149"/>
                </a:lnTo>
                <a:lnTo>
                  <a:pt x="1006" y="1152"/>
                </a:lnTo>
                <a:lnTo>
                  <a:pt x="1008" y="1154"/>
                </a:lnTo>
                <a:lnTo>
                  <a:pt x="1010" y="1155"/>
                </a:lnTo>
                <a:lnTo>
                  <a:pt x="1015" y="1158"/>
                </a:lnTo>
                <a:lnTo>
                  <a:pt x="1020" y="1161"/>
                </a:lnTo>
                <a:lnTo>
                  <a:pt x="1025" y="1164"/>
                </a:lnTo>
                <a:lnTo>
                  <a:pt x="1028" y="1167"/>
                </a:lnTo>
                <a:lnTo>
                  <a:pt x="1028" y="1169"/>
                </a:lnTo>
                <a:lnTo>
                  <a:pt x="1028" y="1172"/>
                </a:lnTo>
                <a:lnTo>
                  <a:pt x="1028" y="1175"/>
                </a:lnTo>
                <a:lnTo>
                  <a:pt x="1026" y="1179"/>
                </a:lnTo>
                <a:lnTo>
                  <a:pt x="1019" y="1193"/>
                </a:lnTo>
                <a:lnTo>
                  <a:pt x="1011" y="1204"/>
                </a:lnTo>
                <a:lnTo>
                  <a:pt x="1008" y="1207"/>
                </a:lnTo>
                <a:lnTo>
                  <a:pt x="1006" y="1211"/>
                </a:lnTo>
                <a:lnTo>
                  <a:pt x="1005" y="1214"/>
                </a:lnTo>
                <a:lnTo>
                  <a:pt x="1005" y="1217"/>
                </a:lnTo>
                <a:lnTo>
                  <a:pt x="1006" y="1226"/>
                </a:lnTo>
                <a:lnTo>
                  <a:pt x="1008" y="1236"/>
                </a:lnTo>
                <a:lnTo>
                  <a:pt x="1008" y="1241"/>
                </a:lnTo>
                <a:lnTo>
                  <a:pt x="1008" y="1247"/>
                </a:lnTo>
                <a:lnTo>
                  <a:pt x="1007" y="1252"/>
                </a:lnTo>
                <a:lnTo>
                  <a:pt x="1004" y="1256"/>
                </a:lnTo>
                <a:lnTo>
                  <a:pt x="996" y="1266"/>
                </a:lnTo>
                <a:lnTo>
                  <a:pt x="987" y="1280"/>
                </a:lnTo>
                <a:lnTo>
                  <a:pt x="984" y="1286"/>
                </a:lnTo>
                <a:lnTo>
                  <a:pt x="981" y="1293"/>
                </a:lnTo>
                <a:lnTo>
                  <a:pt x="980" y="1298"/>
                </a:lnTo>
                <a:lnTo>
                  <a:pt x="980" y="1302"/>
                </a:lnTo>
                <a:lnTo>
                  <a:pt x="982" y="1310"/>
                </a:lnTo>
                <a:lnTo>
                  <a:pt x="983" y="1319"/>
                </a:lnTo>
                <a:lnTo>
                  <a:pt x="984" y="1323"/>
                </a:lnTo>
                <a:lnTo>
                  <a:pt x="987" y="1327"/>
                </a:lnTo>
                <a:lnTo>
                  <a:pt x="993" y="1332"/>
                </a:lnTo>
                <a:lnTo>
                  <a:pt x="999" y="1339"/>
                </a:lnTo>
                <a:lnTo>
                  <a:pt x="1014" y="1348"/>
                </a:lnTo>
                <a:lnTo>
                  <a:pt x="1025" y="1357"/>
                </a:lnTo>
                <a:lnTo>
                  <a:pt x="1030" y="1361"/>
                </a:lnTo>
                <a:lnTo>
                  <a:pt x="1033" y="1364"/>
                </a:lnTo>
                <a:lnTo>
                  <a:pt x="1036" y="1367"/>
                </a:lnTo>
                <a:lnTo>
                  <a:pt x="1036" y="1371"/>
                </a:lnTo>
                <a:lnTo>
                  <a:pt x="1037" y="1380"/>
                </a:lnTo>
                <a:lnTo>
                  <a:pt x="1039" y="1387"/>
                </a:lnTo>
                <a:lnTo>
                  <a:pt x="1041" y="1390"/>
                </a:lnTo>
                <a:lnTo>
                  <a:pt x="1043" y="1393"/>
                </a:lnTo>
                <a:lnTo>
                  <a:pt x="1045" y="1394"/>
                </a:lnTo>
                <a:lnTo>
                  <a:pt x="1047" y="1394"/>
                </a:lnTo>
                <a:lnTo>
                  <a:pt x="1050" y="1393"/>
                </a:lnTo>
                <a:lnTo>
                  <a:pt x="1054" y="1389"/>
                </a:lnTo>
                <a:lnTo>
                  <a:pt x="1059" y="1383"/>
                </a:lnTo>
                <a:lnTo>
                  <a:pt x="1064" y="1376"/>
                </a:lnTo>
                <a:lnTo>
                  <a:pt x="1072" y="1364"/>
                </a:lnTo>
                <a:lnTo>
                  <a:pt x="1075" y="1358"/>
                </a:lnTo>
                <a:lnTo>
                  <a:pt x="1079" y="1359"/>
                </a:lnTo>
                <a:lnTo>
                  <a:pt x="1086" y="1360"/>
                </a:lnTo>
                <a:lnTo>
                  <a:pt x="1089" y="1359"/>
                </a:lnTo>
                <a:lnTo>
                  <a:pt x="1093" y="1359"/>
                </a:lnTo>
                <a:lnTo>
                  <a:pt x="1095" y="1357"/>
                </a:lnTo>
                <a:lnTo>
                  <a:pt x="1096" y="1353"/>
                </a:lnTo>
                <a:lnTo>
                  <a:pt x="1097" y="1344"/>
                </a:lnTo>
                <a:lnTo>
                  <a:pt x="1099" y="1331"/>
                </a:lnTo>
                <a:lnTo>
                  <a:pt x="1103" y="1319"/>
                </a:lnTo>
                <a:lnTo>
                  <a:pt x="1106" y="1309"/>
                </a:lnTo>
                <a:lnTo>
                  <a:pt x="1119" y="1296"/>
                </a:lnTo>
                <a:lnTo>
                  <a:pt x="1130" y="1287"/>
                </a:lnTo>
                <a:close/>
                <a:moveTo>
                  <a:pt x="1408" y="1198"/>
                </a:moveTo>
                <a:lnTo>
                  <a:pt x="1409" y="1203"/>
                </a:lnTo>
                <a:lnTo>
                  <a:pt x="1413" y="1210"/>
                </a:lnTo>
                <a:lnTo>
                  <a:pt x="1420" y="1217"/>
                </a:lnTo>
                <a:lnTo>
                  <a:pt x="1427" y="1226"/>
                </a:lnTo>
                <a:lnTo>
                  <a:pt x="1436" y="1233"/>
                </a:lnTo>
                <a:lnTo>
                  <a:pt x="1443" y="1237"/>
                </a:lnTo>
                <a:lnTo>
                  <a:pt x="1446" y="1238"/>
                </a:lnTo>
                <a:lnTo>
                  <a:pt x="1449" y="1238"/>
                </a:lnTo>
                <a:lnTo>
                  <a:pt x="1452" y="1238"/>
                </a:lnTo>
                <a:lnTo>
                  <a:pt x="1454" y="1236"/>
                </a:lnTo>
                <a:lnTo>
                  <a:pt x="1458" y="1228"/>
                </a:lnTo>
                <a:lnTo>
                  <a:pt x="1462" y="1222"/>
                </a:lnTo>
                <a:lnTo>
                  <a:pt x="1464" y="1219"/>
                </a:lnTo>
                <a:lnTo>
                  <a:pt x="1464" y="1215"/>
                </a:lnTo>
                <a:lnTo>
                  <a:pt x="1462" y="1211"/>
                </a:lnTo>
                <a:lnTo>
                  <a:pt x="1460" y="1204"/>
                </a:lnTo>
                <a:lnTo>
                  <a:pt x="1456" y="1197"/>
                </a:lnTo>
                <a:lnTo>
                  <a:pt x="1453" y="1193"/>
                </a:lnTo>
                <a:lnTo>
                  <a:pt x="1448" y="1190"/>
                </a:lnTo>
                <a:lnTo>
                  <a:pt x="1445" y="1188"/>
                </a:lnTo>
                <a:lnTo>
                  <a:pt x="1441" y="1188"/>
                </a:lnTo>
                <a:lnTo>
                  <a:pt x="1438" y="1188"/>
                </a:lnTo>
                <a:lnTo>
                  <a:pt x="1434" y="1189"/>
                </a:lnTo>
                <a:lnTo>
                  <a:pt x="1428" y="1191"/>
                </a:lnTo>
                <a:lnTo>
                  <a:pt x="1413" y="1196"/>
                </a:lnTo>
                <a:lnTo>
                  <a:pt x="1408" y="1198"/>
                </a:lnTo>
                <a:close/>
                <a:moveTo>
                  <a:pt x="1507" y="1516"/>
                </a:moveTo>
                <a:lnTo>
                  <a:pt x="1498" y="1505"/>
                </a:lnTo>
                <a:lnTo>
                  <a:pt x="1487" y="1494"/>
                </a:lnTo>
                <a:lnTo>
                  <a:pt x="1483" y="1489"/>
                </a:lnTo>
                <a:lnTo>
                  <a:pt x="1481" y="1483"/>
                </a:lnTo>
                <a:lnTo>
                  <a:pt x="1480" y="1481"/>
                </a:lnTo>
                <a:lnTo>
                  <a:pt x="1480" y="1479"/>
                </a:lnTo>
                <a:lnTo>
                  <a:pt x="1481" y="1477"/>
                </a:lnTo>
                <a:lnTo>
                  <a:pt x="1482" y="1476"/>
                </a:lnTo>
                <a:lnTo>
                  <a:pt x="1487" y="1474"/>
                </a:lnTo>
                <a:lnTo>
                  <a:pt x="1494" y="1472"/>
                </a:lnTo>
                <a:lnTo>
                  <a:pt x="1503" y="1472"/>
                </a:lnTo>
                <a:lnTo>
                  <a:pt x="1511" y="1471"/>
                </a:lnTo>
                <a:lnTo>
                  <a:pt x="1519" y="1470"/>
                </a:lnTo>
                <a:lnTo>
                  <a:pt x="1526" y="1468"/>
                </a:lnTo>
                <a:lnTo>
                  <a:pt x="1528" y="1467"/>
                </a:lnTo>
                <a:lnTo>
                  <a:pt x="1529" y="1465"/>
                </a:lnTo>
                <a:lnTo>
                  <a:pt x="1530" y="1463"/>
                </a:lnTo>
                <a:lnTo>
                  <a:pt x="1530" y="1461"/>
                </a:lnTo>
                <a:lnTo>
                  <a:pt x="1526" y="1455"/>
                </a:lnTo>
                <a:lnTo>
                  <a:pt x="1518" y="1445"/>
                </a:lnTo>
                <a:lnTo>
                  <a:pt x="1507" y="1432"/>
                </a:lnTo>
                <a:lnTo>
                  <a:pt x="1493" y="1418"/>
                </a:lnTo>
                <a:lnTo>
                  <a:pt x="1481" y="1404"/>
                </a:lnTo>
                <a:lnTo>
                  <a:pt x="1469" y="1391"/>
                </a:lnTo>
                <a:lnTo>
                  <a:pt x="1461" y="1381"/>
                </a:lnTo>
                <a:lnTo>
                  <a:pt x="1458" y="1373"/>
                </a:lnTo>
                <a:lnTo>
                  <a:pt x="1454" y="1355"/>
                </a:lnTo>
                <a:lnTo>
                  <a:pt x="1447" y="1330"/>
                </a:lnTo>
                <a:lnTo>
                  <a:pt x="1441" y="1306"/>
                </a:lnTo>
                <a:lnTo>
                  <a:pt x="1437" y="1294"/>
                </a:lnTo>
                <a:lnTo>
                  <a:pt x="1435" y="1284"/>
                </a:lnTo>
                <a:lnTo>
                  <a:pt x="1434" y="1271"/>
                </a:lnTo>
                <a:lnTo>
                  <a:pt x="1433" y="1258"/>
                </a:lnTo>
                <a:lnTo>
                  <a:pt x="1433" y="1252"/>
                </a:lnTo>
                <a:lnTo>
                  <a:pt x="1425" y="1249"/>
                </a:lnTo>
                <a:lnTo>
                  <a:pt x="1408" y="1241"/>
                </a:lnTo>
                <a:lnTo>
                  <a:pt x="1399" y="1238"/>
                </a:lnTo>
                <a:lnTo>
                  <a:pt x="1391" y="1237"/>
                </a:lnTo>
                <a:lnTo>
                  <a:pt x="1388" y="1237"/>
                </a:lnTo>
                <a:lnTo>
                  <a:pt x="1384" y="1238"/>
                </a:lnTo>
                <a:lnTo>
                  <a:pt x="1383" y="1239"/>
                </a:lnTo>
                <a:lnTo>
                  <a:pt x="1382" y="1242"/>
                </a:lnTo>
                <a:lnTo>
                  <a:pt x="1381" y="1255"/>
                </a:lnTo>
                <a:lnTo>
                  <a:pt x="1380" y="1267"/>
                </a:lnTo>
                <a:lnTo>
                  <a:pt x="1380" y="1274"/>
                </a:lnTo>
                <a:lnTo>
                  <a:pt x="1380" y="1279"/>
                </a:lnTo>
                <a:lnTo>
                  <a:pt x="1382" y="1285"/>
                </a:lnTo>
                <a:lnTo>
                  <a:pt x="1386" y="1291"/>
                </a:lnTo>
                <a:lnTo>
                  <a:pt x="1394" y="1301"/>
                </a:lnTo>
                <a:lnTo>
                  <a:pt x="1401" y="1313"/>
                </a:lnTo>
                <a:lnTo>
                  <a:pt x="1403" y="1319"/>
                </a:lnTo>
                <a:lnTo>
                  <a:pt x="1404" y="1323"/>
                </a:lnTo>
                <a:lnTo>
                  <a:pt x="1404" y="1327"/>
                </a:lnTo>
                <a:lnTo>
                  <a:pt x="1403" y="1330"/>
                </a:lnTo>
                <a:lnTo>
                  <a:pt x="1394" y="1337"/>
                </a:lnTo>
                <a:lnTo>
                  <a:pt x="1380" y="1343"/>
                </a:lnTo>
                <a:lnTo>
                  <a:pt x="1374" y="1345"/>
                </a:lnTo>
                <a:lnTo>
                  <a:pt x="1368" y="1346"/>
                </a:lnTo>
                <a:lnTo>
                  <a:pt x="1366" y="1345"/>
                </a:lnTo>
                <a:lnTo>
                  <a:pt x="1364" y="1344"/>
                </a:lnTo>
                <a:lnTo>
                  <a:pt x="1361" y="1342"/>
                </a:lnTo>
                <a:lnTo>
                  <a:pt x="1361" y="1340"/>
                </a:lnTo>
                <a:lnTo>
                  <a:pt x="1360" y="1322"/>
                </a:lnTo>
                <a:lnTo>
                  <a:pt x="1361" y="1299"/>
                </a:lnTo>
                <a:lnTo>
                  <a:pt x="1361" y="1288"/>
                </a:lnTo>
                <a:lnTo>
                  <a:pt x="1359" y="1280"/>
                </a:lnTo>
                <a:lnTo>
                  <a:pt x="1358" y="1277"/>
                </a:lnTo>
                <a:lnTo>
                  <a:pt x="1357" y="1274"/>
                </a:lnTo>
                <a:lnTo>
                  <a:pt x="1354" y="1273"/>
                </a:lnTo>
                <a:lnTo>
                  <a:pt x="1352" y="1272"/>
                </a:lnTo>
                <a:lnTo>
                  <a:pt x="1349" y="1273"/>
                </a:lnTo>
                <a:lnTo>
                  <a:pt x="1346" y="1274"/>
                </a:lnTo>
                <a:lnTo>
                  <a:pt x="1343" y="1277"/>
                </a:lnTo>
                <a:lnTo>
                  <a:pt x="1338" y="1280"/>
                </a:lnTo>
                <a:lnTo>
                  <a:pt x="1332" y="1287"/>
                </a:lnTo>
                <a:lnTo>
                  <a:pt x="1326" y="1296"/>
                </a:lnTo>
                <a:lnTo>
                  <a:pt x="1320" y="1304"/>
                </a:lnTo>
                <a:lnTo>
                  <a:pt x="1313" y="1309"/>
                </a:lnTo>
                <a:lnTo>
                  <a:pt x="1310" y="1310"/>
                </a:lnTo>
                <a:lnTo>
                  <a:pt x="1308" y="1311"/>
                </a:lnTo>
                <a:lnTo>
                  <a:pt x="1305" y="1310"/>
                </a:lnTo>
                <a:lnTo>
                  <a:pt x="1303" y="1308"/>
                </a:lnTo>
                <a:lnTo>
                  <a:pt x="1299" y="1302"/>
                </a:lnTo>
                <a:lnTo>
                  <a:pt x="1296" y="1294"/>
                </a:lnTo>
                <a:lnTo>
                  <a:pt x="1294" y="1285"/>
                </a:lnTo>
                <a:lnTo>
                  <a:pt x="1293" y="1277"/>
                </a:lnTo>
                <a:lnTo>
                  <a:pt x="1293" y="1269"/>
                </a:lnTo>
                <a:lnTo>
                  <a:pt x="1292" y="1261"/>
                </a:lnTo>
                <a:lnTo>
                  <a:pt x="1290" y="1256"/>
                </a:lnTo>
                <a:lnTo>
                  <a:pt x="1288" y="1252"/>
                </a:lnTo>
                <a:lnTo>
                  <a:pt x="1286" y="1252"/>
                </a:lnTo>
                <a:lnTo>
                  <a:pt x="1284" y="1252"/>
                </a:lnTo>
                <a:lnTo>
                  <a:pt x="1281" y="1254"/>
                </a:lnTo>
                <a:lnTo>
                  <a:pt x="1278" y="1256"/>
                </a:lnTo>
                <a:lnTo>
                  <a:pt x="1270" y="1262"/>
                </a:lnTo>
                <a:lnTo>
                  <a:pt x="1262" y="1269"/>
                </a:lnTo>
                <a:lnTo>
                  <a:pt x="1255" y="1276"/>
                </a:lnTo>
                <a:lnTo>
                  <a:pt x="1247" y="1280"/>
                </a:lnTo>
                <a:lnTo>
                  <a:pt x="1245" y="1281"/>
                </a:lnTo>
                <a:lnTo>
                  <a:pt x="1242" y="1282"/>
                </a:lnTo>
                <a:lnTo>
                  <a:pt x="1240" y="1281"/>
                </a:lnTo>
                <a:lnTo>
                  <a:pt x="1239" y="1279"/>
                </a:lnTo>
                <a:lnTo>
                  <a:pt x="1238" y="1273"/>
                </a:lnTo>
                <a:lnTo>
                  <a:pt x="1237" y="1264"/>
                </a:lnTo>
                <a:lnTo>
                  <a:pt x="1238" y="1257"/>
                </a:lnTo>
                <a:lnTo>
                  <a:pt x="1238" y="1249"/>
                </a:lnTo>
                <a:lnTo>
                  <a:pt x="1238" y="1241"/>
                </a:lnTo>
                <a:lnTo>
                  <a:pt x="1238" y="1236"/>
                </a:lnTo>
                <a:lnTo>
                  <a:pt x="1237" y="1235"/>
                </a:lnTo>
                <a:lnTo>
                  <a:pt x="1236" y="1234"/>
                </a:lnTo>
                <a:lnTo>
                  <a:pt x="1235" y="1233"/>
                </a:lnTo>
                <a:lnTo>
                  <a:pt x="1233" y="1234"/>
                </a:lnTo>
                <a:lnTo>
                  <a:pt x="1217" y="1240"/>
                </a:lnTo>
                <a:lnTo>
                  <a:pt x="1191" y="1252"/>
                </a:lnTo>
                <a:lnTo>
                  <a:pt x="1178" y="1259"/>
                </a:lnTo>
                <a:lnTo>
                  <a:pt x="1168" y="1265"/>
                </a:lnTo>
                <a:lnTo>
                  <a:pt x="1163" y="1270"/>
                </a:lnTo>
                <a:lnTo>
                  <a:pt x="1160" y="1273"/>
                </a:lnTo>
                <a:lnTo>
                  <a:pt x="1158" y="1276"/>
                </a:lnTo>
                <a:lnTo>
                  <a:pt x="1158" y="1279"/>
                </a:lnTo>
                <a:lnTo>
                  <a:pt x="1159" y="1299"/>
                </a:lnTo>
                <a:lnTo>
                  <a:pt x="1158" y="1307"/>
                </a:lnTo>
                <a:lnTo>
                  <a:pt x="1152" y="1309"/>
                </a:lnTo>
                <a:lnTo>
                  <a:pt x="1138" y="1314"/>
                </a:lnTo>
                <a:lnTo>
                  <a:pt x="1132" y="1318"/>
                </a:lnTo>
                <a:lnTo>
                  <a:pt x="1127" y="1322"/>
                </a:lnTo>
                <a:lnTo>
                  <a:pt x="1125" y="1324"/>
                </a:lnTo>
                <a:lnTo>
                  <a:pt x="1124" y="1326"/>
                </a:lnTo>
                <a:lnTo>
                  <a:pt x="1124" y="1328"/>
                </a:lnTo>
                <a:lnTo>
                  <a:pt x="1124" y="1331"/>
                </a:lnTo>
                <a:lnTo>
                  <a:pt x="1128" y="1337"/>
                </a:lnTo>
                <a:lnTo>
                  <a:pt x="1134" y="1344"/>
                </a:lnTo>
                <a:lnTo>
                  <a:pt x="1141" y="1350"/>
                </a:lnTo>
                <a:lnTo>
                  <a:pt x="1149" y="1357"/>
                </a:lnTo>
                <a:lnTo>
                  <a:pt x="1157" y="1362"/>
                </a:lnTo>
                <a:lnTo>
                  <a:pt x="1164" y="1366"/>
                </a:lnTo>
                <a:lnTo>
                  <a:pt x="1172" y="1369"/>
                </a:lnTo>
                <a:lnTo>
                  <a:pt x="1176" y="1369"/>
                </a:lnTo>
                <a:lnTo>
                  <a:pt x="1180" y="1367"/>
                </a:lnTo>
                <a:lnTo>
                  <a:pt x="1185" y="1363"/>
                </a:lnTo>
                <a:lnTo>
                  <a:pt x="1191" y="1358"/>
                </a:lnTo>
                <a:lnTo>
                  <a:pt x="1196" y="1352"/>
                </a:lnTo>
                <a:lnTo>
                  <a:pt x="1200" y="1347"/>
                </a:lnTo>
                <a:lnTo>
                  <a:pt x="1204" y="1344"/>
                </a:lnTo>
                <a:lnTo>
                  <a:pt x="1206" y="1344"/>
                </a:lnTo>
                <a:lnTo>
                  <a:pt x="1207" y="1344"/>
                </a:lnTo>
                <a:lnTo>
                  <a:pt x="1208" y="1345"/>
                </a:lnTo>
                <a:lnTo>
                  <a:pt x="1210" y="1346"/>
                </a:lnTo>
                <a:lnTo>
                  <a:pt x="1210" y="1352"/>
                </a:lnTo>
                <a:lnTo>
                  <a:pt x="1206" y="1358"/>
                </a:lnTo>
                <a:lnTo>
                  <a:pt x="1203" y="1364"/>
                </a:lnTo>
                <a:lnTo>
                  <a:pt x="1199" y="1369"/>
                </a:lnTo>
                <a:lnTo>
                  <a:pt x="1190" y="1379"/>
                </a:lnTo>
                <a:lnTo>
                  <a:pt x="1185" y="1383"/>
                </a:lnTo>
                <a:lnTo>
                  <a:pt x="1179" y="1379"/>
                </a:lnTo>
                <a:lnTo>
                  <a:pt x="1167" y="1373"/>
                </a:lnTo>
                <a:lnTo>
                  <a:pt x="1162" y="1372"/>
                </a:lnTo>
                <a:lnTo>
                  <a:pt x="1159" y="1372"/>
                </a:lnTo>
                <a:lnTo>
                  <a:pt x="1156" y="1372"/>
                </a:lnTo>
                <a:lnTo>
                  <a:pt x="1153" y="1373"/>
                </a:lnTo>
                <a:lnTo>
                  <a:pt x="1151" y="1374"/>
                </a:lnTo>
                <a:lnTo>
                  <a:pt x="1149" y="1376"/>
                </a:lnTo>
                <a:lnTo>
                  <a:pt x="1148" y="1380"/>
                </a:lnTo>
                <a:lnTo>
                  <a:pt x="1148" y="1385"/>
                </a:lnTo>
                <a:lnTo>
                  <a:pt x="1149" y="1394"/>
                </a:lnTo>
                <a:lnTo>
                  <a:pt x="1152" y="1403"/>
                </a:lnTo>
                <a:lnTo>
                  <a:pt x="1156" y="1411"/>
                </a:lnTo>
                <a:lnTo>
                  <a:pt x="1161" y="1417"/>
                </a:lnTo>
                <a:lnTo>
                  <a:pt x="1167" y="1423"/>
                </a:lnTo>
                <a:lnTo>
                  <a:pt x="1173" y="1427"/>
                </a:lnTo>
                <a:lnTo>
                  <a:pt x="1178" y="1429"/>
                </a:lnTo>
                <a:lnTo>
                  <a:pt x="1182" y="1429"/>
                </a:lnTo>
                <a:lnTo>
                  <a:pt x="1196" y="1425"/>
                </a:lnTo>
                <a:lnTo>
                  <a:pt x="1218" y="1418"/>
                </a:lnTo>
                <a:lnTo>
                  <a:pt x="1229" y="1416"/>
                </a:lnTo>
                <a:lnTo>
                  <a:pt x="1243" y="1414"/>
                </a:lnTo>
                <a:lnTo>
                  <a:pt x="1255" y="1413"/>
                </a:lnTo>
                <a:lnTo>
                  <a:pt x="1267" y="1414"/>
                </a:lnTo>
                <a:lnTo>
                  <a:pt x="1277" y="1416"/>
                </a:lnTo>
                <a:lnTo>
                  <a:pt x="1286" y="1418"/>
                </a:lnTo>
                <a:lnTo>
                  <a:pt x="1292" y="1420"/>
                </a:lnTo>
                <a:lnTo>
                  <a:pt x="1298" y="1424"/>
                </a:lnTo>
                <a:lnTo>
                  <a:pt x="1301" y="1426"/>
                </a:lnTo>
                <a:lnTo>
                  <a:pt x="1302" y="1429"/>
                </a:lnTo>
                <a:lnTo>
                  <a:pt x="1301" y="1432"/>
                </a:lnTo>
                <a:lnTo>
                  <a:pt x="1298" y="1436"/>
                </a:lnTo>
                <a:lnTo>
                  <a:pt x="1293" y="1438"/>
                </a:lnTo>
                <a:lnTo>
                  <a:pt x="1287" y="1439"/>
                </a:lnTo>
                <a:lnTo>
                  <a:pt x="1282" y="1439"/>
                </a:lnTo>
                <a:lnTo>
                  <a:pt x="1274" y="1438"/>
                </a:lnTo>
                <a:lnTo>
                  <a:pt x="1267" y="1437"/>
                </a:lnTo>
                <a:lnTo>
                  <a:pt x="1259" y="1436"/>
                </a:lnTo>
                <a:lnTo>
                  <a:pt x="1249" y="1436"/>
                </a:lnTo>
                <a:lnTo>
                  <a:pt x="1239" y="1438"/>
                </a:lnTo>
                <a:lnTo>
                  <a:pt x="1227" y="1439"/>
                </a:lnTo>
                <a:lnTo>
                  <a:pt x="1215" y="1440"/>
                </a:lnTo>
                <a:lnTo>
                  <a:pt x="1202" y="1441"/>
                </a:lnTo>
                <a:lnTo>
                  <a:pt x="1190" y="1441"/>
                </a:lnTo>
                <a:lnTo>
                  <a:pt x="1179" y="1441"/>
                </a:lnTo>
                <a:lnTo>
                  <a:pt x="1171" y="1443"/>
                </a:lnTo>
                <a:lnTo>
                  <a:pt x="1168" y="1445"/>
                </a:lnTo>
                <a:lnTo>
                  <a:pt x="1165" y="1447"/>
                </a:lnTo>
                <a:lnTo>
                  <a:pt x="1164" y="1449"/>
                </a:lnTo>
                <a:lnTo>
                  <a:pt x="1165" y="1451"/>
                </a:lnTo>
                <a:lnTo>
                  <a:pt x="1169" y="1463"/>
                </a:lnTo>
                <a:lnTo>
                  <a:pt x="1175" y="1475"/>
                </a:lnTo>
                <a:lnTo>
                  <a:pt x="1179" y="1480"/>
                </a:lnTo>
                <a:lnTo>
                  <a:pt x="1183" y="1485"/>
                </a:lnTo>
                <a:lnTo>
                  <a:pt x="1187" y="1489"/>
                </a:lnTo>
                <a:lnTo>
                  <a:pt x="1193" y="1492"/>
                </a:lnTo>
                <a:lnTo>
                  <a:pt x="1200" y="1494"/>
                </a:lnTo>
                <a:lnTo>
                  <a:pt x="1208" y="1495"/>
                </a:lnTo>
                <a:lnTo>
                  <a:pt x="1219" y="1494"/>
                </a:lnTo>
                <a:lnTo>
                  <a:pt x="1230" y="1494"/>
                </a:lnTo>
                <a:lnTo>
                  <a:pt x="1241" y="1494"/>
                </a:lnTo>
                <a:lnTo>
                  <a:pt x="1249" y="1495"/>
                </a:lnTo>
                <a:lnTo>
                  <a:pt x="1252" y="1496"/>
                </a:lnTo>
                <a:lnTo>
                  <a:pt x="1256" y="1497"/>
                </a:lnTo>
                <a:lnTo>
                  <a:pt x="1258" y="1499"/>
                </a:lnTo>
                <a:lnTo>
                  <a:pt x="1259" y="1501"/>
                </a:lnTo>
                <a:lnTo>
                  <a:pt x="1260" y="1515"/>
                </a:lnTo>
                <a:lnTo>
                  <a:pt x="1262" y="1528"/>
                </a:lnTo>
                <a:lnTo>
                  <a:pt x="1264" y="1539"/>
                </a:lnTo>
                <a:lnTo>
                  <a:pt x="1265" y="1543"/>
                </a:lnTo>
                <a:lnTo>
                  <a:pt x="1272" y="1544"/>
                </a:lnTo>
                <a:lnTo>
                  <a:pt x="1291" y="1544"/>
                </a:lnTo>
                <a:lnTo>
                  <a:pt x="1302" y="1544"/>
                </a:lnTo>
                <a:lnTo>
                  <a:pt x="1311" y="1543"/>
                </a:lnTo>
                <a:lnTo>
                  <a:pt x="1320" y="1542"/>
                </a:lnTo>
                <a:lnTo>
                  <a:pt x="1326" y="1540"/>
                </a:lnTo>
                <a:lnTo>
                  <a:pt x="1338" y="1536"/>
                </a:lnTo>
                <a:lnTo>
                  <a:pt x="1354" y="1531"/>
                </a:lnTo>
                <a:lnTo>
                  <a:pt x="1362" y="1528"/>
                </a:lnTo>
                <a:lnTo>
                  <a:pt x="1370" y="1525"/>
                </a:lnTo>
                <a:lnTo>
                  <a:pt x="1378" y="1521"/>
                </a:lnTo>
                <a:lnTo>
                  <a:pt x="1384" y="1516"/>
                </a:lnTo>
                <a:lnTo>
                  <a:pt x="1395" y="1504"/>
                </a:lnTo>
                <a:lnTo>
                  <a:pt x="1403" y="1496"/>
                </a:lnTo>
                <a:lnTo>
                  <a:pt x="1409" y="1494"/>
                </a:lnTo>
                <a:lnTo>
                  <a:pt x="1413" y="1494"/>
                </a:lnTo>
                <a:lnTo>
                  <a:pt x="1419" y="1496"/>
                </a:lnTo>
                <a:lnTo>
                  <a:pt x="1426" y="1500"/>
                </a:lnTo>
                <a:lnTo>
                  <a:pt x="1435" y="1506"/>
                </a:lnTo>
                <a:lnTo>
                  <a:pt x="1444" y="1512"/>
                </a:lnTo>
                <a:lnTo>
                  <a:pt x="1454" y="1516"/>
                </a:lnTo>
                <a:lnTo>
                  <a:pt x="1463" y="1519"/>
                </a:lnTo>
                <a:lnTo>
                  <a:pt x="1478" y="1523"/>
                </a:lnTo>
                <a:lnTo>
                  <a:pt x="1487" y="1525"/>
                </a:lnTo>
                <a:lnTo>
                  <a:pt x="1492" y="1524"/>
                </a:lnTo>
                <a:lnTo>
                  <a:pt x="1499" y="1521"/>
                </a:lnTo>
                <a:lnTo>
                  <a:pt x="1504" y="1518"/>
                </a:lnTo>
                <a:lnTo>
                  <a:pt x="1507" y="1516"/>
                </a:lnTo>
                <a:close/>
                <a:moveTo>
                  <a:pt x="2165" y="3195"/>
                </a:moveTo>
                <a:lnTo>
                  <a:pt x="2154" y="3200"/>
                </a:lnTo>
                <a:lnTo>
                  <a:pt x="2136" y="3205"/>
                </a:lnTo>
                <a:lnTo>
                  <a:pt x="2127" y="3208"/>
                </a:lnTo>
                <a:lnTo>
                  <a:pt x="2122" y="3211"/>
                </a:lnTo>
                <a:lnTo>
                  <a:pt x="2120" y="3213"/>
                </a:lnTo>
                <a:lnTo>
                  <a:pt x="2120" y="3216"/>
                </a:lnTo>
                <a:lnTo>
                  <a:pt x="2120" y="3218"/>
                </a:lnTo>
                <a:lnTo>
                  <a:pt x="2122" y="3220"/>
                </a:lnTo>
                <a:lnTo>
                  <a:pt x="2126" y="3226"/>
                </a:lnTo>
                <a:lnTo>
                  <a:pt x="2132" y="3229"/>
                </a:lnTo>
                <a:lnTo>
                  <a:pt x="2137" y="3230"/>
                </a:lnTo>
                <a:lnTo>
                  <a:pt x="2142" y="3231"/>
                </a:lnTo>
                <a:lnTo>
                  <a:pt x="2152" y="3231"/>
                </a:lnTo>
                <a:lnTo>
                  <a:pt x="2162" y="3233"/>
                </a:lnTo>
                <a:lnTo>
                  <a:pt x="2172" y="3237"/>
                </a:lnTo>
                <a:lnTo>
                  <a:pt x="2184" y="3240"/>
                </a:lnTo>
                <a:lnTo>
                  <a:pt x="2189" y="3241"/>
                </a:lnTo>
                <a:lnTo>
                  <a:pt x="2193" y="3242"/>
                </a:lnTo>
                <a:lnTo>
                  <a:pt x="2196" y="3242"/>
                </a:lnTo>
                <a:lnTo>
                  <a:pt x="2199" y="3240"/>
                </a:lnTo>
                <a:lnTo>
                  <a:pt x="2200" y="3236"/>
                </a:lnTo>
                <a:lnTo>
                  <a:pt x="2202" y="3231"/>
                </a:lnTo>
                <a:lnTo>
                  <a:pt x="2203" y="3229"/>
                </a:lnTo>
                <a:lnTo>
                  <a:pt x="2205" y="3228"/>
                </a:lnTo>
                <a:lnTo>
                  <a:pt x="2207" y="3227"/>
                </a:lnTo>
                <a:lnTo>
                  <a:pt x="2210" y="3227"/>
                </a:lnTo>
                <a:lnTo>
                  <a:pt x="2222" y="3227"/>
                </a:lnTo>
                <a:lnTo>
                  <a:pt x="2238" y="3225"/>
                </a:lnTo>
                <a:lnTo>
                  <a:pt x="2247" y="3224"/>
                </a:lnTo>
                <a:lnTo>
                  <a:pt x="2253" y="3222"/>
                </a:lnTo>
                <a:lnTo>
                  <a:pt x="2257" y="3219"/>
                </a:lnTo>
                <a:lnTo>
                  <a:pt x="2257" y="3218"/>
                </a:lnTo>
                <a:lnTo>
                  <a:pt x="2251" y="3212"/>
                </a:lnTo>
                <a:lnTo>
                  <a:pt x="2237" y="3202"/>
                </a:lnTo>
                <a:lnTo>
                  <a:pt x="2229" y="3196"/>
                </a:lnTo>
                <a:lnTo>
                  <a:pt x="2222" y="3192"/>
                </a:lnTo>
                <a:lnTo>
                  <a:pt x="2213" y="3189"/>
                </a:lnTo>
                <a:lnTo>
                  <a:pt x="2207" y="3188"/>
                </a:lnTo>
                <a:lnTo>
                  <a:pt x="2198" y="3188"/>
                </a:lnTo>
                <a:lnTo>
                  <a:pt x="2190" y="3188"/>
                </a:lnTo>
                <a:lnTo>
                  <a:pt x="2188" y="3189"/>
                </a:lnTo>
                <a:lnTo>
                  <a:pt x="2185" y="3190"/>
                </a:lnTo>
                <a:lnTo>
                  <a:pt x="2183" y="3191"/>
                </a:lnTo>
                <a:lnTo>
                  <a:pt x="2181" y="3194"/>
                </a:lnTo>
                <a:lnTo>
                  <a:pt x="2179" y="3196"/>
                </a:lnTo>
                <a:lnTo>
                  <a:pt x="2176" y="3197"/>
                </a:lnTo>
                <a:lnTo>
                  <a:pt x="2173" y="3197"/>
                </a:lnTo>
                <a:lnTo>
                  <a:pt x="2170" y="3197"/>
                </a:lnTo>
                <a:lnTo>
                  <a:pt x="2167" y="3196"/>
                </a:lnTo>
                <a:lnTo>
                  <a:pt x="2165" y="3195"/>
                </a:lnTo>
                <a:close/>
                <a:moveTo>
                  <a:pt x="1907" y="3132"/>
                </a:moveTo>
                <a:lnTo>
                  <a:pt x="1918" y="3124"/>
                </a:lnTo>
                <a:lnTo>
                  <a:pt x="1936" y="3112"/>
                </a:lnTo>
                <a:lnTo>
                  <a:pt x="1946" y="3106"/>
                </a:lnTo>
                <a:lnTo>
                  <a:pt x="1956" y="3103"/>
                </a:lnTo>
                <a:lnTo>
                  <a:pt x="1960" y="3102"/>
                </a:lnTo>
                <a:lnTo>
                  <a:pt x="1964" y="3102"/>
                </a:lnTo>
                <a:lnTo>
                  <a:pt x="1967" y="3103"/>
                </a:lnTo>
                <a:lnTo>
                  <a:pt x="1970" y="3105"/>
                </a:lnTo>
                <a:lnTo>
                  <a:pt x="1975" y="3109"/>
                </a:lnTo>
                <a:lnTo>
                  <a:pt x="1983" y="3113"/>
                </a:lnTo>
                <a:lnTo>
                  <a:pt x="1991" y="3115"/>
                </a:lnTo>
                <a:lnTo>
                  <a:pt x="2000" y="3115"/>
                </a:lnTo>
                <a:lnTo>
                  <a:pt x="2015" y="3116"/>
                </a:lnTo>
                <a:lnTo>
                  <a:pt x="2027" y="3118"/>
                </a:lnTo>
                <a:lnTo>
                  <a:pt x="2040" y="3123"/>
                </a:lnTo>
                <a:lnTo>
                  <a:pt x="2062" y="3132"/>
                </a:lnTo>
                <a:lnTo>
                  <a:pt x="2073" y="3138"/>
                </a:lnTo>
                <a:lnTo>
                  <a:pt x="2083" y="3144"/>
                </a:lnTo>
                <a:lnTo>
                  <a:pt x="2092" y="3149"/>
                </a:lnTo>
                <a:lnTo>
                  <a:pt x="2096" y="3154"/>
                </a:lnTo>
                <a:lnTo>
                  <a:pt x="2103" y="3164"/>
                </a:lnTo>
                <a:lnTo>
                  <a:pt x="2112" y="3172"/>
                </a:lnTo>
                <a:lnTo>
                  <a:pt x="2114" y="3175"/>
                </a:lnTo>
                <a:lnTo>
                  <a:pt x="2115" y="3179"/>
                </a:lnTo>
                <a:lnTo>
                  <a:pt x="2114" y="3181"/>
                </a:lnTo>
                <a:lnTo>
                  <a:pt x="2114" y="3182"/>
                </a:lnTo>
                <a:lnTo>
                  <a:pt x="2112" y="3184"/>
                </a:lnTo>
                <a:lnTo>
                  <a:pt x="2110" y="3185"/>
                </a:lnTo>
                <a:lnTo>
                  <a:pt x="2103" y="3187"/>
                </a:lnTo>
                <a:lnTo>
                  <a:pt x="2095" y="3189"/>
                </a:lnTo>
                <a:lnTo>
                  <a:pt x="2086" y="3190"/>
                </a:lnTo>
                <a:lnTo>
                  <a:pt x="2076" y="3190"/>
                </a:lnTo>
                <a:lnTo>
                  <a:pt x="2067" y="3189"/>
                </a:lnTo>
                <a:lnTo>
                  <a:pt x="2057" y="3188"/>
                </a:lnTo>
                <a:lnTo>
                  <a:pt x="2049" y="3184"/>
                </a:lnTo>
                <a:lnTo>
                  <a:pt x="2042" y="3180"/>
                </a:lnTo>
                <a:lnTo>
                  <a:pt x="2030" y="3168"/>
                </a:lnTo>
                <a:lnTo>
                  <a:pt x="2016" y="3158"/>
                </a:lnTo>
                <a:lnTo>
                  <a:pt x="2009" y="3153"/>
                </a:lnTo>
                <a:lnTo>
                  <a:pt x="2003" y="3150"/>
                </a:lnTo>
                <a:lnTo>
                  <a:pt x="1996" y="3148"/>
                </a:lnTo>
                <a:lnTo>
                  <a:pt x="1990" y="3147"/>
                </a:lnTo>
                <a:lnTo>
                  <a:pt x="1976" y="3145"/>
                </a:lnTo>
                <a:lnTo>
                  <a:pt x="1960" y="3142"/>
                </a:lnTo>
                <a:lnTo>
                  <a:pt x="1952" y="3141"/>
                </a:lnTo>
                <a:lnTo>
                  <a:pt x="1945" y="3141"/>
                </a:lnTo>
                <a:lnTo>
                  <a:pt x="1941" y="3141"/>
                </a:lnTo>
                <a:lnTo>
                  <a:pt x="1938" y="3142"/>
                </a:lnTo>
                <a:lnTo>
                  <a:pt x="1937" y="3143"/>
                </a:lnTo>
                <a:lnTo>
                  <a:pt x="1937" y="3145"/>
                </a:lnTo>
                <a:lnTo>
                  <a:pt x="1938" y="3147"/>
                </a:lnTo>
                <a:lnTo>
                  <a:pt x="1939" y="3148"/>
                </a:lnTo>
                <a:lnTo>
                  <a:pt x="1939" y="3150"/>
                </a:lnTo>
                <a:lnTo>
                  <a:pt x="1938" y="3151"/>
                </a:lnTo>
                <a:lnTo>
                  <a:pt x="1936" y="3151"/>
                </a:lnTo>
                <a:lnTo>
                  <a:pt x="1931" y="3151"/>
                </a:lnTo>
                <a:lnTo>
                  <a:pt x="1921" y="3149"/>
                </a:lnTo>
                <a:lnTo>
                  <a:pt x="1914" y="3146"/>
                </a:lnTo>
                <a:lnTo>
                  <a:pt x="1907" y="3144"/>
                </a:lnTo>
                <a:lnTo>
                  <a:pt x="1904" y="3142"/>
                </a:lnTo>
                <a:lnTo>
                  <a:pt x="1905" y="3137"/>
                </a:lnTo>
                <a:lnTo>
                  <a:pt x="1907" y="3132"/>
                </a:lnTo>
                <a:close/>
                <a:moveTo>
                  <a:pt x="3808" y="2685"/>
                </a:moveTo>
                <a:lnTo>
                  <a:pt x="3796" y="2692"/>
                </a:lnTo>
                <a:lnTo>
                  <a:pt x="3783" y="2704"/>
                </a:lnTo>
                <a:lnTo>
                  <a:pt x="3783" y="2707"/>
                </a:lnTo>
                <a:lnTo>
                  <a:pt x="3785" y="2712"/>
                </a:lnTo>
                <a:lnTo>
                  <a:pt x="3786" y="2714"/>
                </a:lnTo>
                <a:lnTo>
                  <a:pt x="3787" y="2716"/>
                </a:lnTo>
                <a:lnTo>
                  <a:pt x="3789" y="2716"/>
                </a:lnTo>
                <a:lnTo>
                  <a:pt x="3790" y="2716"/>
                </a:lnTo>
                <a:lnTo>
                  <a:pt x="3797" y="2706"/>
                </a:lnTo>
                <a:lnTo>
                  <a:pt x="3805" y="2699"/>
                </a:lnTo>
                <a:lnTo>
                  <a:pt x="3808" y="2698"/>
                </a:lnTo>
                <a:lnTo>
                  <a:pt x="3811" y="2697"/>
                </a:lnTo>
                <a:lnTo>
                  <a:pt x="3815" y="2697"/>
                </a:lnTo>
                <a:lnTo>
                  <a:pt x="3823" y="2698"/>
                </a:lnTo>
                <a:lnTo>
                  <a:pt x="3826" y="2699"/>
                </a:lnTo>
                <a:lnTo>
                  <a:pt x="3829" y="2698"/>
                </a:lnTo>
                <a:lnTo>
                  <a:pt x="3831" y="2697"/>
                </a:lnTo>
                <a:lnTo>
                  <a:pt x="3833" y="2696"/>
                </a:lnTo>
                <a:lnTo>
                  <a:pt x="3836" y="2691"/>
                </a:lnTo>
                <a:lnTo>
                  <a:pt x="3840" y="2687"/>
                </a:lnTo>
                <a:lnTo>
                  <a:pt x="3847" y="2685"/>
                </a:lnTo>
                <a:lnTo>
                  <a:pt x="3853" y="2683"/>
                </a:lnTo>
                <a:lnTo>
                  <a:pt x="3856" y="2682"/>
                </a:lnTo>
                <a:lnTo>
                  <a:pt x="3857" y="2680"/>
                </a:lnTo>
                <a:lnTo>
                  <a:pt x="3856" y="2677"/>
                </a:lnTo>
                <a:lnTo>
                  <a:pt x="3853" y="2672"/>
                </a:lnTo>
                <a:lnTo>
                  <a:pt x="3849" y="2667"/>
                </a:lnTo>
                <a:lnTo>
                  <a:pt x="3845" y="2664"/>
                </a:lnTo>
                <a:lnTo>
                  <a:pt x="3840" y="2662"/>
                </a:lnTo>
                <a:lnTo>
                  <a:pt x="3837" y="2661"/>
                </a:lnTo>
                <a:lnTo>
                  <a:pt x="3834" y="2660"/>
                </a:lnTo>
                <a:lnTo>
                  <a:pt x="3832" y="2661"/>
                </a:lnTo>
                <a:lnTo>
                  <a:pt x="3830" y="2662"/>
                </a:lnTo>
                <a:lnTo>
                  <a:pt x="3828" y="2664"/>
                </a:lnTo>
                <a:lnTo>
                  <a:pt x="3818" y="2678"/>
                </a:lnTo>
                <a:lnTo>
                  <a:pt x="3813" y="2685"/>
                </a:lnTo>
                <a:lnTo>
                  <a:pt x="3808" y="2685"/>
                </a:lnTo>
                <a:close/>
                <a:moveTo>
                  <a:pt x="3951" y="2588"/>
                </a:moveTo>
                <a:lnTo>
                  <a:pt x="3947" y="2597"/>
                </a:lnTo>
                <a:lnTo>
                  <a:pt x="3944" y="2604"/>
                </a:lnTo>
                <a:lnTo>
                  <a:pt x="3944" y="2608"/>
                </a:lnTo>
                <a:lnTo>
                  <a:pt x="3944" y="2612"/>
                </a:lnTo>
                <a:lnTo>
                  <a:pt x="3946" y="2615"/>
                </a:lnTo>
                <a:lnTo>
                  <a:pt x="3948" y="2619"/>
                </a:lnTo>
                <a:lnTo>
                  <a:pt x="3951" y="2626"/>
                </a:lnTo>
                <a:lnTo>
                  <a:pt x="3954" y="2634"/>
                </a:lnTo>
                <a:lnTo>
                  <a:pt x="3954" y="2637"/>
                </a:lnTo>
                <a:lnTo>
                  <a:pt x="3953" y="2640"/>
                </a:lnTo>
                <a:lnTo>
                  <a:pt x="3951" y="2642"/>
                </a:lnTo>
                <a:lnTo>
                  <a:pt x="3948" y="2643"/>
                </a:lnTo>
                <a:lnTo>
                  <a:pt x="3942" y="2646"/>
                </a:lnTo>
                <a:lnTo>
                  <a:pt x="3934" y="2647"/>
                </a:lnTo>
                <a:lnTo>
                  <a:pt x="3931" y="2648"/>
                </a:lnTo>
                <a:lnTo>
                  <a:pt x="3928" y="2650"/>
                </a:lnTo>
                <a:lnTo>
                  <a:pt x="3927" y="2653"/>
                </a:lnTo>
                <a:lnTo>
                  <a:pt x="3928" y="2656"/>
                </a:lnTo>
                <a:lnTo>
                  <a:pt x="3934" y="2662"/>
                </a:lnTo>
                <a:lnTo>
                  <a:pt x="3939" y="2668"/>
                </a:lnTo>
                <a:lnTo>
                  <a:pt x="3941" y="2671"/>
                </a:lnTo>
                <a:lnTo>
                  <a:pt x="3943" y="2675"/>
                </a:lnTo>
                <a:lnTo>
                  <a:pt x="3943" y="2679"/>
                </a:lnTo>
                <a:lnTo>
                  <a:pt x="3942" y="2682"/>
                </a:lnTo>
                <a:lnTo>
                  <a:pt x="3941" y="2686"/>
                </a:lnTo>
                <a:lnTo>
                  <a:pt x="3941" y="2690"/>
                </a:lnTo>
                <a:lnTo>
                  <a:pt x="3942" y="2694"/>
                </a:lnTo>
                <a:lnTo>
                  <a:pt x="3943" y="2699"/>
                </a:lnTo>
                <a:lnTo>
                  <a:pt x="3945" y="2706"/>
                </a:lnTo>
                <a:lnTo>
                  <a:pt x="3947" y="2708"/>
                </a:lnTo>
                <a:lnTo>
                  <a:pt x="3951" y="2710"/>
                </a:lnTo>
                <a:lnTo>
                  <a:pt x="3961" y="2713"/>
                </a:lnTo>
                <a:lnTo>
                  <a:pt x="3966" y="2713"/>
                </a:lnTo>
                <a:lnTo>
                  <a:pt x="3971" y="2712"/>
                </a:lnTo>
                <a:lnTo>
                  <a:pt x="3972" y="2711"/>
                </a:lnTo>
                <a:lnTo>
                  <a:pt x="3973" y="2709"/>
                </a:lnTo>
                <a:lnTo>
                  <a:pt x="3975" y="2706"/>
                </a:lnTo>
                <a:lnTo>
                  <a:pt x="3975" y="2703"/>
                </a:lnTo>
                <a:lnTo>
                  <a:pt x="3973" y="2687"/>
                </a:lnTo>
                <a:lnTo>
                  <a:pt x="3975" y="2672"/>
                </a:lnTo>
                <a:lnTo>
                  <a:pt x="3976" y="2661"/>
                </a:lnTo>
                <a:lnTo>
                  <a:pt x="3975" y="2654"/>
                </a:lnTo>
                <a:lnTo>
                  <a:pt x="3971" y="2650"/>
                </a:lnTo>
                <a:lnTo>
                  <a:pt x="3968" y="2646"/>
                </a:lnTo>
                <a:lnTo>
                  <a:pt x="3967" y="2644"/>
                </a:lnTo>
                <a:lnTo>
                  <a:pt x="3966" y="2640"/>
                </a:lnTo>
                <a:lnTo>
                  <a:pt x="3966" y="2635"/>
                </a:lnTo>
                <a:lnTo>
                  <a:pt x="3968" y="2628"/>
                </a:lnTo>
                <a:lnTo>
                  <a:pt x="3971" y="2616"/>
                </a:lnTo>
                <a:lnTo>
                  <a:pt x="3972" y="2605"/>
                </a:lnTo>
                <a:lnTo>
                  <a:pt x="3971" y="2601"/>
                </a:lnTo>
                <a:lnTo>
                  <a:pt x="3970" y="2598"/>
                </a:lnTo>
                <a:lnTo>
                  <a:pt x="3969" y="2595"/>
                </a:lnTo>
                <a:lnTo>
                  <a:pt x="3968" y="2593"/>
                </a:lnTo>
                <a:lnTo>
                  <a:pt x="3963" y="2590"/>
                </a:lnTo>
                <a:lnTo>
                  <a:pt x="3959" y="2589"/>
                </a:lnTo>
                <a:lnTo>
                  <a:pt x="3954" y="2589"/>
                </a:lnTo>
                <a:lnTo>
                  <a:pt x="3951" y="2588"/>
                </a:lnTo>
                <a:close/>
                <a:moveTo>
                  <a:pt x="5530" y="3421"/>
                </a:moveTo>
                <a:lnTo>
                  <a:pt x="5526" y="3429"/>
                </a:lnTo>
                <a:lnTo>
                  <a:pt x="5520" y="3442"/>
                </a:lnTo>
                <a:lnTo>
                  <a:pt x="5517" y="3448"/>
                </a:lnTo>
                <a:lnTo>
                  <a:pt x="5515" y="3454"/>
                </a:lnTo>
                <a:lnTo>
                  <a:pt x="5514" y="3460"/>
                </a:lnTo>
                <a:lnTo>
                  <a:pt x="5515" y="3465"/>
                </a:lnTo>
                <a:lnTo>
                  <a:pt x="5518" y="3474"/>
                </a:lnTo>
                <a:lnTo>
                  <a:pt x="5523" y="3487"/>
                </a:lnTo>
                <a:lnTo>
                  <a:pt x="5526" y="3493"/>
                </a:lnTo>
                <a:lnTo>
                  <a:pt x="5529" y="3498"/>
                </a:lnTo>
                <a:lnTo>
                  <a:pt x="5533" y="3503"/>
                </a:lnTo>
                <a:lnTo>
                  <a:pt x="5537" y="3507"/>
                </a:lnTo>
                <a:lnTo>
                  <a:pt x="5541" y="3509"/>
                </a:lnTo>
                <a:lnTo>
                  <a:pt x="5545" y="3509"/>
                </a:lnTo>
                <a:lnTo>
                  <a:pt x="5549" y="3507"/>
                </a:lnTo>
                <a:lnTo>
                  <a:pt x="5553" y="3504"/>
                </a:lnTo>
                <a:lnTo>
                  <a:pt x="5561" y="3498"/>
                </a:lnTo>
                <a:lnTo>
                  <a:pt x="5563" y="3494"/>
                </a:lnTo>
                <a:lnTo>
                  <a:pt x="5565" y="3490"/>
                </a:lnTo>
                <a:lnTo>
                  <a:pt x="5569" y="3485"/>
                </a:lnTo>
                <a:lnTo>
                  <a:pt x="5571" y="3481"/>
                </a:lnTo>
                <a:lnTo>
                  <a:pt x="5572" y="3478"/>
                </a:lnTo>
                <a:lnTo>
                  <a:pt x="5572" y="3475"/>
                </a:lnTo>
                <a:lnTo>
                  <a:pt x="5572" y="3472"/>
                </a:lnTo>
                <a:lnTo>
                  <a:pt x="5563" y="3458"/>
                </a:lnTo>
                <a:lnTo>
                  <a:pt x="5555" y="3445"/>
                </a:lnTo>
                <a:lnTo>
                  <a:pt x="5544" y="3431"/>
                </a:lnTo>
                <a:lnTo>
                  <a:pt x="5537" y="3424"/>
                </a:lnTo>
                <a:lnTo>
                  <a:pt x="5534" y="3422"/>
                </a:lnTo>
                <a:lnTo>
                  <a:pt x="5530" y="3421"/>
                </a:lnTo>
                <a:close/>
                <a:moveTo>
                  <a:pt x="6631" y="2898"/>
                </a:moveTo>
                <a:lnTo>
                  <a:pt x="6633" y="2902"/>
                </a:lnTo>
                <a:lnTo>
                  <a:pt x="6635" y="2904"/>
                </a:lnTo>
                <a:lnTo>
                  <a:pt x="6637" y="2906"/>
                </a:lnTo>
                <a:lnTo>
                  <a:pt x="6639" y="2906"/>
                </a:lnTo>
                <a:lnTo>
                  <a:pt x="6643" y="2905"/>
                </a:lnTo>
                <a:lnTo>
                  <a:pt x="6648" y="2902"/>
                </a:lnTo>
                <a:lnTo>
                  <a:pt x="6659" y="2890"/>
                </a:lnTo>
                <a:lnTo>
                  <a:pt x="6669" y="2880"/>
                </a:lnTo>
                <a:lnTo>
                  <a:pt x="6677" y="2876"/>
                </a:lnTo>
                <a:lnTo>
                  <a:pt x="6685" y="2872"/>
                </a:lnTo>
                <a:lnTo>
                  <a:pt x="6696" y="2868"/>
                </a:lnTo>
                <a:lnTo>
                  <a:pt x="6706" y="2866"/>
                </a:lnTo>
                <a:lnTo>
                  <a:pt x="6725" y="2862"/>
                </a:lnTo>
                <a:lnTo>
                  <a:pt x="6735" y="2860"/>
                </a:lnTo>
                <a:lnTo>
                  <a:pt x="6742" y="2859"/>
                </a:lnTo>
                <a:lnTo>
                  <a:pt x="6752" y="2854"/>
                </a:lnTo>
                <a:lnTo>
                  <a:pt x="6765" y="2846"/>
                </a:lnTo>
                <a:lnTo>
                  <a:pt x="6776" y="2837"/>
                </a:lnTo>
                <a:lnTo>
                  <a:pt x="6778" y="2834"/>
                </a:lnTo>
                <a:lnTo>
                  <a:pt x="6780" y="2830"/>
                </a:lnTo>
                <a:lnTo>
                  <a:pt x="6781" y="2824"/>
                </a:lnTo>
                <a:lnTo>
                  <a:pt x="6782" y="2819"/>
                </a:lnTo>
                <a:lnTo>
                  <a:pt x="6784" y="2807"/>
                </a:lnTo>
                <a:lnTo>
                  <a:pt x="6785" y="2793"/>
                </a:lnTo>
                <a:lnTo>
                  <a:pt x="6785" y="2781"/>
                </a:lnTo>
                <a:lnTo>
                  <a:pt x="6787" y="2772"/>
                </a:lnTo>
                <a:lnTo>
                  <a:pt x="6788" y="2769"/>
                </a:lnTo>
                <a:lnTo>
                  <a:pt x="6789" y="2767"/>
                </a:lnTo>
                <a:lnTo>
                  <a:pt x="6791" y="2766"/>
                </a:lnTo>
                <a:lnTo>
                  <a:pt x="6794" y="2767"/>
                </a:lnTo>
                <a:lnTo>
                  <a:pt x="6799" y="2771"/>
                </a:lnTo>
                <a:lnTo>
                  <a:pt x="6803" y="2773"/>
                </a:lnTo>
                <a:lnTo>
                  <a:pt x="6809" y="2775"/>
                </a:lnTo>
                <a:lnTo>
                  <a:pt x="6813" y="2777"/>
                </a:lnTo>
                <a:lnTo>
                  <a:pt x="6818" y="2777"/>
                </a:lnTo>
                <a:lnTo>
                  <a:pt x="6823" y="2776"/>
                </a:lnTo>
                <a:lnTo>
                  <a:pt x="6830" y="2775"/>
                </a:lnTo>
                <a:lnTo>
                  <a:pt x="6837" y="2772"/>
                </a:lnTo>
                <a:lnTo>
                  <a:pt x="6844" y="2768"/>
                </a:lnTo>
                <a:lnTo>
                  <a:pt x="6851" y="2763"/>
                </a:lnTo>
                <a:lnTo>
                  <a:pt x="6856" y="2755"/>
                </a:lnTo>
                <a:lnTo>
                  <a:pt x="6860" y="2748"/>
                </a:lnTo>
                <a:lnTo>
                  <a:pt x="6868" y="2734"/>
                </a:lnTo>
                <a:lnTo>
                  <a:pt x="6876" y="2723"/>
                </a:lnTo>
                <a:lnTo>
                  <a:pt x="6889" y="2712"/>
                </a:lnTo>
                <a:lnTo>
                  <a:pt x="6907" y="2700"/>
                </a:lnTo>
                <a:lnTo>
                  <a:pt x="6911" y="2696"/>
                </a:lnTo>
                <a:lnTo>
                  <a:pt x="6915" y="2692"/>
                </a:lnTo>
                <a:lnTo>
                  <a:pt x="6918" y="2688"/>
                </a:lnTo>
                <a:lnTo>
                  <a:pt x="6919" y="2685"/>
                </a:lnTo>
                <a:lnTo>
                  <a:pt x="6920" y="2681"/>
                </a:lnTo>
                <a:lnTo>
                  <a:pt x="6920" y="2678"/>
                </a:lnTo>
                <a:lnTo>
                  <a:pt x="6918" y="2675"/>
                </a:lnTo>
                <a:lnTo>
                  <a:pt x="6915" y="2670"/>
                </a:lnTo>
                <a:lnTo>
                  <a:pt x="6900" y="2658"/>
                </a:lnTo>
                <a:lnTo>
                  <a:pt x="6889" y="2645"/>
                </a:lnTo>
                <a:lnTo>
                  <a:pt x="6886" y="2640"/>
                </a:lnTo>
                <a:lnTo>
                  <a:pt x="6885" y="2636"/>
                </a:lnTo>
                <a:lnTo>
                  <a:pt x="6885" y="2634"/>
                </a:lnTo>
                <a:lnTo>
                  <a:pt x="6885" y="2632"/>
                </a:lnTo>
                <a:lnTo>
                  <a:pt x="6886" y="2630"/>
                </a:lnTo>
                <a:lnTo>
                  <a:pt x="6888" y="2627"/>
                </a:lnTo>
                <a:lnTo>
                  <a:pt x="6901" y="2618"/>
                </a:lnTo>
                <a:lnTo>
                  <a:pt x="6920" y="2604"/>
                </a:lnTo>
                <a:lnTo>
                  <a:pt x="6939" y="2593"/>
                </a:lnTo>
                <a:lnTo>
                  <a:pt x="6950" y="2584"/>
                </a:lnTo>
                <a:lnTo>
                  <a:pt x="6973" y="2566"/>
                </a:lnTo>
                <a:lnTo>
                  <a:pt x="7013" y="2532"/>
                </a:lnTo>
                <a:lnTo>
                  <a:pt x="7048" y="2502"/>
                </a:lnTo>
                <a:lnTo>
                  <a:pt x="7055" y="2493"/>
                </a:lnTo>
                <a:lnTo>
                  <a:pt x="7032" y="2509"/>
                </a:lnTo>
                <a:lnTo>
                  <a:pt x="6998" y="2530"/>
                </a:lnTo>
                <a:lnTo>
                  <a:pt x="6983" y="2540"/>
                </a:lnTo>
                <a:lnTo>
                  <a:pt x="6968" y="2548"/>
                </a:lnTo>
                <a:lnTo>
                  <a:pt x="6962" y="2550"/>
                </a:lnTo>
                <a:lnTo>
                  <a:pt x="6957" y="2552"/>
                </a:lnTo>
                <a:lnTo>
                  <a:pt x="6954" y="2552"/>
                </a:lnTo>
                <a:lnTo>
                  <a:pt x="6952" y="2551"/>
                </a:lnTo>
                <a:lnTo>
                  <a:pt x="6951" y="2549"/>
                </a:lnTo>
                <a:lnTo>
                  <a:pt x="6950" y="2548"/>
                </a:lnTo>
                <a:lnTo>
                  <a:pt x="6948" y="2547"/>
                </a:lnTo>
                <a:lnTo>
                  <a:pt x="6945" y="2546"/>
                </a:lnTo>
                <a:lnTo>
                  <a:pt x="6939" y="2545"/>
                </a:lnTo>
                <a:lnTo>
                  <a:pt x="6931" y="2545"/>
                </a:lnTo>
                <a:lnTo>
                  <a:pt x="6925" y="2545"/>
                </a:lnTo>
                <a:lnTo>
                  <a:pt x="6918" y="2543"/>
                </a:lnTo>
                <a:lnTo>
                  <a:pt x="6915" y="2543"/>
                </a:lnTo>
                <a:lnTo>
                  <a:pt x="6912" y="2540"/>
                </a:lnTo>
                <a:lnTo>
                  <a:pt x="6910" y="2539"/>
                </a:lnTo>
                <a:lnTo>
                  <a:pt x="6908" y="2537"/>
                </a:lnTo>
                <a:lnTo>
                  <a:pt x="6902" y="2527"/>
                </a:lnTo>
                <a:lnTo>
                  <a:pt x="6895" y="2514"/>
                </a:lnTo>
                <a:lnTo>
                  <a:pt x="6891" y="2509"/>
                </a:lnTo>
                <a:lnTo>
                  <a:pt x="6889" y="2505"/>
                </a:lnTo>
                <a:lnTo>
                  <a:pt x="6888" y="2503"/>
                </a:lnTo>
                <a:lnTo>
                  <a:pt x="6889" y="2502"/>
                </a:lnTo>
                <a:lnTo>
                  <a:pt x="6890" y="2500"/>
                </a:lnTo>
                <a:lnTo>
                  <a:pt x="6891" y="2496"/>
                </a:lnTo>
                <a:lnTo>
                  <a:pt x="6891" y="2492"/>
                </a:lnTo>
                <a:lnTo>
                  <a:pt x="6891" y="2487"/>
                </a:lnTo>
                <a:lnTo>
                  <a:pt x="6891" y="2483"/>
                </a:lnTo>
                <a:lnTo>
                  <a:pt x="6893" y="2479"/>
                </a:lnTo>
                <a:lnTo>
                  <a:pt x="6893" y="2477"/>
                </a:lnTo>
                <a:lnTo>
                  <a:pt x="6894" y="2476"/>
                </a:lnTo>
                <a:lnTo>
                  <a:pt x="6895" y="2476"/>
                </a:lnTo>
                <a:lnTo>
                  <a:pt x="6896" y="2476"/>
                </a:lnTo>
                <a:lnTo>
                  <a:pt x="6898" y="2477"/>
                </a:lnTo>
                <a:lnTo>
                  <a:pt x="6902" y="2477"/>
                </a:lnTo>
                <a:lnTo>
                  <a:pt x="6906" y="2477"/>
                </a:lnTo>
                <a:lnTo>
                  <a:pt x="6910" y="2476"/>
                </a:lnTo>
                <a:lnTo>
                  <a:pt x="6915" y="2473"/>
                </a:lnTo>
                <a:lnTo>
                  <a:pt x="6917" y="2471"/>
                </a:lnTo>
                <a:lnTo>
                  <a:pt x="6918" y="2469"/>
                </a:lnTo>
                <a:lnTo>
                  <a:pt x="6918" y="2467"/>
                </a:lnTo>
                <a:lnTo>
                  <a:pt x="6917" y="2464"/>
                </a:lnTo>
                <a:lnTo>
                  <a:pt x="6916" y="2461"/>
                </a:lnTo>
                <a:lnTo>
                  <a:pt x="6911" y="2456"/>
                </a:lnTo>
                <a:lnTo>
                  <a:pt x="6906" y="2451"/>
                </a:lnTo>
                <a:lnTo>
                  <a:pt x="6901" y="2447"/>
                </a:lnTo>
                <a:lnTo>
                  <a:pt x="6896" y="2443"/>
                </a:lnTo>
                <a:lnTo>
                  <a:pt x="6894" y="2441"/>
                </a:lnTo>
                <a:lnTo>
                  <a:pt x="6891" y="2439"/>
                </a:lnTo>
                <a:lnTo>
                  <a:pt x="6890" y="2437"/>
                </a:lnTo>
                <a:lnTo>
                  <a:pt x="6890" y="2435"/>
                </a:lnTo>
                <a:lnTo>
                  <a:pt x="6890" y="2432"/>
                </a:lnTo>
                <a:lnTo>
                  <a:pt x="6891" y="2429"/>
                </a:lnTo>
                <a:lnTo>
                  <a:pt x="6894" y="2426"/>
                </a:lnTo>
                <a:lnTo>
                  <a:pt x="6897" y="2422"/>
                </a:lnTo>
                <a:lnTo>
                  <a:pt x="6913" y="2411"/>
                </a:lnTo>
                <a:lnTo>
                  <a:pt x="6928" y="2402"/>
                </a:lnTo>
                <a:lnTo>
                  <a:pt x="6934" y="2398"/>
                </a:lnTo>
                <a:lnTo>
                  <a:pt x="6938" y="2393"/>
                </a:lnTo>
                <a:lnTo>
                  <a:pt x="6938" y="2390"/>
                </a:lnTo>
                <a:lnTo>
                  <a:pt x="6938" y="2386"/>
                </a:lnTo>
                <a:lnTo>
                  <a:pt x="6937" y="2382"/>
                </a:lnTo>
                <a:lnTo>
                  <a:pt x="6935" y="2378"/>
                </a:lnTo>
                <a:lnTo>
                  <a:pt x="6930" y="2363"/>
                </a:lnTo>
                <a:lnTo>
                  <a:pt x="6925" y="2338"/>
                </a:lnTo>
                <a:lnTo>
                  <a:pt x="6920" y="2309"/>
                </a:lnTo>
                <a:lnTo>
                  <a:pt x="6915" y="2276"/>
                </a:lnTo>
                <a:lnTo>
                  <a:pt x="6909" y="2247"/>
                </a:lnTo>
                <a:lnTo>
                  <a:pt x="6904" y="2224"/>
                </a:lnTo>
                <a:lnTo>
                  <a:pt x="6902" y="2216"/>
                </a:lnTo>
                <a:lnTo>
                  <a:pt x="6899" y="2210"/>
                </a:lnTo>
                <a:lnTo>
                  <a:pt x="6898" y="2209"/>
                </a:lnTo>
                <a:lnTo>
                  <a:pt x="6897" y="2209"/>
                </a:lnTo>
                <a:lnTo>
                  <a:pt x="6896" y="2210"/>
                </a:lnTo>
                <a:lnTo>
                  <a:pt x="6896" y="2213"/>
                </a:lnTo>
                <a:lnTo>
                  <a:pt x="6887" y="2232"/>
                </a:lnTo>
                <a:lnTo>
                  <a:pt x="6880" y="2252"/>
                </a:lnTo>
                <a:lnTo>
                  <a:pt x="6875" y="2269"/>
                </a:lnTo>
                <a:lnTo>
                  <a:pt x="6873" y="2277"/>
                </a:lnTo>
                <a:lnTo>
                  <a:pt x="6872" y="2282"/>
                </a:lnTo>
                <a:lnTo>
                  <a:pt x="6871" y="2287"/>
                </a:lnTo>
                <a:lnTo>
                  <a:pt x="6869" y="2290"/>
                </a:lnTo>
                <a:lnTo>
                  <a:pt x="6871" y="2293"/>
                </a:lnTo>
                <a:lnTo>
                  <a:pt x="6872" y="2297"/>
                </a:lnTo>
                <a:lnTo>
                  <a:pt x="6874" y="2303"/>
                </a:lnTo>
                <a:lnTo>
                  <a:pt x="6876" y="2308"/>
                </a:lnTo>
                <a:lnTo>
                  <a:pt x="6878" y="2315"/>
                </a:lnTo>
                <a:lnTo>
                  <a:pt x="6879" y="2321"/>
                </a:lnTo>
                <a:lnTo>
                  <a:pt x="6880" y="2329"/>
                </a:lnTo>
                <a:lnTo>
                  <a:pt x="6880" y="2342"/>
                </a:lnTo>
                <a:lnTo>
                  <a:pt x="6880" y="2352"/>
                </a:lnTo>
                <a:lnTo>
                  <a:pt x="6880" y="2364"/>
                </a:lnTo>
                <a:lnTo>
                  <a:pt x="6880" y="2386"/>
                </a:lnTo>
                <a:lnTo>
                  <a:pt x="6881" y="2407"/>
                </a:lnTo>
                <a:lnTo>
                  <a:pt x="6882" y="2419"/>
                </a:lnTo>
                <a:lnTo>
                  <a:pt x="6882" y="2422"/>
                </a:lnTo>
                <a:lnTo>
                  <a:pt x="6881" y="2426"/>
                </a:lnTo>
                <a:lnTo>
                  <a:pt x="6879" y="2430"/>
                </a:lnTo>
                <a:lnTo>
                  <a:pt x="6877" y="2436"/>
                </a:lnTo>
                <a:lnTo>
                  <a:pt x="6872" y="2446"/>
                </a:lnTo>
                <a:lnTo>
                  <a:pt x="6868" y="2455"/>
                </a:lnTo>
                <a:lnTo>
                  <a:pt x="6864" y="2469"/>
                </a:lnTo>
                <a:lnTo>
                  <a:pt x="6861" y="2484"/>
                </a:lnTo>
                <a:lnTo>
                  <a:pt x="6864" y="2490"/>
                </a:lnTo>
                <a:lnTo>
                  <a:pt x="6869" y="2495"/>
                </a:lnTo>
                <a:lnTo>
                  <a:pt x="6871" y="2499"/>
                </a:lnTo>
                <a:lnTo>
                  <a:pt x="6872" y="2501"/>
                </a:lnTo>
                <a:lnTo>
                  <a:pt x="6871" y="2503"/>
                </a:lnTo>
                <a:lnTo>
                  <a:pt x="6867" y="2505"/>
                </a:lnTo>
                <a:lnTo>
                  <a:pt x="6858" y="2506"/>
                </a:lnTo>
                <a:lnTo>
                  <a:pt x="6848" y="2506"/>
                </a:lnTo>
                <a:lnTo>
                  <a:pt x="6845" y="2507"/>
                </a:lnTo>
                <a:lnTo>
                  <a:pt x="6843" y="2510"/>
                </a:lnTo>
                <a:lnTo>
                  <a:pt x="6842" y="2513"/>
                </a:lnTo>
                <a:lnTo>
                  <a:pt x="6844" y="2518"/>
                </a:lnTo>
                <a:lnTo>
                  <a:pt x="6845" y="2522"/>
                </a:lnTo>
                <a:lnTo>
                  <a:pt x="6847" y="2524"/>
                </a:lnTo>
                <a:lnTo>
                  <a:pt x="6851" y="2526"/>
                </a:lnTo>
                <a:lnTo>
                  <a:pt x="6853" y="2527"/>
                </a:lnTo>
                <a:lnTo>
                  <a:pt x="6859" y="2529"/>
                </a:lnTo>
                <a:lnTo>
                  <a:pt x="6865" y="2530"/>
                </a:lnTo>
                <a:lnTo>
                  <a:pt x="6867" y="2531"/>
                </a:lnTo>
                <a:lnTo>
                  <a:pt x="6869" y="2532"/>
                </a:lnTo>
                <a:lnTo>
                  <a:pt x="6872" y="2534"/>
                </a:lnTo>
                <a:lnTo>
                  <a:pt x="6873" y="2536"/>
                </a:lnTo>
                <a:lnTo>
                  <a:pt x="6874" y="2538"/>
                </a:lnTo>
                <a:lnTo>
                  <a:pt x="6874" y="2543"/>
                </a:lnTo>
                <a:lnTo>
                  <a:pt x="6873" y="2547"/>
                </a:lnTo>
                <a:lnTo>
                  <a:pt x="6871" y="2553"/>
                </a:lnTo>
                <a:lnTo>
                  <a:pt x="6865" y="2564"/>
                </a:lnTo>
                <a:lnTo>
                  <a:pt x="6860" y="2573"/>
                </a:lnTo>
                <a:lnTo>
                  <a:pt x="6855" y="2580"/>
                </a:lnTo>
                <a:lnTo>
                  <a:pt x="6848" y="2587"/>
                </a:lnTo>
                <a:lnTo>
                  <a:pt x="6843" y="2591"/>
                </a:lnTo>
                <a:lnTo>
                  <a:pt x="6838" y="2594"/>
                </a:lnTo>
                <a:lnTo>
                  <a:pt x="6833" y="2596"/>
                </a:lnTo>
                <a:lnTo>
                  <a:pt x="6828" y="2597"/>
                </a:lnTo>
                <a:lnTo>
                  <a:pt x="6822" y="2596"/>
                </a:lnTo>
                <a:lnTo>
                  <a:pt x="6817" y="2595"/>
                </a:lnTo>
                <a:lnTo>
                  <a:pt x="6812" y="2592"/>
                </a:lnTo>
                <a:lnTo>
                  <a:pt x="6807" y="2591"/>
                </a:lnTo>
                <a:lnTo>
                  <a:pt x="6804" y="2590"/>
                </a:lnTo>
                <a:lnTo>
                  <a:pt x="6802" y="2590"/>
                </a:lnTo>
                <a:lnTo>
                  <a:pt x="6800" y="2590"/>
                </a:lnTo>
                <a:lnTo>
                  <a:pt x="6799" y="2591"/>
                </a:lnTo>
                <a:lnTo>
                  <a:pt x="6798" y="2593"/>
                </a:lnTo>
                <a:lnTo>
                  <a:pt x="6798" y="2595"/>
                </a:lnTo>
                <a:lnTo>
                  <a:pt x="6799" y="2599"/>
                </a:lnTo>
                <a:lnTo>
                  <a:pt x="6799" y="2604"/>
                </a:lnTo>
                <a:lnTo>
                  <a:pt x="6801" y="2609"/>
                </a:lnTo>
                <a:lnTo>
                  <a:pt x="6803" y="2613"/>
                </a:lnTo>
                <a:lnTo>
                  <a:pt x="6806" y="2616"/>
                </a:lnTo>
                <a:lnTo>
                  <a:pt x="6808" y="2619"/>
                </a:lnTo>
                <a:lnTo>
                  <a:pt x="6813" y="2623"/>
                </a:lnTo>
                <a:lnTo>
                  <a:pt x="6818" y="2625"/>
                </a:lnTo>
                <a:lnTo>
                  <a:pt x="6823" y="2627"/>
                </a:lnTo>
                <a:lnTo>
                  <a:pt x="6828" y="2630"/>
                </a:lnTo>
                <a:lnTo>
                  <a:pt x="6830" y="2632"/>
                </a:lnTo>
                <a:lnTo>
                  <a:pt x="6831" y="2634"/>
                </a:lnTo>
                <a:lnTo>
                  <a:pt x="6832" y="2636"/>
                </a:lnTo>
                <a:lnTo>
                  <a:pt x="6833" y="2639"/>
                </a:lnTo>
                <a:lnTo>
                  <a:pt x="6834" y="2652"/>
                </a:lnTo>
                <a:lnTo>
                  <a:pt x="6836" y="2664"/>
                </a:lnTo>
                <a:lnTo>
                  <a:pt x="6837" y="2670"/>
                </a:lnTo>
                <a:lnTo>
                  <a:pt x="6837" y="2677"/>
                </a:lnTo>
                <a:lnTo>
                  <a:pt x="6836" y="2683"/>
                </a:lnTo>
                <a:lnTo>
                  <a:pt x="6835" y="2689"/>
                </a:lnTo>
                <a:lnTo>
                  <a:pt x="6832" y="2694"/>
                </a:lnTo>
                <a:lnTo>
                  <a:pt x="6828" y="2699"/>
                </a:lnTo>
                <a:lnTo>
                  <a:pt x="6823" y="2702"/>
                </a:lnTo>
                <a:lnTo>
                  <a:pt x="6818" y="2705"/>
                </a:lnTo>
                <a:lnTo>
                  <a:pt x="6813" y="2708"/>
                </a:lnTo>
                <a:lnTo>
                  <a:pt x="6808" y="2711"/>
                </a:lnTo>
                <a:lnTo>
                  <a:pt x="6803" y="2715"/>
                </a:lnTo>
                <a:lnTo>
                  <a:pt x="6800" y="2721"/>
                </a:lnTo>
                <a:lnTo>
                  <a:pt x="6798" y="2726"/>
                </a:lnTo>
                <a:lnTo>
                  <a:pt x="6794" y="2729"/>
                </a:lnTo>
                <a:lnTo>
                  <a:pt x="6789" y="2731"/>
                </a:lnTo>
                <a:lnTo>
                  <a:pt x="6782" y="2733"/>
                </a:lnTo>
                <a:lnTo>
                  <a:pt x="6776" y="2735"/>
                </a:lnTo>
                <a:lnTo>
                  <a:pt x="6770" y="2739"/>
                </a:lnTo>
                <a:lnTo>
                  <a:pt x="6765" y="2742"/>
                </a:lnTo>
                <a:lnTo>
                  <a:pt x="6758" y="2747"/>
                </a:lnTo>
                <a:lnTo>
                  <a:pt x="6751" y="2758"/>
                </a:lnTo>
                <a:lnTo>
                  <a:pt x="6745" y="2769"/>
                </a:lnTo>
                <a:lnTo>
                  <a:pt x="6743" y="2773"/>
                </a:lnTo>
                <a:lnTo>
                  <a:pt x="6740" y="2777"/>
                </a:lnTo>
                <a:lnTo>
                  <a:pt x="6736" y="2781"/>
                </a:lnTo>
                <a:lnTo>
                  <a:pt x="6732" y="2785"/>
                </a:lnTo>
                <a:lnTo>
                  <a:pt x="6724" y="2791"/>
                </a:lnTo>
                <a:lnTo>
                  <a:pt x="6715" y="2794"/>
                </a:lnTo>
                <a:lnTo>
                  <a:pt x="6713" y="2794"/>
                </a:lnTo>
                <a:lnTo>
                  <a:pt x="6710" y="2793"/>
                </a:lnTo>
                <a:lnTo>
                  <a:pt x="6708" y="2791"/>
                </a:lnTo>
                <a:lnTo>
                  <a:pt x="6707" y="2788"/>
                </a:lnTo>
                <a:lnTo>
                  <a:pt x="6707" y="2777"/>
                </a:lnTo>
                <a:lnTo>
                  <a:pt x="6707" y="2768"/>
                </a:lnTo>
                <a:lnTo>
                  <a:pt x="6707" y="2766"/>
                </a:lnTo>
                <a:lnTo>
                  <a:pt x="6706" y="2765"/>
                </a:lnTo>
                <a:lnTo>
                  <a:pt x="6705" y="2764"/>
                </a:lnTo>
                <a:lnTo>
                  <a:pt x="6704" y="2764"/>
                </a:lnTo>
                <a:lnTo>
                  <a:pt x="6698" y="2767"/>
                </a:lnTo>
                <a:lnTo>
                  <a:pt x="6690" y="2773"/>
                </a:lnTo>
                <a:lnTo>
                  <a:pt x="6681" y="2783"/>
                </a:lnTo>
                <a:lnTo>
                  <a:pt x="6675" y="2790"/>
                </a:lnTo>
                <a:lnTo>
                  <a:pt x="6670" y="2797"/>
                </a:lnTo>
                <a:lnTo>
                  <a:pt x="6667" y="2805"/>
                </a:lnTo>
                <a:lnTo>
                  <a:pt x="6663" y="2815"/>
                </a:lnTo>
                <a:lnTo>
                  <a:pt x="6659" y="2824"/>
                </a:lnTo>
                <a:lnTo>
                  <a:pt x="6657" y="2828"/>
                </a:lnTo>
                <a:lnTo>
                  <a:pt x="6653" y="2829"/>
                </a:lnTo>
                <a:lnTo>
                  <a:pt x="6648" y="2830"/>
                </a:lnTo>
                <a:lnTo>
                  <a:pt x="6644" y="2831"/>
                </a:lnTo>
                <a:lnTo>
                  <a:pt x="6639" y="2831"/>
                </a:lnTo>
                <a:lnTo>
                  <a:pt x="6635" y="2832"/>
                </a:lnTo>
                <a:lnTo>
                  <a:pt x="6631" y="2834"/>
                </a:lnTo>
                <a:lnTo>
                  <a:pt x="6626" y="2837"/>
                </a:lnTo>
                <a:lnTo>
                  <a:pt x="6623" y="2841"/>
                </a:lnTo>
                <a:lnTo>
                  <a:pt x="6620" y="2846"/>
                </a:lnTo>
                <a:lnTo>
                  <a:pt x="6617" y="2853"/>
                </a:lnTo>
                <a:lnTo>
                  <a:pt x="6615" y="2860"/>
                </a:lnTo>
                <a:lnTo>
                  <a:pt x="6613" y="2866"/>
                </a:lnTo>
                <a:lnTo>
                  <a:pt x="6613" y="2874"/>
                </a:lnTo>
                <a:lnTo>
                  <a:pt x="6613" y="2879"/>
                </a:lnTo>
                <a:lnTo>
                  <a:pt x="6614" y="2884"/>
                </a:lnTo>
                <a:lnTo>
                  <a:pt x="6617" y="2891"/>
                </a:lnTo>
                <a:lnTo>
                  <a:pt x="6618" y="2899"/>
                </a:lnTo>
                <a:lnTo>
                  <a:pt x="6618" y="2902"/>
                </a:lnTo>
                <a:lnTo>
                  <a:pt x="6618" y="2905"/>
                </a:lnTo>
                <a:lnTo>
                  <a:pt x="6617" y="2907"/>
                </a:lnTo>
                <a:lnTo>
                  <a:pt x="6615" y="2909"/>
                </a:lnTo>
                <a:lnTo>
                  <a:pt x="6614" y="2911"/>
                </a:lnTo>
                <a:lnTo>
                  <a:pt x="6614" y="2912"/>
                </a:lnTo>
                <a:lnTo>
                  <a:pt x="6615" y="2912"/>
                </a:lnTo>
                <a:lnTo>
                  <a:pt x="6617" y="2913"/>
                </a:lnTo>
                <a:lnTo>
                  <a:pt x="6621" y="2913"/>
                </a:lnTo>
                <a:lnTo>
                  <a:pt x="6624" y="2915"/>
                </a:lnTo>
                <a:lnTo>
                  <a:pt x="6625" y="2915"/>
                </a:lnTo>
                <a:lnTo>
                  <a:pt x="6627" y="2912"/>
                </a:lnTo>
                <a:lnTo>
                  <a:pt x="6628" y="2908"/>
                </a:lnTo>
                <a:lnTo>
                  <a:pt x="6627" y="2906"/>
                </a:lnTo>
                <a:lnTo>
                  <a:pt x="6627" y="2903"/>
                </a:lnTo>
                <a:lnTo>
                  <a:pt x="6628" y="2901"/>
                </a:lnTo>
                <a:lnTo>
                  <a:pt x="6630" y="2899"/>
                </a:lnTo>
                <a:lnTo>
                  <a:pt x="6631" y="2898"/>
                </a:lnTo>
                <a:close/>
                <a:moveTo>
                  <a:pt x="6397" y="3098"/>
                </a:moveTo>
                <a:lnTo>
                  <a:pt x="6398" y="3104"/>
                </a:lnTo>
                <a:lnTo>
                  <a:pt x="6401" y="3112"/>
                </a:lnTo>
                <a:lnTo>
                  <a:pt x="6404" y="3119"/>
                </a:lnTo>
                <a:lnTo>
                  <a:pt x="6407" y="3126"/>
                </a:lnTo>
                <a:lnTo>
                  <a:pt x="6412" y="3132"/>
                </a:lnTo>
                <a:lnTo>
                  <a:pt x="6416" y="3137"/>
                </a:lnTo>
                <a:lnTo>
                  <a:pt x="6418" y="3138"/>
                </a:lnTo>
                <a:lnTo>
                  <a:pt x="6419" y="3138"/>
                </a:lnTo>
                <a:lnTo>
                  <a:pt x="6421" y="3138"/>
                </a:lnTo>
                <a:lnTo>
                  <a:pt x="6422" y="3137"/>
                </a:lnTo>
                <a:lnTo>
                  <a:pt x="6427" y="3126"/>
                </a:lnTo>
                <a:lnTo>
                  <a:pt x="6433" y="3112"/>
                </a:lnTo>
                <a:lnTo>
                  <a:pt x="6439" y="3096"/>
                </a:lnTo>
                <a:lnTo>
                  <a:pt x="6446" y="3083"/>
                </a:lnTo>
                <a:lnTo>
                  <a:pt x="6452" y="3076"/>
                </a:lnTo>
                <a:lnTo>
                  <a:pt x="6456" y="3071"/>
                </a:lnTo>
                <a:lnTo>
                  <a:pt x="6457" y="3067"/>
                </a:lnTo>
                <a:lnTo>
                  <a:pt x="6457" y="3065"/>
                </a:lnTo>
                <a:lnTo>
                  <a:pt x="6456" y="3064"/>
                </a:lnTo>
                <a:lnTo>
                  <a:pt x="6455" y="3062"/>
                </a:lnTo>
                <a:lnTo>
                  <a:pt x="6449" y="3057"/>
                </a:lnTo>
                <a:lnTo>
                  <a:pt x="6442" y="3053"/>
                </a:lnTo>
                <a:lnTo>
                  <a:pt x="6439" y="3052"/>
                </a:lnTo>
                <a:lnTo>
                  <a:pt x="6435" y="3052"/>
                </a:lnTo>
                <a:lnTo>
                  <a:pt x="6430" y="3053"/>
                </a:lnTo>
                <a:lnTo>
                  <a:pt x="6427" y="3055"/>
                </a:lnTo>
                <a:lnTo>
                  <a:pt x="6416" y="3070"/>
                </a:lnTo>
                <a:lnTo>
                  <a:pt x="6408" y="3080"/>
                </a:lnTo>
                <a:lnTo>
                  <a:pt x="6400" y="3091"/>
                </a:lnTo>
                <a:lnTo>
                  <a:pt x="6397" y="3098"/>
                </a:lnTo>
                <a:close/>
                <a:moveTo>
                  <a:pt x="6463" y="3448"/>
                </a:moveTo>
                <a:lnTo>
                  <a:pt x="6466" y="3454"/>
                </a:lnTo>
                <a:lnTo>
                  <a:pt x="6472" y="3460"/>
                </a:lnTo>
                <a:lnTo>
                  <a:pt x="6479" y="3469"/>
                </a:lnTo>
                <a:lnTo>
                  <a:pt x="6486" y="3478"/>
                </a:lnTo>
                <a:lnTo>
                  <a:pt x="6503" y="3496"/>
                </a:lnTo>
                <a:lnTo>
                  <a:pt x="6515" y="3509"/>
                </a:lnTo>
                <a:lnTo>
                  <a:pt x="6518" y="3510"/>
                </a:lnTo>
                <a:lnTo>
                  <a:pt x="6522" y="3510"/>
                </a:lnTo>
                <a:lnTo>
                  <a:pt x="6525" y="3509"/>
                </a:lnTo>
                <a:lnTo>
                  <a:pt x="6529" y="3507"/>
                </a:lnTo>
                <a:lnTo>
                  <a:pt x="6536" y="3499"/>
                </a:lnTo>
                <a:lnTo>
                  <a:pt x="6544" y="3489"/>
                </a:lnTo>
                <a:lnTo>
                  <a:pt x="6550" y="3477"/>
                </a:lnTo>
                <a:lnTo>
                  <a:pt x="6554" y="3466"/>
                </a:lnTo>
                <a:lnTo>
                  <a:pt x="6555" y="3460"/>
                </a:lnTo>
                <a:lnTo>
                  <a:pt x="6556" y="3456"/>
                </a:lnTo>
                <a:lnTo>
                  <a:pt x="6556" y="3451"/>
                </a:lnTo>
                <a:lnTo>
                  <a:pt x="6555" y="3448"/>
                </a:lnTo>
                <a:lnTo>
                  <a:pt x="6552" y="3442"/>
                </a:lnTo>
                <a:lnTo>
                  <a:pt x="6550" y="3434"/>
                </a:lnTo>
                <a:lnTo>
                  <a:pt x="6549" y="3427"/>
                </a:lnTo>
                <a:lnTo>
                  <a:pt x="6548" y="3420"/>
                </a:lnTo>
                <a:lnTo>
                  <a:pt x="6547" y="3414"/>
                </a:lnTo>
                <a:lnTo>
                  <a:pt x="6545" y="3411"/>
                </a:lnTo>
                <a:lnTo>
                  <a:pt x="6543" y="3410"/>
                </a:lnTo>
                <a:lnTo>
                  <a:pt x="6542" y="3410"/>
                </a:lnTo>
                <a:lnTo>
                  <a:pt x="6538" y="3411"/>
                </a:lnTo>
                <a:lnTo>
                  <a:pt x="6536" y="3413"/>
                </a:lnTo>
                <a:lnTo>
                  <a:pt x="6525" y="3422"/>
                </a:lnTo>
                <a:lnTo>
                  <a:pt x="6515" y="3431"/>
                </a:lnTo>
                <a:lnTo>
                  <a:pt x="6511" y="3435"/>
                </a:lnTo>
                <a:lnTo>
                  <a:pt x="6509" y="3439"/>
                </a:lnTo>
                <a:lnTo>
                  <a:pt x="6508" y="3444"/>
                </a:lnTo>
                <a:lnTo>
                  <a:pt x="6508" y="3448"/>
                </a:lnTo>
                <a:lnTo>
                  <a:pt x="6508" y="3450"/>
                </a:lnTo>
                <a:lnTo>
                  <a:pt x="6507" y="3451"/>
                </a:lnTo>
                <a:lnTo>
                  <a:pt x="6506" y="3452"/>
                </a:lnTo>
                <a:lnTo>
                  <a:pt x="6505" y="3453"/>
                </a:lnTo>
                <a:lnTo>
                  <a:pt x="6502" y="3454"/>
                </a:lnTo>
                <a:lnTo>
                  <a:pt x="6498" y="3454"/>
                </a:lnTo>
                <a:lnTo>
                  <a:pt x="6487" y="3451"/>
                </a:lnTo>
                <a:lnTo>
                  <a:pt x="6480" y="3447"/>
                </a:lnTo>
                <a:lnTo>
                  <a:pt x="6475" y="3443"/>
                </a:lnTo>
                <a:lnTo>
                  <a:pt x="6471" y="3439"/>
                </a:lnTo>
                <a:lnTo>
                  <a:pt x="6469" y="3437"/>
                </a:lnTo>
                <a:lnTo>
                  <a:pt x="6467" y="3438"/>
                </a:lnTo>
                <a:lnTo>
                  <a:pt x="6464" y="3440"/>
                </a:lnTo>
                <a:lnTo>
                  <a:pt x="6463" y="3443"/>
                </a:lnTo>
                <a:lnTo>
                  <a:pt x="6463" y="3446"/>
                </a:lnTo>
                <a:lnTo>
                  <a:pt x="6463" y="3448"/>
                </a:lnTo>
                <a:close/>
                <a:moveTo>
                  <a:pt x="6389" y="3251"/>
                </a:moveTo>
                <a:lnTo>
                  <a:pt x="6387" y="3255"/>
                </a:lnTo>
                <a:lnTo>
                  <a:pt x="6387" y="3259"/>
                </a:lnTo>
                <a:lnTo>
                  <a:pt x="6387" y="3266"/>
                </a:lnTo>
                <a:lnTo>
                  <a:pt x="6390" y="3272"/>
                </a:lnTo>
                <a:lnTo>
                  <a:pt x="6393" y="3286"/>
                </a:lnTo>
                <a:lnTo>
                  <a:pt x="6398" y="3301"/>
                </a:lnTo>
                <a:lnTo>
                  <a:pt x="6408" y="3327"/>
                </a:lnTo>
                <a:lnTo>
                  <a:pt x="6415" y="3341"/>
                </a:lnTo>
                <a:lnTo>
                  <a:pt x="6416" y="3342"/>
                </a:lnTo>
                <a:lnTo>
                  <a:pt x="6420" y="3342"/>
                </a:lnTo>
                <a:lnTo>
                  <a:pt x="6424" y="3340"/>
                </a:lnTo>
                <a:lnTo>
                  <a:pt x="6429" y="3338"/>
                </a:lnTo>
                <a:lnTo>
                  <a:pt x="6435" y="3335"/>
                </a:lnTo>
                <a:lnTo>
                  <a:pt x="6440" y="3332"/>
                </a:lnTo>
                <a:lnTo>
                  <a:pt x="6443" y="3327"/>
                </a:lnTo>
                <a:lnTo>
                  <a:pt x="6446" y="3324"/>
                </a:lnTo>
                <a:lnTo>
                  <a:pt x="6447" y="3315"/>
                </a:lnTo>
                <a:lnTo>
                  <a:pt x="6446" y="3304"/>
                </a:lnTo>
                <a:lnTo>
                  <a:pt x="6446" y="3298"/>
                </a:lnTo>
                <a:lnTo>
                  <a:pt x="6447" y="3292"/>
                </a:lnTo>
                <a:lnTo>
                  <a:pt x="6448" y="3285"/>
                </a:lnTo>
                <a:lnTo>
                  <a:pt x="6452" y="3280"/>
                </a:lnTo>
                <a:lnTo>
                  <a:pt x="6456" y="3273"/>
                </a:lnTo>
                <a:lnTo>
                  <a:pt x="6457" y="3263"/>
                </a:lnTo>
                <a:lnTo>
                  <a:pt x="6458" y="3254"/>
                </a:lnTo>
                <a:lnTo>
                  <a:pt x="6457" y="3246"/>
                </a:lnTo>
                <a:lnTo>
                  <a:pt x="6455" y="3236"/>
                </a:lnTo>
                <a:lnTo>
                  <a:pt x="6452" y="3230"/>
                </a:lnTo>
                <a:lnTo>
                  <a:pt x="6451" y="3227"/>
                </a:lnTo>
                <a:lnTo>
                  <a:pt x="6450" y="3225"/>
                </a:lnTo>
                <a:lnTo>
                  <a:pt x="6448" y="3224"/>
                </a:lnTo>
                <a:lnTo>
                  <a:pt x="6447" y="3224"/>
                </a:lnTo>
                <a:lnTo>
                  <a:pt x="6439" y="3223"/>
                </a:lnTo>
                <a:lnTo>
                  <a:pt x="6429" y="3222"/>
                </a:lnTo>
                <a:lnTo>
                  <a:pt x="6425" y="3222"/>
                </a:lnTo>
                <a:lnTo>
                  <a:pt x="6421" y="3223"/>
                </a:lnTo>
                <a:lnTo>
                  <a:pt x="6419" y="3225"/>
                </a:lnTo>
                <a:lnTo>
                  <a:pt x="6417" y="3227"/>
                </a:lnTo>
                <a:lnTo>
                  <a:pt x="6416" y="3229"/>
                </a:lnTo>
                <a:lnTo>
                  <a:pt x="6415" y="3232"/>
                </a:lnTo>
                <a:lnTo>
                  <a:pt x="6414" y="3237"/>
                </a:lnTo>
                <a:lnTo>
                  <a:pt x="6413" y="3240"/>
                </a:lnTo>
                <a:lnTo>
                  <a:pt x="6412" y="3241"/>
                </a:lnTo>
                <a:lnTo>
                  <a:pt x="6411" y="3242"/>
                </a:lnTo>
                <a:lnTo>
                  <a:pt x="6408" y="3241"/>
                </a:lnTo>
                <a:lnTo>
                  <a:pt x="6406" y="3241"/>
                </a:lnTo>
                <a:lnTo>
                  <a:pt x="6401" y="3245"/>
                </a:lnTo>
                <a:lnTo>
                  <a:pt x="6397" y="3247"/>
                </a:lnTo>
                <a:lnTo>
                  <a:pt x="6392" y="3250"/>
                </a:lnTo>
                <a:lnTo>
                  <a:pt x="6389" y="3251"/>
                </a:lnTo>
                <a:close/>
                <a:moveTo>
                  <a:pt x="6332" y="3679"/>
                </a:moveTo>
                <a:lnTo>
                  <a:pt x="6336" y="3671"/>
                </a:lnTo>
                <a:lnTo>
                  <a:pt x="6340" y="3661"/>
                </a:lnTo>
                <a:lnTo>
                  <a:pt x="6343" y="3648"/>
                </a:lnTo>
                <a:lnTo>
                  <a:pt x="6348" y="3636"/>
                </a:lnTo>
                <a:lnTo>
                  <a:pt x="6351" y="3625"/>
                </a:lnTo>
                <a:lnTo>
                  <a:pt x="6355" y="3615"/>
                </a:lnTo>
                <a:lnTo>
                  <a:pt x="6357" y="3612"/>
                </a:lnTo>
                <a:lnTo>
                  <a:pt x="6359" y="3609"/>
                </a:lnTo>
                <a:lnTo>
                  <a:pt x="6361" y="3608"/>
                </a:lnTo>
                <a:lnTo>
                  <a:pt x="6363" y="3608"/>
                </a:lnTo>
                <a:lnTo>
                  <a:pt x="6369" y="3608"/>
                </a:lnTo>
                <a:lnTo>
                  <a:pt x="6371" y="3607"/>
                </a:lnTo>
                <a:lnTo>
                  <a:pt x="6373" y="3605"/>
                </a:lnTo>
                <a:lnTo>
                  <a:pt x="6374" y="3602"/>
                </a:lnTo>
                <a:lnTo>
                  <a:pt x="6373" y="3598"/>
                </a:lnTo>
                <a:lnTo>
                  <a:pt x="6371" y="3591"/>
                </a:lnTo>
                <a:lnTo>
                  <a:pt x="6368" y="3585"/>
                </a:lnTo>
                <a:lnTo>
                  <a:pt x="6363" y="3578"/>
                </a:lnTo>
                <a:lnTo>
                  <a:pt x="6358" y="3570"/>
                </a:lnTo>
                <a:lnTo>
                  <a:pt x="6355" y="3562"/>
                </a:lnTo>
                <a:lnTo>
                  <a:pt x="6354" y="3554"/>
                </a:lnTo>
                <a:lnTo>
                  <a:pt x="6353" y="3546"/>
                </a:lnTo>
                <a:lnTo>
                  <a:pt x="6354" y="3541"/>
                </a:lnTo>
                <a:lnTo>
                  <a:pt x="6357" y="3537"/>
                </a:lnTo>
                <a:lnTo>
                  <a:pt x="6358" y="3535"/>
                </a:lnTo>
                <a:lnTo>
                  <a:pt x="6361" y="3535"/>
                </a:lnTo>
                <a:lnTo>
                  <a:pt x="6363" y="3535"/>
                </a:lnTo>
                <a:lnTo>
                  <a:pt x="6367" y="3535"/>
                </a:lnTo>
                <a:lnTo>
                  <a:pt x="6371" y="3536"/>
                </a:lnTo>
                <a:lnTo>
                  <a:pt x="6374" y="3536"/>
                </a:lnTo>
                <a:lnTo>
                  <a:pt x="6377" y="3535"/>
                </a:lnTo>
                <a:lnTo>
                  <a:pt x="6380" y="3534"/>
                </a:lnTo>
                <a:lnTo>
                  <a:pt x="6386" y="3529"/>
                </a:lnTo>
                <a:lnTo>
                  <a:pt x="6392" y="3523"/>
                </a:lnTo>
                <a:lnTo>
                  <a:pt x="6395" y="3517"/>
                </a:lnTo>
                <a:lnTo>
                  <a:pt x="6396" y="3512"/>
                </a:lnTo>
                <a:lnTo>
                  <a:pt x="6396" y="3510"/>
                </a:lnTo>
                <a:lnTo>
                  <a:pt x="6395" y="3508"/>
                </a:lnTo>
                <a:lnTo>
                  <a:pt x="6394" y="3507"/>
                </a:lnTo>
                <a:lnTo>
                  <a:pt x="6392" y="3507"/>
                </a:lnTo>
                <a:lnTo>
                  <a:pt x="6385" y="3505"/>
                </a:lnTo>
                <a:lnTo>
                  <a:pt x="6377" y="3502"/>
                </a:lnTo>
                <a:lnTo>
                  <a:pt x="6369" y="3498"/>
                </a:lnTo>
                <a:lnTo>
                  <a:pt x="6358" y="3494"/>
                </a:lnTo>
                <a:lnTo>
                  <a:pt x="6349" y="3490"/>
                </a:lnTo>
                <a:lnTo>
                  <a:pt x="6340" y="3487"/>
                </a:lnTo>
                <a:lnTo>
                  <a:pt x="6337" y="3486"/>
                </a:lnTo>
                <a:lnTo>
                  <a:pt x="6334" y="3486"/>
                </a:lnTo>
                <a:lnTo>
                  <a:pt x="6332" y="3486"/>
                </a:lnTo>
                <a:lnTo>
                  <a:pt x="6330" y="3487"/>
                </a:lnTo>
                <a:lnTo>
                  <a:pt x="6319" y="3500"/>
                </a:lnTo>
                <a:lnTo>
                  <a:pt x="6301" y="3522"/>
                </a:lnTo>
                <a:lnTo>
                  <a:pt x="6282" y="3546"/>
                </a:lnTo>
                <a:lnTo>
                  <a:pt x="6269" y="3563"/>
                </a:lnTo>
                <a:lnTo>
                  <a:pt x="6268" y="3565"/>
                </a:lnTo>
                <a:lnTo>
                  <a:pt x="6268" y="3568"/>
                </a:lnTo>
                <a:lnTo>
                  <a:pt x="6268" y="3573"/>
                </a:lnTo>
                <a:lnTo>
                  <a:pt x="6268" y="3576"/>
                </a:lnTo>
                <a:lnTo>
                  <a:pt x="6270" y="3583"/>
                </a:lnTo>
                <a:lnTo>
                  <a:pt x="6271" y="3589"/>
                </a:lnTo>
                <a:lnTo>
                  <a:pt x="6272" y="3593"/>
                </a:lnTo>
                <a:lnTo>
                  <a:pt x="6271" y="3596"/>
                </a:lnTo>
                <a:lnTo>
                  <a:pt x="6271" y="3599"/>
                </a:lnTo>
                <a:lnTo>
                  <a:pt x="6269" y="3601"/>
                </a:lnTo>
                <a:lnTo>
                  <a:pt x="6267" y="3603"/>
                </a:lnTo>
                <a:lnTo>
                  <a:pt x="6263" y="3605"/>
                </a:lnTo>
                <a:lnTo>
                  <a:pt x="6258" y="3606"/>
                </a:lnTo>
                <a:lnTo>
                  <a:pt x="6251" y="3606"/>
                </a:lnTo>
                <a:lnTo>
                  <a:pt x="6237" y="3606"/>
                </a:lnTo>
                <a:lnTo>
                  <a:pt x="6224" y="3608"/>
                </a:lnTo>
                <a:lnTo>
                  <a:pt x="6213" y="3610"/>
                </a:lnTo>
                <a:lnTo>
                  <a:pt x="6202" y="3612"/>
                </a:lnTo>
                <a:lnTo>
                  <a:pt x="6194" y="3613"/>
                </a:lnTo>
                <a:lnTo>
                  <a:pt x="6187" y="3613"/>
                </a:lnTo>
                <a:lnTo>
                  <a:pt x="6185" y="3613"/>
                </a:lnTo>
                <a:lnTo>
                  <a:pt x="6183" y="3612"/>
                </a:lnTo>
                <a:lnTo>
                  <a:pt x="6182" y="3611"/>
                </a:lnTo>
                <a:lnTo>
                  <a:pt x="6181" y="3610"/>
                </a:lnTo>
                <a:lnTo>
                  <a:pt x="6179" y="3605"/>
                </a:lnTo>
                <a:lnTo>
                  <a:pt x="6175" y="3597"/>
                </a:lnTo>
                <a:lnTo>
                  <a:pt x="6169" y="3588"/>
                </a:lnTo>
                <a:lnTo>
                  <a:pt x="6162" y="3580"/>
                </a:lnTo>
                <a:lnTo>
                  <a:pt x="6158" y="3577"/>
                </a:lnTo>
                <a:lnTo>
                  <a:pt x="6155" y="3575"/>
                </a:lnTo>
                <a:lnTo>
                  <a:pt x="6152" y="3574"/>
                </a:lnTo>
                <a:lnTo>
                  <a:pt x="6150" y="3574"/>
                </a:lnTo>
                <a:lnTo>
                  <a:pt x="6147" y="3575"/>
                </a:lnTo>
                <a:lnTo>
                  <a:pt x="6145" y="3577"/>
                </a:lnTo>
                <a:lnTo>
                  <a:pt x="6143" y="3581"/>
                </a:lnTo>
                <a:lnTo>
                  <a:pt x="6143" y="3587"/>
                </a:lnTo>
                <a:lnTo>
                  <a:pt x="6144" y="3601"/>
                </a:lnTo>
                <a:lnTo>
                  <a:pt x="6148" y="3612"/>
                </a:lnTo>
                <a:lnTo>
                  <a:pt x="6152" y="3623"/>
                </a:lnTo>
                <a:lnTo>
                  <a:pt x="6157" y="3631"/>
                </a:lnTo>
                <a:lnTo>
                  <a:pt x="6166" y="3644"/>
                </a:lnTo>
                <a:lnTo>
                  <a:pt x="6174" y="3654"/>
                </a:lnTo>
                <a:lnTo>
                  <a:pt x="6183" y="3666"/>
                </a:lnTo>
                <a:lnTo>
                  <a:pt x="6197" y="3681"/>
                </a:lnTo>
                <a:lnTo>
                  <a:pt x="6210" y="3695"/>
                </a:lnTo>
                <a:lnTo>
                  <a:pt x="6222" y="3705"/>
                </a:lnTo>
                <a:lnTo>
                  <a:pt x="6227" y="3706"/>
                </a:lnTo>
                <a:lnTo>
                  <a:pt x="6232" y="3706"/>
                </a:lnTo>
                <a:lnTo>
                  <a:pt x="6239" y="3705"/>
                </a:lnTo>
                <a:lnTo>
                  <a:pt x="6245" y="3703"/>
                </a:lnTo>
                <a:lnTo>
                  <a:pt x="6252" y="3702"/>
                </a:lnTo>
                <a:lnTo>
                  <a:pt x="6261" y="3703"/>
                </a:lnTo>
                <a:lnTo>
                  <a:pt x="6265" y="3705"/>
                </a:lnTo>
                <a:lnTo>
                  <a:pt x="6269" y="3707"/>
                </a:lnTo>
                <a:lnTo>
                  <a:pt x="6273" y="3709"/>
                </a:lnTo>
                <a:lnTo>
                  <a:pt x="6277" y="3713"/>
                </a:lnTo>
                <a:lnTo>
                  <a:pt x="6283" y="3716"/>
                </a:lnTo>
                <a:lnTo>
                  <a:pt x="6287" y="3718"/>
                </a:lnTo>
                <a:lnTo>
                  <a:pt x="6291" y="3720"/>
                </a:lnTo>
                <a:lnTo>
                  <a:pt x="6296" y="3721"/>
                </a:lnTo>
                <a:lnTo>
                  <a:pt x="6304" y="3721"/>
                </a:lnTo>
                <a:lnTo>
                  <a:pt x="6312" y="3720"/>
                </a:lnTo>
                <a:lnTo>
                  <a:pt x="6323" y="3715"/>
                </a:lnTo>
                <a:lnTo>
                  <a:pt x="6327" y="3712"/>
                </a:lnTo>
                <a:lnTo>
                  <a:pt x="6328" y="3707"/>
                </a:lnTo>
                <a:lnTo>
                  <a:pt x="6329" y="3696"/>
                </a:lnTo>
                <a:lnTo>
                  <a:pt x="6331" y="3685"/>
                </a:lnTo>
                <a:lnTo>
                  <a:pt x="6332" y="3679"/>
                </a:lnTo>
                <a:close/>
                <a:moveTo>
                  <a:pt x="6464" y="3710"/>
                </a:moveTo>
                <a:lnTo>
                  <a:pt x="6453" y="3697"/>
                </a:lnTo>
                <a:lnTo>
                  <a:pt x="6439" y="3683"/>
                </a:lnTo>
                <a:lnTo>
                  <a:pt x="6433" y="3675"/>
                </a:lnTo>
                <a:lnTo>
                  <a:pt x="6427" y="3669"/>
                </a:lnTo>
                <a:lnTo>
                  <a:pt x="6425" y="3666"/>
                </a:lnTo>
                <a:lnTo>
                  <a:pt x="6424" y="3663"/>
                </a:lnTo>
                <a:lnTo>
                  <a:pt x="6424" y="3661"/>
                </a:lnTo>
                <a:lnTo>
                  <a:pt x="6425" y="3658"/>
                </a:lnTo>
                <a:lnTo>
                  <a:pt x="6434" y="3649"/>
                </a:lnTo>
                <a:lnTo>
                  <a:pt x="6446" y="3639"/>
                </a:lnTo>
                <a:lnTo>
                  <a:pt x="6452" y="3634"/>
                </a:lnTo>
                <a:lnTo>
                  <a:pt x="6460" y="3630"/>
                </a:lnTo>
                <a:lnTo>
                  <a:pt x="6466" y="3627"/>
                </a:lnTo>
                <a:lnTo>
                  <a:pt x="6472" y="3626"/>
                </a:lnTo>
                <a:lnTo>
                  <a:pt x="6480" y="3625"/>
                </a:lnTo>
                <a:lnTo>
                  <a:pt x="6488" y="3622"/>
                </a:lnTo>
                <a:lnTo>
                  <a:pt x="6496" y="3617"/>
                </a:lnTo>
                <a:lnTo>
                  <a:pt x="6506" y="3610"/>
                </a:lnTo>
                <a:lnTo>
                  <a:pt x="6513" y="3604"/>
                </a:lnTo>
                <a:lnTo>
                  <a:pt x="6520" y="3599"/>
                </a:lnTo>
                <a:lnTo>
                  <a:pt x="6522" y="3597"/>
                </a:lnTo>
                <a:lnTo>
                  <a:pt x="6523" y="3595"/>
                </a:lnTo>
                <a:lnTo>
                  <a:pt x="6524" y="3592"/>
                </a:lnTo>
                <a:lnTo>
                  <a:pt x="6523" y="3591"/>
                </a:lnTo>
                <a:lnTo>
                  <a:pt x="6521" y="3590"/>
                </a:lnTo>
                <a:lnTo>
                  <a:pt x="6516" y="3591"/>
                </a:lnTo>
                <a:lnTo>
                  <a:pt x="6512" y="3592"/>
                </a:lnTo>
                <a:lnTo>
                  <a:pt x="6507" y="3595"/>
                </a:lnTo>
                <a:lnTo>
                  <a:pt x="6495" y="3600"/>
                </a:lnTo>
                <a:lnTo>
                  <a:pt x="6485" y="3605"/>
                </a:lnTo>
                <a:lnTo>
                  <a:pt x="6479" y="3607"/>
                </a:lnTo>
                <a:lnTo>
                  <a:pt x="6471" y="3608"/>
                </a:lnTo>
                <a:lnTo>
                  <a:pt x="6463" y="3608"/>
                </a:lnTo>
                <a:lnTo>
                  <a:pt x="6453" y="3608"/>
                </a:lnTo>
                <a:lnTo>
                  <a:pt x="6439" y="3607"/>
                </a:lnTo>
                <a:lnTo>
                  <a:pt x="6433" y="3606"/>
                </a:lnTo>
                <a:lnTo>
                  <a:pt x="6428" y="3607"/>
                </a:lnTo>
                <a:lnTo>
                  <a:pt x="6417" y="3610"/>
                </a:lnTo>
                <a:lnTo>
                  <a:pt x="6411" y="3614"/>
                </a:lnTo>
                <a:lnTo>
                  <a:pt x="6402" y="3621"/>
                </a:lnTo>
                <a:lnTo>
                  <a:pt x="6395" y="3629"/>
                </a:lnTo>
                <a:lnTo>
                  <a:pt x="6386" y="3640"/>
                </a:lnTo>
                <a:lnTo>
                  <a:pt x="6380" y="3651"/>
                </a:lnTo>
                <a:lnTo>
                  <a:pt x="6376" y="3663"/>
                </a:lnTo>
                <a:lnTo>
                  <a:pt x="6373" y="3672"/>
                </a:lnTo>
                <a:lnTo>
                  <a:pt x="6372" y="3681"/>
                </a:lnTo>
                <a:lnTo>
                  <a:pt x="6373" y="3691"/>
                </a:lnTo>
                <a:lnTo>
                  <a:pt x="6375" y="3699"/>
                </a:lnTo>
                <a:lnTo>
                  <a:pt x="6379" y="3708"/>
                </a:lnTo>
                <a:lnTo>
                  <a:pt x="6383" y="3716"/>
                </a:lnTo>
                <a:lnTo>
                  <a:pt x="6389" y="3722"/>
                </a:lnTo>
                <a:lnTo>
                  <a:pt x="6393" y="3729"/>
                </a:lnTo>
                <a:lnTo>
                  <a:pt x="6398" y="3733"/>
                </a:lnTo>
                <a:lnTo>
                  <a:pt x="6402" y="3736"/>
                </a:lnTo>
                <a:lnTo>
                  <a:pt x="6408" y="3741"/>
                </a:lnTo>
                <a:lnTo>
                  <a:pt x="6412" y="3744"/>
                </a:lnTo>
                <a:lnTo>
                  <a:pt x="6414" y="3745"/>
                </a:lnTo>
                <a:lnTo>
                  <a:pt x="6416" y="3745"/>
                </a:lnTo>
                <a:lnTo>
                  <a:pt x="6419" y="3744"/>
                </a:lnTo>
                <a:lnTo>
                  <a:pt x="6423" y="3742"/>
                </a:lnTo>
                <a:lnTo>
                  <a:pt x="6431" y="3736"/>
                </a:lnTo>
                <a:lnTo>
                  <a:pt x="6439" y="3728"/>
                </a:lnTo>
                <a:lnTo>
                  <a:pt x="6446" y="3720"/>
                </a:lnTo>
                <a:lnTo>
                  <a:pt x="6455" y="3714"/>
                </a:lnTo>
                <a:lnTo>
                  <a:pt x="6462" y="3711"/>
                </a:lnTo>
                <a:lnTo>
                  <a:pt x="6464" y="3710"/>
                </a:lnTo>
                <a:close/>
                <a:moveTo>
                  <a:pt x="6807" y="3774"/>
                </a:moveTo>
                <a:lnTo>
                  <a:pt x="6812" y="3785"/>
                </a:lnTo>
                <a:lnTo>
                  <a:pt x="6817" y="3795"/>
                </a:lnTo>
                <a:lnTo>
                  <a:pt x="6822" y="3802"/>
                </a:lnTo>
                <a:lnTo>
                  <a:pt x="6828" y="3807"/>
                </a:lnTo>
                <a:lnTo>
                  <a:pt x="6837" y="3815"/>
                </a:lnTo>
                <a:lnTo>
                  <a:pt x="6845" y="3820"/>
                </a:lnTo>
                <a:lnTo>
                  <a:pt x="6855" y="3828"/>
                </a:lnTo>
                <a:lnTo>
                  <a:pt x="6868" y="3837"/>
                </a:lnTo>
                <a:lnTo>
                  <a:pt x="6876" y="3840"/>
                </a:lnTo>
                <a:lnTo>
                  <a:pt x="6884" y="3841"/>
                </a:lnTo>
                <a:lnTo>
                  <a:pt x="6888" y="3841"/>
                </a:lnTo>
                <a:lnTo>
                  <a:pt x="6891" y="3841"/>
                </a:lnTo>
                <a:lnTo>
                  <a:pt x="6896" y="3839"/>
                </a:lnTo>
                <a:lnTo>
                  <a:pt x="6899" y="3837"/>
                </a:lnTo>
                <a:lnTo>
                  <a:pt x="6907" y="3831"/>
                </a:lnTo>
                <a:lnTo>
                  <a:pt x="6917" y="3826"/>
                </a:lnTo>
                <a:lnTo>
                  <a:pt x="6926" y="3822"/>
                </a:lnTo>
                <a:lnTo>
                  <a:pt x="6935" y="3819"/>
                </a:lnTo>
                <a:lnTo>
                  <a:pt x="6945" y="3817"/>
                </a:lnTo>
                <a:lnTo>
                  <a:pt x="6953" y="3816"/>
                </a:lnTo>
                <a:lnTo>
                  <a:pt x="6956" y="3817"/>
                </a:lnTo>
                <a:lnTo>
                  <a:pt x="6960" y="3817"/>
                </a:lnTo>
                <a:lnTo>
                  <a:pt x="6962" y="3819"/>
                </a:lnTo>
                <a:lnTo>
                  <a:pt x="6964" y="3820"/>
                </a:lnTo>
                <a:lnTo>
                  <a:pt x="6969" y="3825"/>
                </a:lnTo>
                <a:lnTo>
                  <a:pt x="6976" y="3830"/>
                </a:lnTo>
                <a:lnTo>
                  <a:pt x="6986" y="3837"/>
                </a:lnTo>
                <a:lnTo>
                  <a:pt x="6996" y="3843"/>
                </a:lnTo>
                <a:lnTo>
                  <a:pt x="7018" y="3855"/>
                </a:lnTo>
                <a:lnTo>
                  <a:pt x="7035" y="3864"/>
                </a:lnTo>
                <a:lnTo>
                  <a:pt x="7040" y="3866"/>
                </a:lnTo>
                <a:lnTo>
                  <a:pt x="7048" y="3867"/>
                </a:lnTo>
                <a:lnTo>
                  <a:pt x="7054" y="3868"/>
                </a:lnTo>
                <a:lnTo>
                  <a:pt x="7060" y="3868"/>
                </a:lnTo>
                <a:lnTo>
                  <a:pt x="7065" y="3867"/>
                </a:lnTo>
                <a:lnTo>
                  <a:pt x="7071" y="3866"/>
                </a:lnTo>
                <a:lnTo>
                  <a:pt x="7075" y="3864"/>
                </a:lnTo>
                <a:lnTo>
                  <a:pt x="7077" y="3861"/>
                </a:lnTo>
                <a:lnTo>
                  <a:pt x="7081" y="3850"/>
                </a:lnTo>
                <a:lnTo>
                  <a:pt x="7086" y="3837"/>
                </a:lnTo>
                <a:lnTo>
                  <a:pt x="7087" y="3830"/>
                </a:lnTo>
                <a:lnTo>
                  <a:pt x="7088" y="3826"/>
                </a:lnTo>
                <a:lnTo>
                  <a:pt x="7088" y="3824"/>
                </a:lnTo>
                <a:lnTo>
                  <a:pt x="7087" y="3823"/>
                </a:lnTo>
                <a:lnTo>
                  <a:pt x="7086" y="3823"/>
                </a:lnTo>
                <a:lnTo>
                  <a:pt x="7085" y="3823"/>
                </a:lnTo>
                <a:lnTo>
                  <a:pt x="7077" y="3827"/>
                </a:lnTo>
                <a:lnTo>
                  <a:pt x="7067" y="3830"/>
                </a:lnTo>
                <a:lnTo>
                  <a:pt x="7063" y="3831"/>
                </a:lnTo>
                <a:lnTo>
                  <a:pt x="7058" y="3831"/>
                </a:lnTo>
                <a:lnTo>
                  <a:pt x="7054" y="3830"/>
                </a:lnTo>
                <a:lnTo>
                  <a:pt x="7050" y="3827"/>
                </a:lnTo>
                <a:lnTo>
                  <a:pt x="7041" y="3822"/>
                </a:lnTo>
                <a:lnTo>
                  <a:pt x="7031" y="3816"/>
                </a:lnTo>
                <a:lnTo>
                  <a:pt x="7017" y="3807"/>
                </a:lnTo>
                <a:lnTo>
                  <a:pt x="6998" y="3794"/>
                </a:lnTo>
                <a:lnTo>
                  <a:pt x="6990" y="3785"/>
                </a:lnTo>
                <a:lnTo>
                  <a:pt x="6984" y="3779"/>
                </a:lnTo>
                <a:lnTo>
                  <a:pt x="6979" y="3773"/>
                </a:lnTo>
                <a:lnTo>
                  <a:pt x="6977" y="3766"/>
                </a:lnTo>
                <a:lnTo>
                  <a:pt x="6975" y="3761"/>
                </a:lnTo>
                <a:lnTo>
                  <a:pt x="6973" y="3756"/>
                </a:lnTo>
                <a:lnTo>
                  <a:pt x="6971" y="3751"/>
                </a:lnTo>
                <a:lnTo>
                  <a:pt x="6967" y="3745"/>
                </a:lnTo>
                <a:lnTo>
                  <a:pt x="6955" y="3732"/>
                </a:lnTo>
                <a:lnTo>
                  <a:pt x="6940" y="3718"/>
                </a:lnTo>
                <a:lnTo>
                  <a:pt x="6931" y="3711"/>
                </a:lnTo>
                <a:lnTo>
                  <a:pt x="6923" y="3706"/>
                </a:lnTo>
                <a:lnTo>
                  <a:pt x="6915" y="3701"/>
                </a:lnTo>
                <a:lnTo>
                  <a:pt x="6905" y="3699"/>
                </a:lnTo>
                <a:lnTo>
                  <a:pt x="6887" y="3697"/>
                </a:lnTo>
                <a:lnTo>
                  <a:pt x="6869" y="3695"/>
                </a:lnTo>
                <a:lnTo>
                  <a:pt x="6861" y="3694"/>
                </a:lnTo>
                <a:lnTo>
                  <a:pt x="6853" y="3692"/>
                </a:lnTo>
                <a:lnTo>
                  <a:pt x="6844" y="3689"/>
                </a:lnTo>
                <a:lnTo>
                  <a:pt x="6836" y="3685"/>
                </a:lnTo>
                <a:lnTo>
                  <a:pt x="6818" y="3676"/>
                </a:lnTo>
                <a:lnTo>
                  <a:pt x="6800" y="3669"/>
                </a:lnTo>
                <a:lnTo>
                  <a:pt x="6792" y="3666"/>
                </a:lnTo>
                <a:lnTo>
                  <a:pt x="6785" y="3664"/>
                </a:lnTo>
                <a:lnTo>
                  <a:pt x="6778" y="3663"/>
                </a:lnTo>
                <a:lnTo>
                  <a:pt x="6773" y="3663"/>
                </a:lnTo>
                <a:lnTo>
                  <a:pt x="6769" y="3662"/>
                </a:lnTo>
                <a:lnTo>
                  <a:pt x="6764" y="3658"/>
                </a:lnTo>
                <a:lnTo>
                  <a:pt x="6759" y="3655"/>
                </a:lnTo>
                <a:lnTo>
                  <a:pt x="6755" y="3651"/>
                </a:lnTo>
                <a:lnTo>
                  <a:pt x="6751" y="3648"/>
                </a:lnTo>
                <a:lnTo>
                  <a:pt x="6747" y="3645"/>
                </a:lnTo>
                <a:lnTo>
                  <a:pt x="6746" y="3645"/>
                </a:lnTo>
                <a:lnTo>
                  <a:pt x="6745" y="3645"/>
                </a:lnTo>
                <a:lnTo>
                  <a:pt x="6744" y="3646"/>
                </a:lnTo>
                <a:lnTo>
                  <a:pt x="6744" y="3647"/>
                </a:lnTo>
                <a:lnTo>
                  <a:pt x="6743" y="3651"/>
                </a:lnTo>
                <a:lnTo>
                  <a:pt x="6744" y="3655"/>
                </a:lnTo>
                <a:lnTo>
                  <a:pt x="6745" y="3659"/>
                </a:lnTo>
                <a:lnTo>
                  <a:pt x="6747" y="3664"/>
                </a:lnTo>
                <a:lnTo>
                  <a:pt x="6749" y="3673"/>
                </a:lnTo>
                <a:lnTo>
                  <a:pt x="6750" y="3679"/>
                </a:lnTo>
                <a:lnTo>
                  <a:pt x="6749" y="3681"/>
                </a:lnTo>
                <a:lnTo>
                  <a:pt x="6748" y="3681"/>
                </a:lnTo>
                <a:lnTo>
                  <a:pt x="6747" y="3683"/>
                </a:lnTo>
                <a:lnTo>
                  <a:pt x="6746" y="3683"/>
                </a:lnTo>
                <a:lnTo>
                  <a:pt x="6742" y="3681"/>
                </a:lnTo>
                <a:lnTo>
                  <a:pt x="6737" y="3678"/>
                </a:lnTo>
                <a:lnTo>
                  <a:pt x="6729" y="3673"/>
                </a:lnTo>
                <a:lnTo>
                  <a:pt x="6722" y="3667"/>
                </a:lnTo>
                <a:lnTo>
                  <a:pt x="6714" y="3658"/>
                </a:lnTo>
                <a:lnTo>
                  <a:pt x="6705" y="3648"/>
                </a:lnTo>
                <a:lnTo>
                  <a:pt x="6701" y="3644"/>
                </a:lnTo>
                <a:lnTo>
                  <a:pt x="6696" y="3642"/>
                </a:lnTo>
                <a:lnTo>
                  <a:pt x="6692" y="3641"/>
                </a:lnTo>
                <a:lnTo>
                  <a:pt x="6690" y="3641"/>
                </a:lnTo>
                <a:lnTo>
                  <a:pt x="6688" y="3642"/>
                </a:lnTo>
                <a:lnTo>
                  <a:pt x="6686" y="3643"/>
                </a:lnTo>
                <a:lnTo>
                  <a:pt x="6684" y="3645"/>
                </a:lnTo>
                <a:lnTo>
                  <a:pt x="6681" y="3645"/>
                </a:lnTo>
                <a:lnTo>
                  <a:pt x="6679" y="3646"/>
                </a:lnTo>
                <a:lnTo>
                  <a:pt x="6677" y="3646"/>
                </a:lnTo>
                <a:lnTo>
                  <a:pt x="6671" y="3645"/>
                </a:lnTo>
                <a:lnTo>
                  <a:pt x="6667" y="3644"/>
                </a:lnTo>
                <a:lnTo>
                  <a:pt x="6663" y="3643"/>
                </a:lnTo>
                <a:lnTo>
                  <a:pt x="6661" y="3645"/>
                </a:lnTo>
                <a:lnTo>
                  <a:pt x="6660" y="3649"/>
                </a:lnTo>
                <a:lnTo>
                  <a:pt x="6661" y="3657"/>
                </a:lnTo>
                <a:lnTo>
                  <a:pt x="6664" y="3667"/>
                </a:lnTo>
                <a:lnTo>
                  <a:pt x="6667" y="3676"/>
                </a:lnTo>
                <a:lnTo>
                  <a:pt x="6670" y="3686"/>
                </a:lnTo>
                <a:lnTo>
                  <a:pt x="6674" y="3693"/>
                </a:lnTo>
                <a:lnTo>
                  <a:pt x="6681" y="3707"/>
                </a:lnTo>
                <a:lnTo>
                  <a:pt x="6688" y="3717"/>
                </a:lnTo>
                <a:lnTo>
                  <a:pt x="6692" y="3720"/>
                </a:lnTo>
                <a:lnTo>
                  <a:pt x="6700" y="3722"/>
                </a:lnTo>
                <a:lnTo>
                  <a:pt x="6708" y="3723"/>
                </a:lnTo>
                <a:lnTo>
                  <a:pt x="6718" y="3724"/>
                </a:lnTo>
                <a:lnTo>
                  <a:pt x="6727" y="3725"/>
                </a:lnTo>
                <a:lnTo>
                  <a:pt x="6736" y="3727"/>
                </a:lnTo>
                <a:lnTo>
                  <a:pt x="6744" y="3729"/>
                </a:lnTo>
                <a:lnTo>
                  <a:pt x="6750" y="3731"/>
                </a:lnTo>
                <a:lnTo>
                  <a:pt x="6760" y="3740"/>
                </a:lnTo>
                <a:lnTo>
                  <a:pt x="6774" y="3753"/>
                </a:lnTo>
                <a:lnTo>
                  <a:pt x="6785" y="3762"/>
                </a:lnTo>
                <a:lnTo>
                  <a:pt x="6790" y="3767"/>
                </a:lnTo>
                <a:lnTo>
                  <a:pt x="6807" y="3774"/>
                </a:lnTo>
                <a:close/>
                <a:moveTo>
                  <a:pt x="2785" y="1985"/>
                </a:moveTo>
                <a:lnTo>
                  <a:pt x="2790" y="1966"/>
                </a:lnTo>
                <a:lnTo>
                  <a:pt x="2799" y="1923"/>
                </a:lnTo>
                <a:lnTo>
                  <a:pt x="2805" y="1899"/>
                </a:lnTo>
                <a:lnTo>
                  <a:pt x="2812" y="1876"/>
                </a:lnTo>
                <a:lnTo>
                  <a:pt x="2815" y="1866"/>
                </a:lnTo>
                <a:lnTo>
                  <a:pt x="2818" y="1857"/>
                </a:lnTo>
                <a:lnTo>
                  <a:pt x="2821" y="1850"/>
                </a:lnTo>
                <a:lnTo>
                  <a:pt x="2824" y="1846"/>
                </a:lnTo>
                <a:lnTo>
                  <a:pt x="2839" y="1829"/>
                </a:lnTo>
                <a:lnTo>
                  <a:pt x="2853" y="1812"/>
                </a:lnTo>
                <a:lnTo>
                  <a:pt x="2860" y="1804"/>
                </a:lnTo>
                <a:lnTo>
                  <a:pt x="2865" y="1796"/>
                </a:lnTo>
                <a:lnTo>
                  <a:pt x="2866" y="1791"/>
                </a:lnTo>
                <a:lnTo>
                  <a:pt x="2867" y="1788"/>
                </a:lnTo>
                <a:lnTo>
                  <a:pt x="2868" y="1784"/>
                </a:lnTo>
                <a:lnTo>
                  <a:pt x="2867" y="1780"/>
                </a:lnTo>
                <a:lnTo>
                  <a:pt x="2867" y="1771"/>
                </a:lnTo>
                <a:lnTo>
                  <a:pt x="2867" y="1761"/>
                </a:lnTo>
                <a:lnTo>
                  <a:pt x="2869" y="1750"/>
                </a:lnTo>
                <a:lnTo>
                  <a:pt x="2872" y="1740"/>
                </a:lnTo>
                <a:lnTo>
                  <a:pt x="2876" y="1731"/>
                </a:lnTo>
                <a:lnTo>
                  <a:pt x="2881" y="1722"/>
                </a:lnTo>
                <a:lnTo>
                  <a:pt x="2883" y="1719"/>
                </a:lnTo>
                <a:lnTo>
                  <a:pt x="2885" y="1717"/>
                </a:lnTo>
                <a:lnTo>
                  <a:pt x="2888" y="1715"/>
                </a:lnTo>
                <a:lnTo>
                  <a:pt x="2890" y="1714"/>
                </a:lnTo>
                <a:lnTo>
                  <a:pt x="2895" y="1711"/>
                </a:lnTo>
                <a:lnTo>
                  <a:pt x="2903" y="1704"/>
                </a:lnTo>
                <a:lnTo>
                  <a:pt x="2911" y="1696"/>
                </a:lnTo>
                <a:lnTo>
                  <a:pt x="2919" y="1687"/>
                </a:lnTo>
                <a:lnTo>
                  <a:pt x="2929" y="1679"/>
                </a:lnTo>
                <a:lnTo>
                  <a:pt x="2937" y="1673"/>
                </a:lnTo>
                <a:lnTo>
                  <a:pt x="2940" y="1672"/>
                </a:lnTo>
                <a:lnTo>
                  <a:pt x="2944" y="1672"/>
                </a:lnTo>
                <a:lnTo>
                  <a:pt x="2947" y="1673"/>
                </a:lnTo>
                <a:lnTo>
                  <a:pt x="2950" y="1675"/>
                </a:lnTo>
                <a:lnTo>
                  <a:pt x="2954" y="1680"/>
                </a:lnTo>
                <a:lnTo>
                  <a:pt x="2956" y="1681"/>
                </a:lnTo>
                <a:lnTo>
                  <a:pt x="2959" y="1681"/>
                </a:lnTo>
                <a:lnTo>
                  <a:pt x="2961" y="1678"/>
                </a:lnTo>
                <a:lnTo>
                  <a:pt x="2962" y="1674"/>
                </a:lnTo>
                <a:lnTo>
                  <a:pt x="2966" y="1669"/>
                </a:lnTo>
                <a:lnTo>
                  <a:pt x="2969" y="1665"/>
                </a:lnTo>
                <a:lnTo>
                  <a:pt x="2972" y="1660"/>
                </a:lnTo>
                <a:lnTo>
                  <a:pt x="2979" y="1655"/>
                </a:lnTo>
                <a:lnTo>
                  <a:pt x="2990" y="1645"/>
                </a:lnTo>
                <a:lnTo>
                  <a:pt x="3003" y="1631"/>
                </a:lnTo>
                <a:lnTo>
                  <a:pt x="3017" y="1615"/>
                </a:lnTo>
                <a:lnTo>
                  <a:pt x="3029" y="1600"/>
                </a:lnTo>
                <a:lnTo>
                  <a:pt x="3039" y="1585"/>
                </a:lnTo>
                <a:lnTo>
                  <a:pt x="3042" y="1579"/>
                </a:lnTo>
                <a:lnTo>
                  <a:pt x="3044" y="1572"/>
                </a:lnTo>
                <a:lnTo>
                  <a:pt x="3045" y="1568"/>
                </a:lnTo>
                <a:lnTo>
                  <a:pt x="3044" y="1564"/>
                </a:lnTo>
                <a:lnTo>
                  <a:pt x="3041" y="1558"/>
                </a:lnTo>
                <a:lnTo>
                  <a:pt x="3038" y="1551"/>
                </a:lnTo>
                <a:lnTo>
                  <a:pt x="3037" y="1546"/>
                </a:lnTo>
                <a:lnTo>
                  <a:pt x="3035" y="1541"/>
                </a:lnTo>
                <a:lnTo>
                  <a:pt x="3034" y="1533"/>
                </a:lnTo>
                <a:lnTo>
                  <a:pt x="3034" y="1529"/>
                </a:lnTo>
                <a:lnTo>
                  <a:pt x="3038" y="1535"/>
                </a:lnTo>
                <a:lnTo>
                  <a:pt x="3047" y="1547"/>
                </a:lnTo>
                <a:lnTo>
                  <a:pt x="3054" y="1553"/>
                </a:lnTo>
                <a:lnTo>
                  <a:pt x="3061" y="1558"/>
                </a:lnTo>
                <a:lnTo>
                  <a:pt x="3065" y="1560"/>
                </a:lnTo>
                <a:lnTo>
                  <a:pt x="3068" y="1561"/>
                </a:lnTo>
                <a:lnTo>
                  <a:pt x="3072" y="1561"/>
                </a:lnTo>
                <a:lnTo>
                  <a:pt x="3077" y="1560"/>
                </a:lnTo>
                <a:lnTo>
                  <a:pt x="3091" y="1553"/>
                </a:lnTo>
                <a:lnTo>
                  <a:pt x="3114" y="1540"/>
                </a:lnTo>
                <a:lnTo>
                  <a:pt x="3143" y="1521"/>
                </a:lnTo>
                <a:lnTo>
                  <a:pt x="3174" y="1500"/>
                </a:lnTo>
                <a:lnTo>
                  <a:pt x="3203" y="1480"/>
                </a:lnTo>
                <a:lnTo>
                  <a:pt x="3230" y="1462"/>
                </a:lnTo>
                <a:lnTo>
                  <a:pt x="3247" y="1450"/>
                </a:lnTo>
                <a:lnTo>
                  <a:pt x="3254" y="1446"/>
                </a:lnTo>
                <a:lnTo>
                  <a:pt x="3245" y="1440"/>
                </a:lnTo>
                <a:lnTo>
                  <a:pt x="3225" y="1432"/>
                </a:lnTo>
                <a:lnTo>
                  <a:pt x="3214" y="1428"/>
                </a:lnTo>
                <a:lnTo>
                  <a:pt x="3201" y="1425"/>
                </a:lnTo>
                <a:lnTo>
                  <a:pt x="3196" y="1425"/>
                </a:lnTo>
                <a:lnTo>
                  <a:pt x="3190" y="1425"/>
                </a:lnTo>
                <a:lnTo>
                  <a:pt x="3185" y="1425"/>
                </a:lnTo>
                <a:lnTo>
                  <a:pt x="3179" y="1427"/>
                </a:lnTo>
                <a:lnTo>
                  <a:pt x="3175" y="1428"/>
                </a:lnTo>
                <a:lnTo>
                  <a:pt x="3171" y="1429"/>
                </a:lnTo>
                <a:lnTo>
                  <a:pt x="3168" y="1429"/>
                </a:lnTo>
                <a:lnTo>
                  <a:pt x="3165" y="1429"/>
                </a:lnTo>
                <a:lnTo>
                  <a:pt x="3161" y="1428"/>
                </a:lnTo>
                <a:lnTo>
                  <a:pt x="3159" y="1426"/>
                </a:lnTo>
                <a:lnTo>
                  <a:pt x="3157" y="1425"/>
                </a:lnTo>
                <a:lnTo>
                  <a:pt x="3155" y="1423"/>
                </a:lnTo>
                <a:lnTo>
                  <a:pt x="3153" y="1417"/>
                </a:lnTo>
                <a:lnTo>
                  <a:pt x="3153" y="1412"/>
                </a:lnTo>
                <a:lnTo>
                  <a:pt x="3154" y="1408"/>
                </a:lnTo>
                <a:lnTo>
                  <a:pt x="3157" y="1404"/>
                </a:lnTo>
                <a:lnTo>
                  <a:pt x="3168" y="1397"/>
                </a:lnTo>
                <a:lnTo>
                  <a:pt x="3181" y="1392"/>
                </a:lnTo>
                <a:lnTo>
                  <a:pt x="3187" y="1389"/>
                </a:lnTo>
                <a:lnTo>
                  <a:pt x="3191" y="1386"/>
                </a:lnTo>
                <a:lnTo>
                  <a:pt x="3192" y="1384"/>
                </a:lnTo>
                <a:lnTo>
                  <a:pt x="3192" y="1383"/>
                </a:lnTo>
                <a:lnTo>
                  <a:pt x="3192" y="1381"/>
                </a:lnTo>
                <a:lnTo>
                  <a:pt x="3190" y="1380"/>
                </a:lnTo>
                <a:lnTo>
                  <a:pt x="3187" y="1375"/>
                </a:lnTo>
                <a:lnTo>
                  <a:pt x="3183" y="1371"/>
                </a:lnTo>
                <a:lnTo>
                  <a:pt x="3182" y="1366"/>
                </a:lnTo>
                <a:lnTo>
                  <a:pt x="3181" y="1361"/>
                </a:lnTo>
                <a:lnTo>
                  <a:pt x="3182" y="1357"/>
                </a:lnTo>
                <a:lnTo>
                  <a:pt x="3185" y="1353"/>
                </a:lnTo>
                <a:lnTo>
                  <a:pt x="3186" y="1352"/>
                </a:lnTo>
                <a:lnTo>
                  <a:pt x="3188" y="1351"/>
                </a:lnTo>
                <a:lnTo>
                  <a:pt x="3190" y="1352"/>
                </a:lnTo>
                <a:lnTo>
                  <a:pt x="3192" y="1352"/>
                </a:lnTo>
                <a:lnTo>
                  <a:pt x="3197" y="1357"/>
                </a:lnTo>
                <a:lnTo>
                  <a:pt x="3202" y="1363"/>
                </a:lnTo>
                <a:lnTo>
                  <a:pt x="3208" y="1371"/>
                </a:lnTo>
                <a:lnTo>
                  <a:pt x="3212" y="1380"/>
                </a:lnTo>
                <a:lnTo>
                  <a:pt x="3218" y="1395"/>
                </a:lnTo>
                <a:lnTo>
                  <a:pt x="3221" y="1402"/>
                </a:lnTo>
                <a:lnTo>
                  <a:pt x="3223" y="1407"/>
                </a:lnTo>
                <a:lnTo>
                  <a:pt x="3230" y="1416"/>
                </a:lnTo>
                <a:lnTo>
                  <a:pt x="3234" y="1421"/>
                </a:lnTo>
                <a:lnTo>
                  <a:pt x="3239" y="1425"/>
                </a:lnTo>
                <a:lnTo>
                  <a:pt x="3241" y="1426"/>
                </a:lnTo>
                <a:lnTo>
                  <a:pt x="3244" y="1426"/>
                </a:lnTo>
                <a:lnTo>
                  <a:pt x="3246" y="1426"/>
                </a:lnTo>
                <a:lnTo>
                  <a:pt x="3249" y="1425"/>
                </a:lnTo>
                <a:lnTo>
                  <a:pt x="3256" y="1420"/>
                </a:lnTo>
                <a:lnTo>
                  <a:pt x="3262" y="1414"/>
                </a:lnTo>
                <a:lnTo>
                  <a:pt x="3269" y="1408"/>
                </a:lnTo>
                <a:lnTo>
                  <a:pt x="3277" y="1399"/>
                </a:lnTo>
                <a:lnTo>
                  <a:pt x="3282" y="1391"/>
                </a:lnTo>
                <a:lnTo>
                  <a:pt x="3285" y="1383"/>
                </a:lnTo>
                <a:lnTo>
                  <a:pt x="3286" y="1379"/>
                </a:lnTo>
                <a:lnTo>
                  <a:pt x="3286" y="1374"/>
                </a:lnTo>
                <a:lnTo>
                  <a:pt x="3286" y="1370"/>
                </a:lnTo>
                <a:lnTo>
                  <a:pt x="3284" y="1367"/>
                </a:lnTo>
                <a:lnTo>
                  <a:pt x="3275" y="1350"/>
                </a:lnTo>
                <a:lnTo>
                  <a:pt x="3261" y="1329"/>
                </a:lnTo>
                <a:lnTo>
                  <a:pt x="3246" y="1309"/>
                </a:lnTo>
                <a:lnTo>
                  <a:pt x="3235" y="1295"/>
                </a:lnTo>
                <a:lnTo>
                  <a:pt x="3222" y="1282"/>
                </a:lnTo>
                <a:lnTo>
                  <a:pt x="3204" y="1266"/>
                </a:lnTo>
                <a:lnTo>
                  <a:pt x="3190" y="1253"/>
                </a:lnTo>
                <a:lnTo>
                  <a:pt x="3183" y="1248"/>
                </a:lnTo>
                <a:lnTo>
                  <a:pt x="3191" y="1247"/>
                </a:lnTo>
                <a:lnTo>
                  <a:pt x="3207" y="1243"/>
                </a:lnTo>
                <a:lnTo>
                  <a:pt x="3215" y="1242"/>
                </a:lnTo>
                <a:lnTo>
                  <a:pt x="3223" y="1242"/>
                </a:lnTo>
                <a:lnTo>
                  <a:pt x="3226" y="1242"/>
                </a:lnTo>
                <a:lnTo>
                  <a:pt x="3230" y="1243"/>
                </a:lnTo>
                <a:lnTo>
                  <a:pt x="3232" y="1244"/>
                </a:lnTo>
                <a:lnTo>
                  <a:pt x="3233" y="1245"/>
                </a:lnTo>
                <a:lnTo>
                  <a:pt x="3234" y="1248"/>
                </a:lnTo>
                <a:lnTo>
                  <a:pt x="3236" y="1248"/>
                </a:lnTo>
                <a:lnTo>
                  <a:pt x="3237" y="1248"/>
                </a:lnTo>
                <a:lnTo>
                  <a:pt x="3238" y="1248"/>
                </a:lnTo>
                <a:lnTo>
                  <a:pt x="3240" y="1244"/>
                </a:lnTo>
                <a:lnTo>
                  <a:pt x="3241" y="1240"/>
                </a:lnTo>
                <a:lnTo>
                  <a:pt x="3244" y="1232"/>
                </a:lnTo>
                <a:lnTo>
                  <a:pt x="3245" y="1228"/>
                </a:lnTo>
                <a:lnTo>
                  <a:pt x="3246" y="1221"/>
                </a:lnTo>
                <a:lnTo>
                  <a:pt x="3247" y="1211"/>
                </a:lnTo>
                <a:lnTo>
                  <a:pt x="3249" y="1206"/>
                </a:lnTo>
                <a:lnTo>
                  <a:pt x="3252" y="1203"/>
                </a:lnTo>
                <a:lnTo>
                  <a:pt x="3253" y="1201"/>
                </a:lnTo>
                <a:lnTo>
                  <a:pt x="3255" y="1201"/>
                </a:lnTo>
                <a:lnTo>
                  <a:pt x="3256" y="1203"/>
                </a:lnTo>
                <a:lnTo>
                  <a:pt x="3258" y="1205"/>
                </a:lnTo>
                <a:lnTo>
                  <a:pt x="3260" y="1207"/>
                </a:lnTo>
                <a:lnTo>
                  <a:pt x="3262" y="1209"/>
                </a:lnTo>
                <a:lnTo>
                  <a:pt x="3265" y="1210"/>
                </a:lnTo>
                <a:lnTo>
                  <a:pt x="3268" y="1211"/>
                </a:lnTo>
                <a:lnTo>
                  <a:pt x="3276" y="1212"/>
                </a:lnTo>
                <a:lnTo>
                  <a:pt x="3283" y="1211"/>
                </a:lnTo>
                <a:lnTo>
                  <a:pt x="3296" y="1209"/>
                </a:lnTo>
                <a:lnTo>
                  <a:pt x="3301" y="1207"/>
                </a:lnTo>
                <a:lnTo>
                  <a:pt x="3300" y="1201"/>
                </a:lnTo>
                <a:lnTo>
                  <a:pt x="3298" y="1191"/>
                </a:lnTo>
                <a:lnTo>
                  <a:pt x="3295" y="1180"/>
                </a:lnTo>
                <a:lnTo>
                  <a:pt x="3292" y="1174"/>
                </a:lnTo>
                <a:lnTo>
                  <a:pt x="3284" y="1170"/>
                </a:lnTo>
                <a:lnTo>
                  <a:pt x="3270" y="1161"/>
                </a:lnTo>
                <a:lnTo>
                  <a:pt x="3265" y="1155"/>
                </a:lnTo>
                <a:lnTo>
                  <a:pt x="3261" y="1150"/>
                </a:lnTo>
                <a:lnTo>
                  <a:pt x="3260" y="1147"/>
                </a:lnTo>
                <a:lnTo>
                  <a:pt x="3260" y="1145"/>
                </a:lnTo>
                <a:lnTo>
                  <a:pt x="3261" y="1143"/>
                </a:lnTo>
                <a:lnTo>
                  <a:pt x="3263" y="1141"/>
                </a:lnTo>
                <a:lnTo>
                  <a:pt x="3277" y="1133"/>
                </a:lnTo>
                <a:lnTo>
                  <a:pt x="3295" y="1126"/>
                </a:lnTo>
                <a:lnTo>
                  <a:pt x="3311" y="1120"/>
                </a:lnTo>
                <a:lnTo>
                  <a:pt x="3320" y="1119"/>
                </a:lnTo>
                <a:lnTo>
                  <a:pt x="3321" y="1118"/>
                </a:lnTo>
                <a:lnTo>
                  <a:pt x="3320" y="1114"/>
                </a:lnTo>
                <a:lnTo>
                  <a:pt x="3318" y="1110"/>
                </a:lnTo>
                <a:lnTo>
                  <a:pt x="3314" y="1104"/>
                </a:lnTo>
                <a:lnTo>
                  <a:pt x="3306" y="1091"/>
                </a:lnTo>
                <a:lnTo>
                  <a:pt x="3296" y="1080"/>
                </a:lnTo>
                <a:lnTo>
                  <a:pt x="3290" y="1075"/>
                </a:lnTo>
                <a:lnTo>
                  <a:pt x="3284" y="1066"/>
                </a:lnTo>
                <a:lnTo>
                  <a:pt x="3279" y="1058"/>
                </a:lnTo>
                <a:lnTo>
                  <a:pt x="3274" y="1048"/>
                </a:lnTo>
                <a:lnTo>
                  <a:pt x="3270" y="1040"/>
                </a:lnTo>
                <a:lnTo>
                  <a:pt x="3268" y="1034"/>
                </a:lnTo>
                <a:lnTo>
                  <a:pt x="3267" y="1032"/>
                </a:lnTo>
                <a:lnTo>
                  <a:pt x="3267" y="1031"/>
                </a:lnTo>
                <a:lnTo>
                  <a:pt x="3268" y="1030"/>
                </a:lnTo>
                <a:lnTo>
                  <a:pt x="3269" y="1031"/>
                </a:lnTo>
                <a:lnTo>
                  <a:pt x="3281" y="1038"/>
                </a:lnTo>
                <a:lnTo>
                  <a:pt x="3299" y="1048"/>
                </a:lnTo>
                <a:lnTo>
                  <a:pt x="3307" y="1053"/>
                </a:lnTo>
                <a:lnTo>
                  <a:pt x="3315" y="1056"/>
                </a:lnTo>
                <a:lnTo>
                  <a:pt x="3318" y="1056"/>
                </a:lnTo>
                <a:lnTo>
                  <a:pt x="3321" y="1056"/>
                </a:lnTo>
                <a:lnTo>
                  <a:pt x="3322" y="1055"/>
                </a:lnTo>
                <a:lnTo>
                  <a:pt x="3323" y="1054"/>
                </a:lnTo>
                <a:lnTo>
                  <a:pt x="3321" y="1046"/>
                </a:lnTo>
                <a:lnTo>
                  <a:pt x="3317" y="1035"/>
                </a:lnTo>
                <a:lnTo>
                  <a:pt x="3310" y="1022"/>
                </a:lnTo>
                <a:lnTo>
                  <a:pt x="3303" y="1008"/>
                </a:lnTo>
                <a:lnTo>
                  <a:pt x="3295" y="994"/>
                </a:lnTo>
                <a:lnTo>
                  <a:pt x="3288" y="982"/>
                </a:lnTo>
                <a:lnTo>
                  <a:pt x="3282" y="974"/>
                </a:lnTo>
                <a:lnTo>
                  <a:pt x="3279" y="970"/>
                </a:lnTo>
                <a:lnTo>
                  <a:pt x="3271" y="968"/>
                </a:lnTo>
                <a:lnTo>
                  <a:pt x="3262" y="964"/>
                </a:lnTo>
                <a:lnTo>
                  <a:pt x="3258" y="959"/>
                </a:lnTo>
                <a:lnTo>
                  <a:pt x="3256" y="955"/>
                </a:lnTo>
                <a:lnTo>
                  <a:pt x="3256" y="952"/>
                </a:lnTo>
                <a:lnTo>
                  <a:pt x="3256" y="949"/>
                </a:lnTo>
                <a:lnTo>
                  <a:pt x="3257" y="946"/>
                </a:lnTo>
                <a:lnTo>
                  <a:pt x="3258" y="942"/>
                </a:lnTo>
                <a:lnTo>
                  <a:pt x="3263" y="933"/>
                </a:lnTo>
                <a:lnTo>
                  <a:pt x="3269" y="925"/>
                </a:lnTo>
                <a:lnTo>
                  <a:pt x="3276" y="918"/>
                </a:lnTo>
                <a:lnTo>
                  <a:pt x="3282" y="910"/>
                </a:lnTo>
                <a:lnTo>
                  <a:pt x="3289" y="905"/>
                </a:lnTo>
                <a:lnTo>
                  <a:pt x="3296" y="902"/>
                </a:lnTo>
                <a:lnTo>
                  <a:pt x="3299" y="902"/>
                </a:lnTo>
                <a:lnTo>
                  <a:pt x="3302" y="902"/>
                </a:lnTo>
                <a:lnTo>
                  <a:pt x="3304" y="903"/>
                </a:lnTo>
                <a:lnTo>
                  <a:pt x="3306" y="905"/>
                </a:lnTo>
                <a:lnTo>
                  <a:pt x="3317" y="915"/>
                </a:lnTo>
                <a:lnTo>
                  <a:pt x="3328" y="927"/>
                </a:lnTo>
                <a:lnTo>
                  <a:pt x="3332" y="932"/>
                </a:lnTo>
                <a:lnTo>
                  <a:pt x="3336" y="935"/>
                </a:lnTo>
                <a:lnTo>
                  <a:pt x="3339" y="936"/>
                </a:lnTo>
                <a:lnTo>
                  <a:pt x="3340" y="937"/>
                </a:lnTo>
                <a:lnTo>
                  <a:pt x="3341" y="937"/>
                </a:lnTo>
                <a:lnTo>
                  <a:pt x="3342" y="936"/>
                </a:lnTo>
                <a:lnTo>
                  <a:pt x="3343" y="922"/>
                </a:lnTo>
                <a:lnTo>
                  <a:pt x="3343" y="896"/>
                </a:lnTo>
                <a:lnTo>
                  <a:pt x="3344" y="870"/>
                </a:lnTo>
                <a:lnTo>
                  <a:pt x="3344" y="860"/>
                </a:lnTo>
                <a:lnTo>
                  <a:pt x="3335" y="861"/>
                </a:lnTo>
                <a:lnTo>
                  <a:pt x="3325" y="864"/>
                </a:lnTo>
                <a:lnTo>
                  <a:pt x="3318" y="865"/>
                </a:lnTo>
                <a:lnTo>
                  <a:pt x="3306" y="864"/>
                </a:lnTo>
                <a:lnTo>
                  <a:pt x="3301" y="863"/>
                </a:lnTo>
                <a:lnTo>
                  <a:pt x="3297" y="861"/>
                </a:lnTo>
                <a:lnTo>
                  <a:pt x="3296" y="860"/>
                </a:lnTo>
                <a:lnTo>
                  <a:pt x="3295" y="859"/>
                </a:lnTo>
                <a:lnTo>
                  <a:pt x="3295" y="857"/>
                </a:lnTo>
                <a:lnTo>
                  <a:pt x="3295" y="856"/>
                </a:lnTo>
                <a:lnTo>
                  <a:pt x="3301" y="845"/>
                </a:lnTo>
                <a:lnTo>
                  <a:pt x="3308" y="834"/>
                </a:lnTo>
                <a:lnTo>
                  <a:pt x="3314" y="823"/>
                </a:lnTo>
                <a:lnTo>
                  <a:pt x="3317" y="818"/>
                </a:lnTo>
                <a:lnTo>
                  <a:pt x="3312" y="818"/>
                </a:lnTo>
                <a:lnTo>
                  <a:pt x="3304" y="820"/>
                </a:lnTo>
                <a:lnTo>
                  <a:pt x="3295" y="824"/>
                </a:lnTo>
                <a:lnTo>
                  <a:pt x="3287" y="827"/>
                </a:lnTo>
                <a:lnTo>
                  <a:pt x="3281" y="830"/>
                </a:lnTo>
                <a:lnTo>
                  <a:pt x="3274" y="830"/>
                </a:lnTo>
                <a:lnTo>
                  <a:pt x="3270" y="828"/>
                </a:lnTo>
                <a:lnTo>
                  <a:pt x="3268" y="825"/>
                </a:lnTo>
                <a:lnTo>
                  <a:pt x="3266" y="822"/>
                </a:lnTo>
                <a:lnTo>
                  <a:pt x="3266" y="817"/>
                </a:lnTo>
                <a:lnTo>
                  <a:pt x="3267" y="806"/>
                </a:lnTo>
                <a:lnTo>
                  <a:pt x="3267" y="797"/>
                </a:lnTo>
                <a:lnTo>
                  <a:pt x="3268" y="793"/>
                </a:lnTo>
                <a:lnTo>
                  <a:pt x="3270" y="790"/>
                </a:lnTo>
                <a:lnTo>
                  <a:pt x="3273" y="787"/>
                </a:lnTo>
                <a:lnTo>
                  <a:pt x="3276" y="783"/>
                </a:lnTo>
                <a:lnTo>
                  <a:pt x="3283" y="779"/>
                </a:lnTo>
                <a:lnTo>
                  <a:pt x="3290" y="775"/>
                </a:lnTo>
                <a:lnTo>
                  <a:pt x="3292" y="772"/>
                </a:lnTo>
                <a:lnTo>
                  <a:pt x="3293" y="768"/>
                </a:lnTo>
                <a:lnTo>
                  <a:pt x="3293" y="761"/>
                </a:lnTo>
                <a:lnTo>
                  <a:pt x="3290" y="754"/>
                </a:lnTo>
                <a:lnTo>
                  <a:pt x="3284" y="737"/>
                </a:lnTo>
                <a:lnTo>
                  <a:pt x="3280" y="726"/>
                </a:lnTo>
                <a:lnTo>
                  <a:pt x="3279" y="721"/>
                </a:lnTo>
                <a:lnTo>
                  <a:pt x="3278" y="715"/>
                </a:lnTo>
                <a:lnTo>
                  <a:pt x="3279" y="712"/>
                </a:lnTo>
                <a:lnTo>
                  <a:pt x="3281" y="708"/>
                </a:lnTo>
                <a:lnTo>
                  <a:pt x="3291" y="700"/>
                </a:lnTo>
                <a:lnTo>
                  <a:pt x="3306" y="688"/>
                </a:lnTo>
                <a:lnTo>
                  <a:pt x="3314" y="683"/>
                </a:lnTo>
                <a:lnTo>
                  <a:pt x="3321" y="678"/>
                </a:lnTo>
                <a:lnTo>
                  <a:pt x="3325" y="673"/>
                </a:lnTo>
                <a:lnTo>
                  <a:pt x="3327" y="670"/>
                </a:lnTo>
                <a:lnTo>
                  <a:pt x="3325" y="659"/>
                </a:lnTo>
                <a:lnTo>
                  <a:pt x="3323" y="640"/>
                </a:lnTo>
                <a:lnTo>
                  <a:pt x="3320" y="621"/>
                </a:lnTo>
                <a:lnTo>
                  <a:pt x="3319" y="614"/>
                </a:lnTo>
                <a:lnTo>
                  <a:pt x="3324" y="607"/>
                </a:lnTo>
                <a:lnTo>
                  <a:pt x="3336" y="595"/>
                </a:lnTo>
                <a:lnTo>
                  <a:pt x="3348" y="581"/>
                </a:lnTo>
                <a:lnTo>
                  <a:pt x="3354" y="572"/>
                </a:lnTo>
                <a:lnTo>
                  <a:pt x="3353" y="571"/>
                </a:lnTo>
                <a:lnTo>
                  <a:pt x="3351" y="569"/>
                </a:lnTo>
                <a:lnTo>
                  <a:pt x="3348" y="568"/>
                </a:lnTo>
                <a:lnTo>
                  <a:pt x="3344" y="567"/>
                </a:lnTo>
                <a:lnTo>
                  <a:pt x="3337" y="564"/>
                </a:lnTo>
                <a:lnTo>
                  <a:pt x="3334" y="564"/>
                </a:lnTo>
                <a:lnTo>
                  <a:pt x="3334" y="568"/>
                </a:lnTo>
                <a:lnTo>
                  <a:pt x="3334" y="574"/>
                </a:lnTo>
                <a:lnTo>
                  <a:pt x="3333" y="578"/>
                </a:lnTo>
                <a:lnTo>
                  <a:pt x="3331" y="581"/>
                </a:lnTo>
                <a:lnTo>
                  <a:pt x="3327" y="583"/>
                </a:lnTo>
                <a:lnTo>
                  <a:pt x="3321" y="583"/>
                </a:lnTo>
                <a:lnTo>
                  <a:pt x="3309" y="583"/>
                </a:lnTo>
                <a:lnTo>
                  <a:pt x="3303" y="583"/>
                </a:lnTo>
                <a:lnTo>
                  <a:pt x="3302" y="582"/>
                </a:lnTo>
                <a:lnTo>
                  <a:pt x="3302" y="579"/>
                </a:lnTo>
                <a:lnTo>
                  <a:pt x="3302" y="575"/>
                </a:lnTo>
                <a:lnTo>
                  <a:pt x="3304" y="569"/>
                </a:lnTo>
                <a:lnTo>
                  <a:pt x="3307" y="556"/>
                </a:lnTo>
                <a:lnTo>
                  <a:pt x="3311" y="547"/>
                </a:lnTo>
                <a:lnTo>
                  <a:pt x="3315" y="539"/>
                </a:lnTo>
                <a:lnTo>
                  <a:pt x="3323" y="530"/>
                </a:lnTo>
                <a:lnTo>
                  <a:pt x="3325" y="529"/>
                </a:lnTo>
                <a:lnTo>
                  <a:pt x="3328" y="528"/>
                </a:lnTo>
                <a:lnTo>
                  <a:pt x="3330" y="529"/>
                </a:lnTo>
                <a:lnTo>
                  <a:pt x="3332" y="530"/>
                </a:lnTo>
                <a:lnTo>
                  <a:pt x="3339" y="535"/>
                </a:lnTo>
                <a:lnTo>
                  <a:pt x="3345" y="542"/>
                </a:lnTo>
                <a:lnTo>
                  <a:pt x="3348" y="546"/>
                </a:lnTo>
                <a:lnTo>
                  <a:pt x="3351" y="548"/>
                </a:lnTo>
                <a:lnTo>
                  <a:pt x="3354" y="550"/>
                </a:lnTo>
                <a:lnTo>
                  <a:pt x="3357" y="551"/>
                </a:lnTo>
                <a:lnTo>
                  <a:pt x="3362" y="551"/>
                </a:lnTo>
                <a:lnTo>
                  <a:pt x="3365" y="550"/>
                </a:lnTo>
                <a:lnTo>
                  <a:pt x="3369" y="547"/>
                </a:lnTo>
                <a:lnTo>
                  <a:pt x="3372" y="542"/>
                </a:lnTo>
                <a:lnTo>
                  <a:pt x="3385" y="525"/>
                </a:lnTo>
                <a:lnTo>
                  <a:pt x="3393" y="514"/>
                </a:lnTo>
                <a:lnTo>
                  <a:pt x="3395" y="511"/>
                </a:lnTo>
                <a:lnTo>
                  <a:pt x="3396" y="508"/>
                </a:lnTo>
                <a:lnTo>
                  <a:pt x="3395" y="505"/>
                </a:lnTo>
                <a:lnTo>
                  <a:pt x="3393" y="502"/>
                </a:lnTo>
                <a:lnTo>
                  <a:pt x="3388" y="494"/>
                </a:lnTo>
                <a:lnTo>
                  <a:pt x="3383" y="489"/>
                </a:lnTo>
                <a:lnTo>
                  <a:pt x="3378" y="487"/>
                </a:lnTo>
                <a:lnTo>
                  <a:pt x="3373" y="486"/>
                </a:lnTo>
                <a:lnTo>
                  <a:pt x="3366" y="486"/>
                </a:lnTo>
                <a:lnTo>
                  <a:pt x="3355" y="487"/>
                </a:lnTo>
                <a:lnTo>
                  <a:pt x="3346" y="488"/>
                </a:lnTo>
                <a:lnTo>
                  <a:pt x="3337" y="487"/>
                </a:lnTo>
                <a:lnTo>
                  <a:pt x="3331" y="485"/>
                </a:lnTo>
                <a:lnTo>
                  <a:pt x="3326" y="482"/>
                </a:lnTo>
                <a:lnTo>
                  <a:pt x="3322" y="481"/>
                </a:lnTo>
                <a:lnTo>
                  <a:pt x="3318" y="480"/>
                </a:lnTo>
                <a:lnTo>
                  <a:pt x="3315" y="481"/>
                </a:lnTo>
                <a:lnTo>
                  <a:pt x="3312" y="482"/>
                </a:lnTo>
                <a:lnTo>
                  <a:pt x="3310" y="484"/>
                </a:lnTo>
                <a:lnTo>
                  <a:pt x="3307" y="487"/>
                </a:lnTo>
                <a:lnTo>
                  <a:pt x="3302" y="493"/>
                </a:lnTo>
                <a:lnTo>
                  <a:pt x="3297" y="497"/>
                </a:lnTo>
                <a:lnTo>
                  <a:pt x="3291" y="499"/>
                </a:lnTo>
                <a:lnTo>
                  <a:pt x="3288" y="502"/>
                </a:lnTo>
                <a:lnTo>
                  <a:pt x="3285" y="501"/>
                </a:lnTo>
                <a:lnTo>
                  <a:pt x="3283" y="499"/>
                </a:lnTo>
                <a:lnTo>
                  <a:pt x="3283" y="497"/>
                </a:lnTo>
                <a:lnTo>
                  <a:pt x="3284" y="494"/>
                </a:lnTo>
                <a:lnTo>
                  <a:pt x="3289" y="486"/>
                </a:lnTo>
                <a:lnTo>
                  <a:pt x="3297" y="477"/>
                </a:lnTo>
                <a:lnTo>
                  <a:pt x="3301" y="474"/>
                </a:lnTo>
                <a:lnTo>
                  <a:pt x="3305" y="471"/>
                </a:lnTo>
                <a:lnTo>
                  <a:pt x="3308" y="470"/>
                </a:lnTo>
                <a:lnTo>
                  <a:pt x="3311" y="470"/>
                </a:lnTo>
                <a:lnTo>
                  <a:pt x="3320" y="473"/>
                </a:lnTo>
                <a:lnTo>
                  <a:pt x="3330" y="477"/>
                </a:lnTo>
                <a:lnTo>
                  <a:pt x="3335" y="479"/>
                </a:lnTo>
                <a:lnTo>
                  <a:pt x="3342" y="479"/>
                </a:lnTo>
                <a:lnTo>
                  <a:pt x="3345" y="477"/>
                </a:lnTo>
                <a:lnTo>
                  <a:pt x="3348" y="475"/>
                </a:lnTo>
                <a:lnTo>
                  <a:pt x="3351" y="473"/>
                </a:lnTo>
                <a:lnTo>
                  <a:pt x="3354" y="471"/>
                </a:lnTo>
                <a:lnTo>
                  <a:pt x="3357" y="468"/>
                </a:lnTo>
                <a:lnTo>
                  <a:pt x="3361" y="466"/>
                </a:lnTo>
                <a:lnTo>
                  <a:pt x="3364" y="464"/>
                </a:lnTo>
                <a:lnTo>
                  <a:pt x="3367" y="463"/>
                </a:lnTo>
                <a:lnTo>
                  <a:pt x="3374" y="461"/>
                </a:lnTo>
                <a:lnTo>
                  <a:pt x="3380" y="461"/>
                </a:lnTo>
                <a:lnTo>
                  <a:pt x="3392" y="463"/>
                </a:lnTo>
                <a:lnTo>
                  <a:pt x="3396" y="465"/>
                </a:lnTo>
                <a:lnTo>
                  <a:pt x="3397" y="465"/>
                </a:lnTo>
                <a:lnTo>
                  <a:pt x="3402" y="462"/>
                </a:lnTo>
                <a:lnTo>
                  <a:pt x="3407" y="460"/>
                </a:lnTo>
                <a:lnTo>
                  <a:pt x="3412" y="454"/>
                </a:lnTo>
                <a:lnTo>
                  <a:pt x="3417" y="447"/>
                </a:lnTo>
                <a:lnTo>
                  <a:pt x="3423" y="437"/>
                </a:lnTo>
                <a:lnTo>
                  <a:pt x="3432" y="425"/>
                </a:lnTo>
                <a:lnTo>
                  <a:pt x="3441" y="414"/>
                </a:lnTo>
                <a:lnTo>
                  <a:pt x="3452" y="402"/>
                </a:lnTo>
                <a:lnTo>
                  <a:pt x="3462" y="392"/>
                </a:lnTo>
                <a:lnTo>
                  <a:pt x="3472" y="382"/>
                </a:lnTo>
                <a:lnTo>
                  <a:pt x="3479" y="373"/>
                </a:lnTo>
                <a:lnTo>
                  <a:pt x="3481" y="368"/>
                </a:lnTo>
                <a:lnTo>
                  <a:pt x="3482" y="365"/>
                </a:lnTo>
                <a:lnTo>
                  <a:pt x="3483" y="362"/>
                </a:lnTo>
                <a:lnTo>
                  <a:pt x="3482" y="359"/>
                </a:lnTo>
                <a:lnTo>
                  <a:pt x="3477" y="351"/>
                </a:lnTo>
                <a:lnTo>
                  <a:pt x="3470" y="338"/>
                </a:lnTo>
                <a:lnTo>
                  <a:pt x="3459" y="323"/>
                </a:lnTo>
                <a:lnTo>
                  <a:pt x="3446" y="309"/>
                </a:lnTo>
                <a:lnTo>
                  <a:pt x="3439" y="301"/>
                </a:lnTo>
                <a:lnTo>
                  <a:pt x="3432" y="296"/>
                </a:lnTo>
                <a:lnTo>
                  <a:pt x="3424" y="290"/>
                </a:lnTo>
                <a:lnTo>
                  <a:pt x="3417" y="287"/>
                </a:lnTo>
                <a:lnTo>
                  <a:pt x="3410" y="284"/>
                </a:lnTo>
                <a:lnTo>
                  <a:pt x="3402" y="283"/>
                </a:lnTo>
                <a:lnTo>
                  <a:pt x="3399" y="284"/>
                </a:lnTo>
                <a:lnTo>
                  <a:pt x="3395" y="284"/>
                </a:lnTo>
                <a:lnTo>
                  <a:pt x="3392" y="286"/>
                </a:lnTo>
                <a:lnTo>
                  <a:pt x="3389" y="287"/>
                </a:lnTo>
                <a:lnTo>
                  <a:pt x="3383" y="292"/>
                </a:lnTo>
                <a:lnTo>
                  <a:pt x="3377" y="297"/>
                </a:lnTo>
                <a:lnTo>
                  <a:pt x="3373" y="302"/>
                </a:lnTo>
                <a:lnTo>
                  <a:pt x="3370" y="309"/>
                </a:lnTo>
                <a:lnTo>
                  <a:pt x="3365" y="320"/>
                </a:lnTo>
                <a:lnTo>
                  <a:pt x="3362" y="331"/>
                </a:lnTo>
                <a:lnTo>
                  <a:pt x="3359" y="339"/>
                </a:lnTo>
                <a:lnTo>
                  <a:pt x="3357" y="344"/>
                </a:lnTo>
                <a:lnTo>
                  <a:pt x="3355" y="345"/>
                </a:lnTo>
                <a:lnTo>
                  <a:pt x="3354" y="345"/>
                </a:lnTo>
                <a:lnTo>
                  <a:pt x="3351" y="344"/>
                </a:lnTo>
                <a:lnTo>
                  <a:pt x="3349" y="341"/>
                </a:lnTo>
                <a:lnTo>
                  <a:pt x="3339" y="331"/>
                </a:lnTo>
                <a:lnTo>
                  <a:pt x="3331" y="327"/>
                </a:lnTo>
                <a:lnTo>
                  <a:pt x="3330" y="326"/>
                </a:lnTo>
                <a:lnTo>
                  <a:pt x="3328" y="327"/>
                </a:lnTo>
                <a:lnTo>
                  <a:pt x="3328" y="328"/>
                </a:lnTo>
                <a:lnTo>
                  <a:pt x="3327" y="330"/>
                </a:lnTo>
                <a:lnTo>
                  <a:pt x="3328" y="333"/>
                </a:lnTo>
                <a:lnTo>
                  <a:pt x="3332" y="336"/>
                </a:lnTo>
                <a:lnTo>
                  <a:pt x="3337" y="339"/>
                </a:lnTo>
                <a:lnTo>
                  <a:pt x="3344" y="342"/>
                </a:lnTo>
                <a:lnTo>
                  <a:pt x="3349" y="345"/>
                </a:lnTo>
                <a:lnTo>
                  <a:pt x="3351" y="349"/>
                </a:lnTo>
                <a:lnTo>
                  <a:pt x="3352" y="351"/>
                </a:lnTo>
                <a:lnTo>
                  <a:pt x="3352" y="352"/>
                </a:lnTo>
                <a:lnTo>
                  <a:pt x="3350" y="354"/>
                </a:lnTo>
                <a:lnTo>
                  <a:pt x="3348" y="355"/>
                </a:lnTo>
                <a:lnTo>
                  <a:pt x="3337" y="360"/>
                </a:lnTo>
                <a:lnTo>
                  <a:pt x="3331" y="363"/>
                </a:lnTo>
                <a:lnTo>
                  <a:pt x="3328" y="363"/>
                </a:lnTo>
                <a:lnTo>
                  <a:pt x="3325" y="363"/>
                </a:lnTo>
                <a:lnTo>
                  <a:pt x="3321" y="361"/>
                </a:lnTo>
                <a:lnTo>
                  <a:pt x="3315" y="358"/>
                </a:lnTo>
                <a:lnTo>
                  <a:pt x="3313" y="356"/>
                </a:lnTo>
                <a:lnTo>
                  <a:pt x="3311" y="353"/>
                </a:lnTo>
                <a:lnTo>
                  <a:pt x="3309" y="350"/>
                </a:lnTo>
                <a:lnTo>
                  <a:pt x="3308" y="345"/>
                </a:lnTo>
                <a:lnTo>
                  <a:pt x="3306" y="338"/>
                </a:lnTo>
                <a:lnTo>
                  <a:pt x="3305" y="332"/>
                </a:lnTo>
                <a:lnTo>
                  <a:pt x="3303" y="327"/>
                </a:lnTo>
                <a:lnTo>
                  <a:pt x="3302" y="326"/>
                </a:lnTo>
                <a:lnTo>
                  <a:pt x="3299" y="329"/>
                </a:lnTo>
                <a:lnTo>
                  <a:pt x="3295" y="338"/>
                </a:lnTo>
                <a:lnTo>
                  <a:pt x="3288" y="350"/>
                </a:lnTo>
                <a:lnTo>
                  <a:pt x="3283" y="359"/>
                </a:lnTo>
                <a:lnTo>
                  <a:pt x="3277" y="366"/>
                </a:lnTo>
                <a:lnTo>
                  <a:pt x="3270" y="373"/>
                </a:lnTo>
                <a:lnTo>
                  <a:pt x="3265" y="379"/>
                </a:lnTo>
                <a:lnTo>
                  <a:pt x="3260" y="384"/>
                </a:lnTo>
                <a:lnTo>
                  <a:pt x="3256" y="390"/>
                </a:lnTo>
                <a:lnTo>
                  <a:pt x="3254" y="398"/>
                </a:lnTo>
                <a:lnTo>
                  <a:pt x="3249" y="416"/>
                </a:lnTo>
                <a:lnTo>
                  <a:pt x="3245" y="435"/>
                </a:lnTo>
                <a:lnTo>
                  <a:pt x="3243" y="444"/>
                </a:lnTo>
                <a:lnTo>
                  <a:pt x="3241" y="452"/>
                </a:lnTo>
                <a:lnTo>
                  <a:pt x="3238" y="459"/>
                </a:lnTo>
                <a:lnTo>
                  <a:pt x="3235" y="465"/>
                </a:lnTo>
                <a:lnTo>
                  <a:pt x="3230" y="469"/>
                </a:lnTo>
                <a:lnTo>
                  <a:pt x="3223" y="472"/>
                </a:lnTo>
                <a:lnTo>
                  <a:pt x="3216" y="475"/>
                </a:lnTo>
                <a:lnTo>
                  <a:pt x="3210" y="476"/>
                </a:lnTo>
                <a:lnTo>
                  <a:pt x="3207" y="476"/>
                </a:lnTo>
                <a:lnTo>
                  <a:pt x="3203" y="476"/>
                </a:lnTo>
                <a:lnTo>
                  <a:pt x="3201" y="475"/>
                </a:lnTo>
                <a:lnTo>
                  <a:pt x="3200" y="474"/>
                </a:lnTo>
                <a:lnTo>
                  <a:pt x="3199" y="472"/>
                </a:lnTo>
                <a:lnTo>
                  <a:pt x="3200" y="469"/>
                </a:lnTo>
                <a:lnTo>
                  <a:pt x="3201" y="466"/>
                </a:lnTo>
                <a:lnTo>
                  <a:pt x="3204" y="463"/>
                </a:lnTo>
                <a:lnTo>
                  <a:pt x="3215" y="447"/>
                </a:lnTo>
                <a:lnTo>
                  <a:pt x="3223" y="436"/>
                </a:lnTo>
                <a:lnTo>
                  <a:pt x="3230" y="423"/>
                </a:lnTo>
                <a:lnTo>
                  <a:pt x="3235" y="409"/>
                </a:lnTo>
                <a:lnTo>
                  <a:pt x="3241" y="393"/>
                </a:lnTo>
                <a:lnTo>
                  <a:pt x="3248" y="375"/>
                </a:lnTo>
                <a:lnTo>
                  <a:pt x="3253" y="365"/>
                </a:lnTo>
                <a:lnTo>
                  <a:pt x="3255" y="357"/>
                </a:lnTo>
                <a:lnTo>
                  <a:pt x="3257" y="349"/>
                </a:lnTo>
                <a:lnTo>
                  <a:pt x="3258" y="340"/>
                </a:lnTo>
                <a:lnTo>
                  <a:pt x="3257" y="318"/>
                </a:lnTo>
                <a:lnTo>
                  <a:pt x="3257" y="289"/>
                </a:lnTo>
                <a:lnTo>
                  <a:pt x="3256" y="276"/>
                </a:lnTo>
                <a:lnTo>
                  <a:pt x="3253" y="266"/>
                </a:lnTo>
                <a:lnTo>
                  <a:pt x="3252" y="264"/>
                </a:lnTo>
                <a:lnTo>
                  <a:pt x="3248" y="262"/>
                </a:lnTo>
                <a:lnTo>
                  <a:pt x="3246" y="262"/>
                </a:lnTo>
                <a:lnTo>
                  <a:pt x="3243" y="264"/>
                </a:lnTo>
                <a:lnTo>
                  <a:pt x="3229" y="274"/>
                </a:lnTo>
                <a:lnTo>
                  <a:pt x="3215" y="284"/>
                </a:lnTo>
                <a:lnTo>
                  <a:pt x="3209" y="289"/>
                </a:lnTo>
                <a:lnTo>
                  <a:pt x="3203" y="293"/>
                </a:lnTo>
                <a:lnTo>
                  <a:pt x="3200" y="298"/>
                </a:lnTo>
                <a:lnTo>
                  <a:pt x="3199" y="305"/>
                </a:lnTo>
                <a:lnTo>
                  <a:pt x="3197" y="311"/>
                </a:lnTo>
                <a:lnTo>
                  <a:pt x="3195" y="318"/>
                </a:lnTo>
                <a:lnTo>
                  <a:pt x="3191" y="327"/>
                </a:lnTo>
                <a:lnTo>
                  <a:pt x="3186" y="334"/>
                </a:lnTo>
                <a:lnTo>
                  <a:pt x="3180" y="341"/>
                </a:lnTo>
                <a:lnTo>
                  <a:pt x="3174" y="348"/>
                </a:lnTo>
                <a:lnTo>
                  <a:pt x="3169" y="352"/>
                </a:lnTo>
                <a:lnTo>
                  <a:pt x="3164" y="355"/>
                </a:lnTo>
                <a:lnTo>
                  <a:pt x="3152" y="359"/>
                </a:lnTo>
                <a:lnTo>
                  <a:pt x="3138" y="364"/>
                </a:lnTo>
                <a:lnTo>
                  <a:pt x="3127" y="368"/>
                </a:lnTo>
                <a:lnTo>
                  <a:pt x="3122" y="371"/>
                </a:lnTo>
                <a:lnTo>
                  <a:pt x="3128" y="365"/>
                </a:lnTo>
                <a:lnTo>
                  <a:pt x="3142" y="355"/>
                </a:lnTo>
                <a:lnTo>
                  <a:pt x="3156" y="343"/>
                </a:lnTo>
                <a:lnTo>
                  <a:pt x="3165" y="334"/>
                </a:lnTo>
                <a:lnTo>
                  <a:pt x="3169" y="329"/>
                </a:lnTo>
                <a:lnTo>
                  <a:pt x="3174" y="322"/>
                </a:lnTo>
                <a:lnTo>
                  <a:pt x="3176" y="318"/>
                </a:lnTo>
                <a:lnTo>
                  <a:pt x="3178" y="314"/>
                </a:lnTo>
                <a:lnTo>
                  <a:pt x="3179" y="310"/>
                </a:lnTo>
                <a:lnTo>
                  <a:pt x="3178" y="306"/>
                </a:lnTo>
                <a:lnTo>
                  <a:pt x="3177" y="301"/>
                </a:lnTo>
                <a:lnTo>
                  <a:pt x="3175" y="296"/>
                </a:lnTo>
                <a:lnTo>
                  <a:pt x="3172" y="293"/>
                </a:lnTo>
                <a:lnTo>
                  <a:pt x="3169" y="289"/>
                </a:lnTo>
                <a:lnTo>
                  <a:pt x="3166" y="287"/>
                </a:lnTo>
                <a:lnTo>
                  <a:pt x="3163" y="285"/>
                </a:lnTo>
                <a:lnTo>
                  <a:pt x="3158" y="284"/>
                </a:lnTo>
                <a:lnTo>
                  <a:pt x="3155" y="284"/>
                </a:lnTo>
                <a:lnTo>
                  <a:pt x="3144" y="285"/>
                </a:lnTo>
                <a:lnTo>
                  <a:pt x="3127" y="284"/>
                </a:lnTo>
                <a:lnTo>
                  <a:pt x="3117" y="284"/>
                </a:lnTo>
                <a:lnTo>
                  <a:pt x="3107" y="286"/>
                </a:lnTo>
                <a:lnTo>
                  <a:pt x="3102" y="287"/>
                </a:lnTo>
                <a:lnTo>
                  <a:pt x="3097" y="289"/>
                </a:lnTo>
                <a:lnTo>
                  <a:pt x="3091" y="292"/>
                </a:lnTo>
                <a:lnTo>
                  <a:pt x="3086" y="295"/>
                </a:lnTo>
                <a:lnTo>
                  <a:pt x="3069" y="307"/>
                </a:lnTo>
                <a:lnTo>
                  <a:pt x="3057" y="313"/>
                </a:lnTo>
                <a:lnTo>
                  <a:pt x="3045" y="318"/>
                </a:lnTo>
                <a:lnTo>
                  <a:pt x="3030" y="327"/>
                </a:lnTo>
                <a:lnTo>
                  <a:pt x="3021" y="331"/>
                </a:lnTo>
                <a:lnTo>
                  <a:pt x="3013" y="335"/>
                </a:lnTo>
                <a:lnTo>
                  <a:pt x="3005" y="337"/>
                </a:lnTo>
                <a:lnTo>
                  <a:pt x="2999" y="338"/>
                </a:lnTo>
                <a:lnTo>
                  <a:pt x="2996" y="338"/>
                </a:lnTo>
                <a:lnTo>
                  <a:pt x="2994" y="338"/>
                </a:lnTo>
                <a:lnTo>
                  <a:pt x="2993" y="337"/>
                </a:lnTo>
                <a:lnTo>
                  <a:pt x="2992" y="336"/>
                </a:lnTo>
                <a:lnTo>
                  <a:pt x="2991" y="335"/>
                </a:lnTo>
                <a:lnTo>
                  <a:pt x="2991" y="333"/>
                </a:lnTo>
                <a:lnTo>
                  <a:pt x="2992" y="330"/>
                </a:lnTo>
                <a:lnTo>
                  <a:pt x="2994" y="328"/>
                </a:lnTo>
                <a:lnTo>
                  <a:pt x="2998" y="320"/>
                </a:lnTo>
                <a:lnTo>
                  <a:pt x="3004" y="314"/>
                </a:lnTo>
                <a:lnTo>
                  <a:pt x="3011" y="309"/>
                </a:lnTo>
                <a:lnTo>
                  <a:pt x="3017" y="302"/>
                </a:lnTo>
                <a:lnTo>
                  <a:pt x="3029" y="293"/>
                </a:lnTo>
                <a:lnTo>
                  <a:pt x="3042" y="285"/>
                </a:lnTo>
                <a:lnTo>
                  <a:pt x="3057" y="277"/>
                </a:lnTo>
                <a:lnTo>
                  <a:pt x="3076" y="270"/>
                </a:lnTo>
                <a:lnTo>
                  <a:pt x="3086" y="267"/>
                </a:lnTo>
                <a:lnTo>
                  <a:pt x="3097" y="264"/>
                </a:lnTo>
                <a:lnTo>
                  <a:pt x="3106" y="263"/>
                </a:lnTo>
                <a:lnTo>
                  <a:pt x="3113" y="264"/>
                </a:lnTo>
                <a:lnTo>
                  <a:pt x="3129" y="267"/>
                </a:lnTo>
                <a:lnTo>
                  <a:pt x="3144" y="270"/>
                </a:lnTo>
                <a:lnTo>
                  <a:pt x="3151" y="271"/>
                </a:lnTo>
                <a:lnTo>
                  <a:pt x="3157" y="271"/>
                </a:lnTo>
                <a:lnTo>
                  <a:pt x="3163" y="270"/>
                </a:lnTo>
                <a:lnTo>
                  <a:pt x="3166" y="268"/>
                </a:lnTo>
                <a:lnTo>
                  <a:pt x="3175" y="263"/>
                </a:lnTo>
                <a:lnTo>
                  <a:pt x="3189" y="256"/>
                </a:lnTo>
                <a:lnTo>
                  <a:pt x="3205" y="248"/>
                </a:lnTo>
                <a:lnTo>
                  <a:pt x="3223" y="238"/>
                </a:lnTo>
                <a:lnTo>
                  <a:pt x="3239" y="228"/>
                </a:lnTo>
                <a:lnTo>
                  <a:pt x="3251" y="221"/>
                </a:lnTo>
                <a:lnTo>
                  <a:pt x="3254" y="219"/>
                </a:lnTo>
                <a:lnTo>
                  <a:pt x="3257" y="217"/>
                </a:lnTo>
                <a:lnTo>
                  <a:pt x="3258" y="214"/>
                </a:lnTo>
                <a:lnTo>
                  <a:pt x="3258" y="212"/>
                </a:lnTo>
                <a:lnTo>
                  <a:pt x="3260" y="207"/>
                </a:lnTo>
                <a:lnTo>
                  <a:pt x="3262" y="202"/>
                </a:lnTo>
                <a:lnTo>
                  <a:pt x="3263" y="198"/>
                </a:lnTo>
                <a:lnTo>
                  <a:pt x="3263" y="192"/>
                </a:lnTo>
                <a:lnTo>
                  <a:pt x="3261" y="187"/>
                </a:lnTo>
                <a:lnTo>
                  <a:pt x="3258" y="180"/>
                </a:lnTo>
                <a:lnTo>
                  <a:pt x="3251" y="172"/>
                </a:lnTo>
                <a:lnTo>
                  <a:pt x="3242" y="164"/>
                </a:lnTo>
                <a:lnTo>
                  <a:pt x="3233" y="157"/>
                </a:lnTo>
                <a:lnTo>
                  <a:pt x="3223" y="151"/>
                </a:lnTo>
                <a:lnTo>
                  <a:pt x="3213" y="145"/>
                </a:lnTo>
                <a:lnTo>
                  <a:pt x="3204" y="142"/>
                </a:lnTo>
                <a:lnTo>
                  <a:pt x="3198" y="140"/>
                </a:lnTo>
                <a:lnTo>
                  <a:pt x="3195" y="140"/>
                </a:lnTo>
                <a:lnTo>
                  <a:pt x="3190" y="145"/>
                </a:lnTo>
                <a:lnTo>
                  <a:pt x="3182" y="153"/>
                </a:lnTo>
                <a:lnTo>
                  <a:pt x="3179" y="156"/>
                </a:lnTo>
                <a:lnTo>
                  <a:pt x="3176" y="157"/>
                </a:lnTo>
                <a:lnTo>
                  <a:pt x="3175" y="158"/>
                </a:lnTo>
                <a:lnTo>
                  <a:pt x="3174" y="157"/>
                </a:lnTo>
                <a:lnTo>
                  <a:pt x="3173" y="157"/>
                </a:lnTo>
                <a:lnTo>
                  <a:pt x="3172" y="155"/>
                </a:lnTo>
                <a:lnTo>
                  <a:pt x="3172" y="152"/>
                </a:lnTo>
                <a:lnTo>
                  <a:pt x="3173" y="148"/>
                </a:lnTo>
                <a:lnTo>
                  <a:pt x="3174" y="145"/>
                </a:lnTo>
                <a:lnTo>
                  <a:pt x="3176" y="143"/>
                </a:lnTo>
                <a:lnTo>
                  <a:pt x="3178" y="139"/>
                </a:lnTo>
                <a:lnTo>
                  <a:pt x="3180" y="135"/>
                </a:lnTo>
                <a:lnTo>
                  <a:pt x="3181" y="130"/>
                </a:lnTo>
                <a:lnTo>
                  <a:pt x="3181" y="123"/>
                </a:lnTo>
                <a:lnTo>
                  <a:pt x="3181" y="108"/>
                </a:lnTo>
                <a:lnTo>
                  <a:pt x="3180" y="95"/>
                </a:lnTo>
                <a:lnTo>
                  <a:pt x="3178" y="90"/>
                </a:lnTo>
                <a:lnTo>
                  <a:pt x="3176" y="88"/>
                </a:lnTo>
                <a:lnTo>
                  <a:pt x="3174" y="87"/>
                </a:lnTo>
                <a:lnTo>
                  <a:pt x="3172" y="87"/>
                </a:lnTo>
                <a:lnTo>
                  <a:pt x="3169" y="88"/>
                </a:lnTo>
                <a:lnTo>
                  <a:pt x="3166" y="89"/>
                </a:lnTo>
                <a:lnTo>
                  <a:pt x="3154" y="98"/>
                </a:lnTo>
                <a:lnTo>
                  <a:pt x="3143" y="109"/>
                </a:lnTo>
                <a:lnTo>
                  <a:pt x="3136" y="113"/>
                </a:lnTo>
                <a:lnTo>
                  <a:pt x="3130" y="116"/>
                </a:lnTo>
                <a:lnTo>
                  <a:pt x="3127" y="117"/>
                </a:lnTo>
                <a:lnTo>
                  <a:pt x="3124" y="117"/>
                </a:lnTo>
                <a:lnTo>
                  <a:pt x="3120" y="117"/>
                </a:lnTo>
                <a:lnTo>
                  <a:pt x="3115" y="116"/>
                </a:lnTo>
                <a:lnTo>
                  <a:pt x="3099" y="111"/>
                </a:lnTo>
                <a:lnTo>
                  <a:pt x="3082" y="107"/>
                </a:lnTo>
                <a:lnTo>
                  <a:pt x="3073" y="104"/>
                </a:lnTo>
                <a:lnTo>
                  <a:pt x="3065" y="104"/>
                </a:lnTo>
                <a:lnTo>
                  <a:pt x="3058" y="104"/>
                </a:lnTo>
                <a:lnTo>
                  <a:pt x="3052" y="106"/>
                </a:lnTo>
                <a:lnTo>
                  <a:pt x="3040" y="111"/>
                </a:lnTo>
                <a:lnTo>
                  <a:pt x="3026" y="118"/>
                </a:lnTo>
                <a:lnTo>
                  <a:pt x="3020" y="121"/>
                </a:lnTo>
                <a:lnTo>
                  <a:pt x="3013" y="125"/>
                </a:lnTo>
                <a:lnTo>
                  <a:pt x="3005" y="128"/>
                </a:lnTo>
                <a:lnTo>
                  <a:pt x="2999" y="130"/>
                </a:lnTo>
                <a:lnTo>
                  <a:pt x="2981" y="134"/>
                </a:lnTo>
                <a:lnTo>
                  <a:pt x="2961" y="140"/>
                </a:lnTo>
                <a:lnTo>
                  <a:pt x="2953" y="142"/>
                </a:lnTo>
                <a:lnTo>
                  <a:pt x="2946" y="143"/>
                </a:lnTo>
                <a:lnTo>
                  <a:pt x="2944" y="143"/>
                </a:lnTo>
                <a:lnTo>
                  <a:pt x="2942" y="142"/>
                </a:lnTo>
                <a:lnTo>
                  <a:pt x="2941" y="141"/>
                </a:lnTo>
                <a:lnTo>
                  <a:pt x="2942" y="139"/>
                </a:lnTo>
                <a:lnTo>
                  <a:pt x="2946" y="135"/>
                </a:lnTo>
                <a:lnTo>
                  <a:pt x="2951" y="132"/>
                </a:lnTo>
                <a:lnTo>
                  <a:pt x="2957" y="129"/>
                </a:lnTo>
                <a:lnTo>
                  <a:pt x="2964" y="126"/>
                </a:lnTo>
                <a:lnTo>
                  <a:pt x="2973" y="123"/>
                </a:lnTo>
                <a:lnTo>
                  <a:pt x="2981" y="120"/>
                </a:lnTo>
                <a:lnTo>
                  <a:pt x="2991" y="116"/>
                </a:lnTo>
                <a:lnTo>
                  <a:pt x="3000" y="111"/>
                </a:lnTo>
                <a:lnTo>
                  <a:pt x="3019" y="99"/>
                </a:lnTo>
                <a:lnTo>
                  <a:pt x="3037" y="90"/>
                </a:lnTo>
                <a:lnTo>
                  <a:pt x="3045" y="86"/>
                </a:lnTo>
                <a:lnTo>
                  <a:pt x="3051" y="84"/>
                </a:lnTo>
                <a:lnTo>
                  <a:pt x="3058" y="82"/>
                </a:lnTo>
                <a:lnTo>
                  <a:pt x="3063" y="84"/>
                </a:lnTo>
                <a:lnTo>
                  <a:pt x="3068" y="85"/>
                </a:lnTo>
                <a:lnTo>
                  <a:pt x="3079" y="86"/>
                </a:lnTo>
                <a:lnTo>
                  <a:pt x="3091" y="87"/>
                </a:lnTo>
                <a:lnTo>
                  <a:pt x="3105" y="87"/>
                </a:lnTo>
                <a:lnTo>
                  <a:pt x="3119" y="87"/>
                </a:lnTo>
                <a:lnTo>
                  <a:pt x="3130" y="87"/>
                </a:lnTo>
                <a:lnTo>
                  <a:pt x="3137" y="86"/>
                </a:lnTo>
                <a:lnTo>
                  <a:pt x="3142" y="85"/>
                </a:lnTo>
                <a:lnTo>
                  <a:pt x="3156" y="70"/>
                </a:lnTo>
                <a:lnTo>
                  <a:pt x="3168" y="56"/>
                </a:lnTo>
                <a:lnTo>
                  <a:pt x="3166" y="53"/>
                </a:lnTo>
                <a:lnTo>
                  <a:pt x="3159" y="49"/>
                </a:lnTo>
                <a:lnTo>
                  <a:pt x="3151" y="44"/>
                </a:lnTo>
                <a:lnTo>
                  <a:pt x="3141" y="37"/>
                </a:lnTo>
                <a:lnTo>
                  <a:pt x="3129" y="32"/>
                </a:lnTo>
                <a:lnTo>
                  <a:pt x="3116" y="27"/>
                </a:lnTo>
                <a:lnTo>
                  <a:pt x="3106" y="24"/>
                </a:lnTo>
                <a:lnTo>
                  <a:pt x="3098" y="22"/>
                </a:lnTo>
                <a:lnTo>
                  <a:pt x="3080" y="20"/>
                </a:lnTo>
                <a:lnTo>
                  <a:pt x="3060" y="17"/>
                </a:lnTo>
                <a:lnTo>
                  <a:pt x="3049" y="15"/>
                </a:lnTo>
                <a:lnTo>
                  <a:pt x="3040" y="13"/>
                </a:lnTo>
                <a:lnTo>
                  <a:pt x="3032" y="10"/>
                </a:lnTo>
                <a:lnTo>
                  <a:pt x="3024" y="7"/>
                </a:lnTo>
                <a:lnTo>
                  <a:pt x="3017" y="4"/>
                </a:lnTo>
                <a:lnTo>
                  <a:pt x="3007" y="2"/>
                </a:lnTo>
                <a:lnTo>
                  <a:pt x="2996" y="0"/>
                </a:lnTo>
                <a:lnTo>
                  <a:pt x="2983" y="0"/>
                </a:lnTo>
                <a:lnTo>
                  <a:pt x="2970" y="0"/>
                </a:lnTo>
                <a:lnTo>
                  <a:pt x="2957" y="1"/>
                </a:lnTo>
                <a:lnTo>
                  <a:pt x="2946" y="3"/>
                </a:lnTo>
                <a:lnTo>
                  <a:pt x="2935" y="6"/>
                </a:lnTo>
                <a:lnTo>
                  <a:pt x="2931" y="8"/>
                </a:lnTo>
                <a:lnTo>
                  <a:pt x="2928" y="11"/>
                </a:lnTo>
                <a:lnTo>
                  <a:pt x="2927" y="13"/>
                </a:lnTo>
                <a:lnTo>
                  <a:pt x="2926" y="16"/>
                </a:lnTo>
                <a:lnTo>
                  <a:pt x="2925" y="24"/>
                </a:lnTo>
                <a:lnTo>
                  <a:pt x="2927" y="30"/>
                </a:lnTo>
                <a:lnTo>
                  <a:pt x="2929" y="37"/>
                </a:lnTo>
                <a:lnTo>
                  <a:pt x="2931" y="43"/>
                </a:lnTo>
                <a:lnTo>
                  <a:pt x="2932" y="45"/>
                </a:lnTo>
                <a:lnTo>
                  <a:pt x="2932" y="47"/>
                </a:lnTo>
                <a:lnTo>
                  <a:pt x="2931" y="48"/>
                </a:lnTo>
                <a:lnTo>
                  <a:pt x="2930" y="48"/>
                </a:lnTo>
                <a:lnTo>
                  <a:pt x="2927" y="48"/>
                </a:lnTo>
                <a:lnTo>
                  <a:pt x="2922" y="47"/>
                </a:lnTo>
                <a:lnTo>
                  <a:pt x="2917" y="45"/>
                </a:lnTo>
                <a:lnTo>
                  <a:pt x="2912" y="43"/>
                </a:lnTo>
                <a:lnTo>
                  <a:pt x="2904" y="37"/>
                </a:lnTo>
                <a:lnTo>
                  <a:pt x="2901" y="36"/>
                </a:lnTo>
                <a:lnTo>
                  <a:pt x="2902" y="39"/>
                </a:lnTo>
                <a:lnTo>
                  <a:pt x="2903" y="48"/>
                </a:lnTo>
                <a:lnTo>
                  <a:pt x="2903" y="51"/>
                </a:lnTo>
                <a:lnTo>
                  <a:pt x="2902" y="53"/>
                </a:lnTo>
                <a:lnTo>
                  <a:pt x="2901" y="54"/>
                </a:lnTo>
                <a:lnTo>
                  <a:pt x="2898" y="54"/>
                </a:lnTo>
                <a:lnTo>
                  <a:pt x="2896" y="53"/>
                </a:lnTo>
                <a:lnTo>
                  <a:pt x="2894" y="52"/>
                </a:lnTo>
                <a:lnTo>
                  <a:pt x="2886" y="47"/>
                </a:lnTo>
                <a:lnTo>
                  <a:pt x="2881" y="45"/>
                </a:lnTo>
                <a:lnTo>
                  <a:pt x="2880" y="45"/>
                </a:lnTo>
                <a:lnTo>
                  <a:pt x="2879" y="46"/>
                </a:lnTo>
                <a:lnTo>
                  <a:pt x="2878" y="47"/>
                </a:lnTo>
                <a:lnTo>
                  <a:pt x="2876" y="49"/>
                </a:lnTo>
                <a:lnTo>
                  <a:pt x="2875" y="56"/>
                </a:lnTo>
                <a:lnTo>
                  <a:pt x="2874" y="65"/>
                </a:lnTo>
                <a:lnTo>
                  <a:pt x="2874" y="69"/>
                </a:lnTo>
                <a:lnTo>
                  <a:pt x="2875" y="72"/>
                </a:lnTo>
                <a:lnTo>
                  <a:pt x="2878" y="75"/>
                </a:lnTo>
                <a:lnTo>
                  <a:pt x="2881" y="78"/>
                </a:lnTo>
                <a:lnTo>
                  <a:pt x="2890" y="82"/>
                </a:lnTo>
                <a:lnTo>
                  <a:pt x="2901" y="87"/>
                </a:lnTo>
                <a:lnTo>
                  <a:pt x="2904" y="90"/>
                </a:lnTo>
                <a:lnTo>
                  <a:pt x="2905" y="92"/>
                </a:lnTo>
                <a:lnTo>
                  <a:pt x="2905" y="93"/>
                </a:lnTo>
                <a:lnTo>
                  <a:pt x="2904" y="95"/>
                </a:lnTo>
                <a:lnTo>
                  <a:pt x="2902" y="96"/>
                </a:lnTo>
                <a:lnTo>
                  <a:pt x="2900" y="97"/>
                </a:lnTo>
                <a:lnTo>
                  <a:pt x="2893" y="99"/>
                </a:lnTo>
                <a:lnTo>
                  <a:pt x="2886" y="100"/>
                </a:lnTo>
                <a:lnTo>
                  <a:pt x="2879" y="100"/>
                </a:lnTo>
                <a:lnTo>
                  <a:pt x="2872" y="99"/>
                </a:lnTo>
                <a:lnTo>
                  <a:pt x="2867" y="99"/>
                </a:lnTo>
                <a:lnTo>
                  <a:pt x="2863" y="100"/>
                </a:lnTo>
                <a:lnTo>
                  <a:pt x="2863" y="101"/>
                </a:lnTo>
                <a:lnTo>
                  <a:pt x="2863" y="102"/>
                </a:lnTo>
                <a:lnTo>
                  <a:pt x="2863" y="103"/>
                </a:lnTo>
                <a:lnTo>
                  <a:pt x="2865" y="106"/>
                </a:lnTo>
                <a:lnTo>
                  <a:pt x="2872" y="114"/>
                </a:lnTo>
                <a:lnTo>
                  <a:pt x="2878" y="119"/>
                </a:lnTo>
                <a:lnTo>
                  <a:pt x="2879" y="121"/>
                </a:lnTo>
                <a:lnTo>
                  <a:pt x="2880" y="123"/>
                </a:lnTo>
                <a:lnTo>
                  <a:pt x="2879" y="124"/>
                </a:lnTo>
                <a:lnTo>
                  <a:pt x="2876" y="125"/>
                </a:lnTo>
                <a:lnTo>
                  <a:pt x="2871" y="126"/>
                </a:lnTo>
                <a:lnTo>
                  <a:pt x="2867" y="128"/>
                </a:lnTo>
                <a:lnTo>
                  <a:pt x="2866" y="129"/>
                </a:lnTo>
                <a:lnTo>
                  <a:pt x="2865" y="130"/>
                </a:lnTo>
                <a:lnTo>
                  <a:pt x="2865" y="132"/>
                </a:lnTo>
                <a:lnTo>
                  <a:pt x="2866" y="134"/>
                </a:lnTo>
                <a:lnTo>
                  <a:pt x="2871" y="140"/>
                </a:lnTo>
                <a:lnTo>
                  <a:pt x="2879" y="148"/>
                </a:lnTo>
                <a:lnTo>
                  <a:pt x="2882" y="152"/>
                </a:lnTo>
                <a:lnTo>
                  <a:pt x="2883" y="155"/>
                </a:lnTo>
                <a:lnTo>
                  <a:pt x="2882" y="156"/>
                </a:lnTo>
                <a:lnTo>
                  <a:pt x="2881" y="156"/>
                </a:lnTo>
                <a:lnTo>
                  <a:pt x="2879" y="156"/>
                </a:lnTo>
                <a:lnTo>
                  <a:pt x="2875" y="156"/>
                </a:lnTo>
                <a:lnTo>
                  <a:pt x="2868" y="154"/>
                </a:lnTo>
                <a:lnTo>
                  <a:pt x="2860" y="150"/>
                </a:lnTo>
                <a:lnTo>
                  <a:pt x="2851" y="144"/>
                </a:lnTo>
                <a:lnTo>
                  <a:pt x="2842" y="137"/>
                </a:lnTo>
                <a:lnTo>
                  <a:pt x="2832" y="130"/>
                </a:lnTo>
                <a:lnTo>
                  <a:pt x="2824" y="121"/>
                </a:lnTo>
                <a:lnTo>
                  <a:pt x="2817" y="114"/>
                </a:lnTo>
                <a:lnTo>
                  <a:pt x="2810" y="107"/>
                </a:lnTo>
                <a:lnTo>
                  <a:pt x="2800" y="93"/>
                </a:lnTo>
                <a:lnTo>
                  <a:pt x="2791" y="82"/>
                </a:lnTo>
                <a:lnTo>
                  <a:pt x="2787" y="78"/>
                </a:lnTo>
                <a:lnTo>
                  <a:pt x="2784" y="77"/>
                </a:lnTo>
                <a:lnTo>
                  <a:pt x="2783" y="76"/>
                </a:lnTo>
                <a:lnTo>
                  <a:pt x="2781" y="77"/>
                </a:lnTo>
                <a:lnTo>
                  <a:pt x="2780" y="78"/>
                </a:lnTo>
                <a:lnTo>
                  <a:pt x="2779" y="80"/>
                </a:lnTo>
                <a:lnTo>
                  <a:pt x="2779" y="85"/>
                </a:lnTo>
                <a:lnTo>
                  <a:pt x="2780" y="89"/>
                </a:lnTo>
                <a:lnTo>
                  <a:pt x="2783" y="93"/>
                </a:lnTo>
                <a:lnTo>
                  <a:pt x="2786" y="96"/>
                </a:lnTo>
                <a:lnTo>
                  <a:pt x="2788" y="100"/>
                </a:lnTo>
                <a:lnTo>
                  <a:pt x="2791" y="102"/>
                </a:lnTo>
                <a:lnTo>
                  <a:pt x="2791" y="104"/>
                </a:lnTo>
                <a:lnTo>
                  <a:pt x="2790" y="106"/>
                </a:lnTo>
                <a:lnTo>
                  <a:pt x="2788" y="106"/>
                </a:lnTo>
                <a:lnTo>
                  <a:pt x="2786" y="107"/>
                </a:lnTo>
                <a:lnTo>
                  <a:pt x="2776" y="107"/>
                </a:lnTo>
                <a:lnTo>
                  <a:pt x="2764" y="104"/>
                </a:lnTo>
                <a:lnTo>
                  <a:pt x="2759" y="104"/>
                </a:lnTo>
                <a:lnTo>
                  <a:pt x="2755" y="104"/>
                </a:lnTo>
                <a:lnTo>
                  <a:pt x="2754" y="104"/>
                </a:lnTo>
                <a:lnTo>
                  <a:pt x="2753" y="106"/>
                </a:lnTo>
                <a:lnTo>
                  <a:pt x="2752" y="107"/>
                </a:lnTo>
                <a:lnTo>
                  <a:pt x="2752" y="108"/>
                </a:lnTo>
                <a:lnTo>
                  <a:pt x="2751" y="117"/>
                </a:lnTo>
                <a:lnTo>
                  <a:pt x="2749" y="128"/>
                </a:lnTo>
                <a:lnTo>
                  <a:pt x="2750" y="133"/>
                </a:lnTo>
                <a:lnTo>
                  <a:pt x="2751" y="138"/>
                </a:lnTo>
                <a:lnTo>
                  <a:pt x="2752" y="139"/>
                </a:lnTo>
                <a:lnTo>
                  <a:pt x="2754" y="140"/>
                </a:lnTo>
                <a:lnTo>
                  <a:pt x="2757" y="141"/>
                </a:lnTo>
                <a:lnTo>
                  <a:pt x="2760" y="141"/>
                </a:lnTo>
                <a:lnTo>
                  <a:pt x="2775" y="142"/>
                </a:lnTo>
                <a:lnTo>
                  <a:pt x="2792" y="144"/>
                </a:lnTo>
                <a:lnTo>
                  <a:pt x="2799" y="146"/>
                </a:lnTo>
                <a:lnTo>
                  <a:pt x="2807" y="151"/>
                </a:lnTo>
                <a:lnTo>
                  <a:pt x="2816" y="156"/>
                </a:lnTo>
                <a:lnTo>
                  <a:pt x="2822" y="163"/>
                </a:lnTo>
                <a:lnTo>
                  <a:pt x="2829" y="172"/>
                </a:lnTo>
                <a:lnTo>
                  <a:pt x="2835" y="180"/>
                </a:lnTo>
                <a:lnTo>
                  <a:pt x="2839" y="187"/>
                </a:lnTo>
                <a:lnTo>
                  <a:pt x="2843" y="195"/>
                </a:lnTo>
                <a:lnTo>
                  <a:pt x="2847" y="206"/>
                </a:lnTo>
                <a:lnTo>
                  <a:pt x="2849" y="210"/>
                </a:lnTo>
                <a:lnTo>
                  <a:pt x="2849" y="213"/>
                </a:lnTo>
                <a:lnTo>
                  <a:pt x="2847" y="219"/>
                </a:lnTo>
                <a:lnTo>
                  <a:pt x="2846" y="221"/>
                </a:lnTo>
                <a:lnTo>
                  <a:pt x="2843" y="220"/>
                </a:lnTo>
                <a:lnTo>
                  <a:pt x="2840" y="217"/>
                </a:lnTo>
                <a:lnTo>
                  <a:pt x="2835" y="210"/>
                </a:lnTo>
                <a:lnTo>
                  <a:pt x="2825" y="194"/>
                </a:lnTo>
                <a:lnTo>
                  <a:pt x="2818" y="181"/>
                </a:lnTo>
                <a:lnTo>
                  <a:pt x="2813" y="176"/>
                </a:lnTo>
                <a:lnTo>
                  <a:pt x="2807" y="170"/>
                </a:lnTo>
                <a:lnTo>
                  <a:pt x="2801" y="166"/>
                </a:lnTo>
                <a:lnTo>
                  <a:pt x="2793" y="163"/>
                </a:lnTo>
                <a:lnTo>
                  <a:pt x="2781" y="159"/>
                </a:lnTo>
                <a:lnTo>
                  <a:pt x="2766" y="156"/>
                </a:lnTo>
                <a:lnTo>
                  <a:pt x="2751" y="152"/>
                </a:lnTo>
                <a:lnTo>
                  <a:pt x="2735" y="148"/>
                </a:lnTo>
                <a:lnTo>
                  <a:pt x="2729" y="148"/>
                </a:lnTo>
                <a:lnTo>
                  <a:pt x="2722" y="148"/>
                </a:lnTo>
                <a:lnTo>
                  <a:pt x="2717" y="148"/>
                </a:lnTo>
                <a:lnTo>
                  <a:pt x="2713" y="150"/>
                </a:lnTo>
                <a:lnTo>
                  <a:pt x="2711" y="152"/>
                </a:lnTo>
                <a:lnTo>
                  <a:pt x="2711" y="155"/>
                </a:lnTo>
                <a:lnTo>
                  <a:pt x="2713" y="159"/>
                </a:lnTo>
                <a:lnTo>
                  <a:pt x="2717" y="164"/>
                </a:lnTo>
                <a:lnTo>
                  <a:pt x="2735" y="184"/>
                </a:lnTo>
                <a:lnTo>
                  <a:pt x="2750" y="199"/>
                </a:lnTo>
                <a:lnTo>
                  <a:pt x="2755" y="204"/>
                </a:lnTo>
                <a:lnTo>
                  <a:pt x="2759" y="210"/>
                </a:lnTo>
                <a:lnTo>
                  <a:pt x="2762" y="216"/>
                </a:lnTo>
                <a:lnTo>
                  <a:pt x="2765" y="221"/>
                </a:lnTo>
                <a:lnTo>
                  <a:pt x="2766" y="223"/>
                </a:lnTo>
                <a:lnTo>
                  <a:pt x="2770" y="226"/>
                </a:lnTo>
                <a:lnTo>
                  <a:pt x="2773" y="229"/>
                </a:lnTo>
                <a:lnTo>
                  <a:pt x="2777" y="232"/>
                </a:lnTo>
                <a:lnTo>
                  <a:pt x="2786" y="239"/>
                </a:lnTo>
                <a:lnTo>
                  <a:pt x="2796" y="244"/>
                </a:lnTo>
                <a:lnTo>
                  <a:pt x="2803" y="249"/>
                </a:lnTo>
                <a:lnTo>
                  <a:pt x="2807" y="253"/>
                </a:lnTo>
                <a:lnTo>
                  <a:pt x="2806" y="254"/>
                </a:lnTo>
                <a:lnTo>
                  <a:pt x="2805" y="255"/>
                </a:lnTo>
                <a:lnTo>
                  <a:pt x="2801" y="256"/>
                </a:lnTo>
                <a:lnTo>
                  <a:pt x="2796" y="256"/>
                </a:lnTo>
                <a:lnTo>
                  <a:pt x="2790" y="255"/>
                </a:lnTo>
                <a:lnTo>
                  <a:pt x="2783" y="254"/>
                </a:lnTo>
                <a:lnTo>
                  <a:pt x="2778" y="253"/>
                </a:lnTo>
                <a:lnTo>
                  <a:pt x="2774" y="251"/>
                </a:lnTo>
                <a:lnTo>
                  <a:pt x="2765" y="246"/>
                </a:lnTo>
                <a:lnTo>
                  <a:pt x="2759" y="242"/>
                </a:lnTo>
                <a:lnTo>
                  <a:pt x="2755" y="238"/>
                </a:lnTo>
                <a:lnTo>
                  <a:pt x="2752" y="236"/>
                </a:lnTo>
                <a:lnTo>
                  <a:pt x="2750" y="236"/>
                </a:lnTo>
                <a:lnTo>
                  <a:pt x="2749" y="238"/>
                </a:lnTo>
                <a:lnTo>
                  <a:pt x="2749" y="240"/>
                </a:lnTo>
                <a:lnTo>
                  <a:pt x="2748" y="243"/>
                </a:lnTo>
                <a:lnTo>
                  <a:pt x="2744" y="257"/>
                </a:lnTo>
                <a:lnTo>
                  <a:pt x="2741" y="269"/>
                </a:lnTo>
                <a:lnTo>
                  <a:pt x="2739" y="279"/>
                </a:lnTo>
                <a:lnTo>
                  <a:pt x="2739" y="288"/>
                </a:lnTo>
                <a:lnTo>
                  <a:pt x="2741" y="292"/>
                </a:lnTo>
                <a:lnTo>
                  <a:pt x="2746" y="295"/>
                </a:lnTo>
                <a:lnTo>
                  <a:pt x="2751" y="297"/>
                </a:lnTo>
                <a:lnTo>
                  <a:pt x="2756" y="299"/>
                </a:lnTo>
                <a:lnTo>
                  <a:pt x="2760" y="301"/>
                </a:lnTo>
                <a:lnTo>
                  <a:pt x="2762" y="304"/>
                </a:lnTo>
                <a:lnTo>
                  <a:pt x="2762" y="305"/>
                </a:lnTo>
                <a:lnTo>
                  <a:pt x="2757" y="307"/>
                </a:lnTo>
                <a:lnTo>
                  <a:pt x="2751" y="309"/>
                </a:lnTo>
                <a:lnTo>
                  <a:pt x="2747" y="312"/>
                </a:lnTo>
                <a:lnTo>
                  <a:pt x="2744" y="316"/>
                </a:lnTo>
                <a:lnTo>
                  <a:pt x="2743" y="319"/>
                </a:lnTo>
                <a:lnTo>
                  <a:pt x="2742" y="321"/>
                </a:lnTo>
                <a:lnTo>
                  <a:pt x="2741" y="323"/>
                </a:lnTo>
                <a:lnTo>
                  <a:pt x="2739" y="322"/>
                </a:lnTo>
                <a:lnTo>
                  <a:pt x="2736" y="320"/>
                </a:lnTo>
                <a:lnTo>
                  <a:pt x="2729" y="310"/>
                </a:lnTo>
                <a:lnTo>
                  <a:pt x="2721" y="299"/>
                </a:lnTo>
                <a:lnTo>
                  <a:pt x="2714" y="288"/>
                </a:lnTo>
                <a:lnTo>
                  <a:pt x="2708" y="278"/>
                </a:lnTo>
                <a:lnTo>
                  <a:pt x="2696" y="268"/>
                </a:lnTo>
                <a:lnTo>
                  <a:pt x="2679" y="256"/>
                </a:lnTo>
                <a:lnTo>
                  <a:pt x="2673" y="250"/>
                </a:lnTo>
                <a:lnTo>
                  <a:pt x="2669" y="244"/>
                </a:lnTo>
                <a:lnTo>
                  <a:pt x="2668" y="241"/>
                </a:lnTo>
                <a:lnTo>
                  <a:pt x="2668" y="239"/>
                </a:lnTo>
                <a:lnTo>
                  <a:pt x="2670" y="235"/>
                </a:lnTo>
                <a:lnTo>
                  <a:pt x="2673" y="232"/>
                </a:lnTo>
                <a:lnTo>
                  <a:pt x="2691" y="221"/>
                </a:lnTo>
                <a:lnTo>
                  <a:pt x="2694" y="220"/>
                </a:lnTo>
                <a:lnTo>
                  <a:pt x="2693" y="220"/>
                </a:lnTo>
                <a:lnTo>
                  <a:pt x="2690" y="220"/>
                </a:lnTo>
                <a:lnTo>
                  <a:pt x="2685" y="218"/>
                </a:lnTo>
                <a:lnTo>
                  <a:pt x="2677" y="211"/>
                </a:lnTo>
                <a:lnTo>
                  <a:pt x="2674" y="207"/>
                </a:lnTo>
                <a:lnTo>
                  <a:pt x="2672" y="202"/>
                </a:lnTo>
                <a:lnTo>
                  <a:pt x="2670" y="197"/>
                </a:lnTo>
                <a:lnTo>
                  <a:pt x="2669" y="192"/>
                </a:lnTo>
                <a:lnTo>
                  <a:pt x="2667" y="189"/>
                </a:lnTo>
                <a:lnTo>
                  <a:pt x="2666" y="188"/>
                </a:lnTo>
                <a:lnTo>
                  <a:pt x="2663" y="188"/>
                </a:lnTo>
                <a:lnTo>
                  <a:pt x="2660" y="191"/>
                </a:lnTo>
                <a:lnTo>
                  <a:pt x="2653" y="200"/>
                </a:lnTo>
                <a:lnTo>
                  <a:pt x="2651" y="205"/>
                </a:lnTo>
                <a:lnTo>
                  <a:pt x="2651" y="207"/>
                </a:lnTo>
                <a:lnTo>
                  <a:pt x="2651" y="207"/>
                </a:lnTo>
                <a:lnTo>
                  <a:pt x="2650" y="207"/>
                </a:lnTo>
                <a:lnTo>
                  <a:pt x="2649" y="206"/>
                </a:lnTo>
                <a:lnTo>
                  <a:pt x="2646" y="201"/>
                </a:lnTo>
                <a:lnTo>
                  <a:pt x="2644" y="197"/>
                </a:lnTo>
                <a:lnTo>
                  <a:pt x="2643" y="195"/>
                </a:lnTo>
                <a:lnTo>
                  <a:pt x="2642" y="194"/>
                </a:lnTo>
                <a:lnTo>
                  <a:pt x="2641" y="192"/>
                </a:lnTo>
                <a:lnTo>
                  <a:pt x="2639" y="194"/>
                </a:lnTo>
                <a:lnTo>
                  <a:pt x="2633" y="196"/>
                </a:lnTo>
                <a:lnTo>
                  <a:pt x="2625" y="199"/>
                </a:lnTo>
                <a:lnTo>
                  <a:pt x="2620" y="201"/>
                </a:lnTo>
                <a:lnTo>
                  <a:pt x="2617" y="203"/>
                </a:lnTo>
                <a:lnTo>
                  <a:pt x="2613" y="206"/>
                </a:lnTo>
                <a:lnTo>
                  <a:pt x="2612" y="209"/>
                </a:lnTo>
                <a:lnTo>
                  <a:pt x="2612" y="214"/>
                </a:lnTo>
                <a:lnTo>
                  <a:pt x="2613" y="221"/>
                </a:lnTo>
                <a:lnTo>
                  <a:pt x="2613" y="226"/>
                </a:lnTo>
                <a:lnTo>
                  <a:pt x="2616" y="233"/>
                </a:lnTo>
                <a:lnTo>
                  <a:pt x="2617" y="240"/>
                </a:lnTo>
                <a:lnTo>
                  <a:pt x="2617" y="247"/>
                </a:lnTo>
                <a:lnTo>
                  <a:pt x="2617" y="250"/>
                </a:lnTo>
                <a:lnTo>
                  <a:pt x="2618" y="254"/>
                </a:lnTo>
                <a:lnTo>
                  <a:pt x="2620" y="260"/>
                </a:lnTo>
                <a:lnTo>
                  <a:pt x="2624" y="266"/>
                </a:lnTo>
                <a:lnTo>
                  <a:pt x="2632" y="279"/>
                </a:lnTo>
                <a:lnTo>
                  <a:pt x="2640" y="289"/>
                </a:lnTo>
                <a:lnTo>
                  <a:pt x="2642" y="292"/>
                </a:lnTo>
                <a:lnTo>
                  <a:pt x="2643" y="295"/>
                </a:lnTo>
                <a:lnTo>
                  <a:pt x="2644" y="297"/>
                </a:lnTo>
                <a:lnTo>
                  <a:pt x="2643" y="299"/>
                </a:lnTo>
                <a:lnTo>
                  <a:pt x="2642" y="304"/>
                </a:lnTo>
                <a:lnTo>
                  <a:pt x="2640" y="311"/>
                </a:lnTo>
                <a:lnTo>
                  <a:pt x="2639" y="314"/>
                </a:lnTo>
                <a:lnTo>
                  <a:pt x="2638" y="316"/>
                </a:lnTo>
                <a:lnTo>
                  <a:pt x="2635" y="316"/>
                </a:lnTo>
                <a:lnTo>
                  <a:pt x="2632" y="313"/>
                </a:lnTo>
                <a:lnTo>
                  <a:pt x="2623" y="304"/>
                </a:lnTo>
                <a:lnTo>
                  <a:pt x="2612" y="294"/>
                </a:lnTo>
                <a:lnTo>
                  <a:pt x="2607" y="289"/>
                </a:lnTo>
                <a:lnTo>
                  <a:pt x="2604" y="284"/>
                </a:lnTo>
                <a:lnTo>
                  <a:pt x="2603" y="282"/>
                </a:lnTo>
                <a:lnTo>
                  <a:pt x="2602" y="279"/>
                </a:lnTo>
                <a:lnTo>
                  <a:pt x="2602" y="277"/>
                </a:lnTo>
                <a:lnTo>
                  <a:pt x="2602" y="275"/>
                </a:lnTo>
                <a:lnTo>
                  <a:pt x="2604" y="271"/>
                </a:lnTo>
                <a:lnTo>
                  <a:pt x="2605" y="267"/>
                </a:lnTo>
                <a:lnTo>
                  <a:pt x="2605" y="263"/>
                </a:lnTo>
                <a:lnTo>
                  <a:pt x="2604" y="258"/>
                </a:lnTo>
                <a:lnTo>
                  <a:pt x="2603" y="253"/>
                </a:lnTo>
                <a:lnTo>
                  <a:pt x="2601" y="249"/>
                </a:lnTo>
                <a:lnTo>
                  <a:pt x="2599" y="245"/>
                </a:lnTo>
                <a:lnTo>
                  <a:pt x="2596" y="240"/>
                </a:lnTo>
                <a:lnTo>
                  <a:pt x="2591" y="235"/>
                </a:lnTo>
                <a:lnTo>
                  <a:pt x="2588" y="234"/>
                </a:lnTo>
                <a:lnTo>
                  <a:pt x="2584" y="233"/>
                </a:lnTo>
                <a:lnTo>
                  <a:pt x="2581" y="233"/>
                </a:lnTo>
                <a:lnTo>
                  <a:pt x="2576" y="235"/>
                </a:lnTo>
                <a:lnTo>
                  <a:pt x="2574" y="238"/>
                </a:lnTo>
                <a:lnTo>
                  <a:pt x="2575" y="242"/>
                </a:lnTo>
                <a:lnTo>
                  <a:pt x="2576" y="250"/>
                </a:lnTo>
                <a:lnTo>
                  <a:pt x="2577" y="254"/>
                </a:lnTo>
                <a:lnTo>
                  <a:pt x="2576" y="256"/>
                </a:lnTo>
                <a:lnTo>
                  <a:pt x="2575" y="257"/>
                </a:lnTo>
                <a:lnTo>
                  <a:pt x="2574" y="257"/>
                </a:lnTo>
                <a:lnTo>
                  <a:pt x="2573" y="257"/>
                </a:lnTo>
                <a:lnTo>
                  <a:pt x="2571" y="256"/>
                </a:lnTo>
                <a:lnTo>
                  <a:pt x="2559" y="245"/>
                </a:lnTo>
                <a:lnTo>
                  <a:pt x="2551" y="234"/>
                </a:lnTo>
                <a:lnTo>
                  <a:pt x="2549" y="228"/>
                </a:lnTo>
                <a:lnTo>
                  <a:pt x="2546" y="223"/>
                </a:lnTo>
                <a:lnTo>
                  <a:pt x="2545" y="221"/>
                </a:lnTo>
                <a:lnTo>
                  <a:pt x="2542" y="222"/>
                </a:lnTo>
                <a:lnTo>
                  <a:pt x="2537" y="224"/>
                </a:lnTo>
                <a:lnTo>
                  <a:pt x="2530" y="228"/>
                </a:lnTo>
                <a:lnTo>
                  <a:pt x="2515" y="240"/>
                </a:lnTo>
                <a:lnTo>
                  <a:pt x="2506" y="248"/>
                </a:lnTo>
                <a:lnTo>
                  <a:pt x="2498" y="254"/>
                </a:lnTo>
                <a:lnTo>
                  <a:pt x="2491" y="258"/>
                </a:lnTo>
                <a:lnTo>
                  <a:pt x="2477" y="263"/>
                </a:lnTo>
                <a:lnTo>
                  <a:pt x="2458" y="269"/>
                </a:lnTo>
                <a:lnTo>
                  <a:pt x="2450" y="272"/>
                </a:lnTo>
                <a:lnTo>
                  <a:pt x="2442" y="275"/>
                </a:lnTo>
                <a:lnTo>
                  <a:pt x="2436" y="278"/>
                </a:lnTo>
                <a:lnTo>
                  <a:pt x="2433" y="282"/>
                </a:lnTo>
                <a:lnTo>
                  <a:pt x="2435" y="288"/>
                </a:lnTo>
                <a:lnTo>
                  <a:pt x="2442" y="299"/>
                </a:lnTo>
                <a:lnTo>
                  <a:pt x="2451" y="314"/>
                </a:lnTo>
                <a:lnTo>
                  <a:pt x="2462" y="331"/>
                </a:lnTo>
                <a:lnTo>
                  <a:pt x="2471" y="346"/>
                </a:lnTo>
                <a:lnTo>
                  <a:pt x="2479" y="359"/>
                </a:lnTo>
                <a:lnTo>
                  <a:pt x="2485" y="367"/>
                </a:lnTo>
                <a:lnTo>
                  <a:pt x="2484" y="370"/>
                </a:lnTo>
                <a:lnTo>
                  <a:pt x="2472" y="355"/>
                </a:lnTo>
                <a:lnTo>
                  <a:pt x="2453" y="331"/>
                </a:lnTo>
                <a:lnTo>
                  <a:pt x="2443" y="318"/>
                </a:lnTo>
                <a:lnTo>
                  <a:pt x="2433" y="309"/>
                </a:lnTo>
                <a:lnTo>
                  <a:pt x="2428" y="305"/>
                </a:lnTo>
                <a:lnTo>
                  <a:pt x="2424" y="302"/>
                </a:lnTo>
                <a:lnTo>
                  <a:pt x="2420" y="300"/>
                </a:lnTo>
                <a:lnTo>
                  <a:pt x="2417" y="300"/>
                </a:lnTo>
                <a:lnTo>
                  <a:pt x="2405" y="302"/>
                </a:lnTo>
                <a:lnTo>
                  <a:pt x="2398" y="305"/>
                </a:lnTo>
                <a:lnTo>
                  <a:pt x="2396" y="307"/>
                </a:lnTo>
                <a:lnTo>
                  <a:pt x="2395" y="308"/>
                </a:lnTo>
                <a:lnTo>
                  <a:pt x="2393" y="310"/>
                </a:lnTo>
                <a:lnTo>
                  <a:pt x="2393" y="313"/>
                </a:lnTo>
                <a:lnTo>
                  <a:pt x="2393" y="315"/>
                </a:lnTo>
                <a:lnTo>
                  <a:pt x="2392" y="316"/>
                </a:lnTo>
                <a:lnTo>
                  <a:pt x="2391" y="316"/>
                </a:lnTo>
                <a:lnTo>
                  <a:pt x="2390" y="317"/>
                </a:lnTo>
                <a:lnTo>
                  <a:pt x="2386" y="317"/>
                </a:lnTo>
                <a:lnTo>
                  <a:pt x="2382" y="317"/>
                </a:lnTo>
                <a:lnTo>
                  <a:pt x="2379" y="318"/>
                </a:lnTo>
                <a:lnTo>
                  <a:pt x="2376" y="319"/>
                </a:lnTo>
                <a:lnTo>
                  <a:pt x="2375" y="321"/>
                </a:lnTo>
                <a:lnTo>
                  <a:pt x="2375" y="322"/>
                </a:lnTo>
                <a:lnTo>
                  <a:pt x="2375" y="324"/>
                </a:lnTo>
                <a:lnTo>
                  <a:pt x="2376" y="328"/>
                </a:lnTo>
                <a:lnTo>
                  <a:pt x="2378" y="334"/>
                </a:lnTo>
                <a:lnTo>
                  <a:pt x="2381" y="338"/>
                </a:lnTo>
                <a:lnTo>
                  <a:pt x="2385" y="342"/>
                </a:lnTo>
                <a:lnTo>
                  <a:pt x="2388" y="346"/>
                </a:lnTo>
                <a:lnTo>
                  <a:pt x="2396" y="352"/>
                </a:lnTo>
                <a:lnTo>
                  <a:pt x="2401" y="357"/>
                </a:lnTo>
                <a:lnTo>
                  <a:pt x="2402" y="360"/>
                </a:lnTo>
                <a:lnTo>
                  <a:pt x="2402" y="363"/>
                </a:lnTo>
                <a:lnTo>
                  <a:pt x="2402" y="366"/>
                </a:lnTo>
                <a:lnTo>
                  <a:pt x="2400" y="371"/>
                </a:lnTo>
                <a:lnTo>
                  <a:pt x="2397" y="376"/>
                </a:lnTo>
                <a:lnTo>
                  <a:pt x="2395" y="380"/>
                </a:lnTo>
                <a:lnTo>
                  <a:pt x="2397" y="386"/>
                </a:lnTo>
                <a:lnTo>
                  <a:pt x="2403" y="399"/>
                </a:lnTo>
                <a:lnTo>
                  <a:pt x="2406" y="405"/>
                </a:lnTo>
                <a:lnTo>
                  <a:pt x="2407" y="411"/>
                </a:lnTo>
                <a:lnTo>
                  <a:pt x="2407" y="414"/>
                </a:lnTo>
                <a:lnTo>
                  <a:pt x="2406" y="416"/>
                </a:lnTo>
                <a:lnTo>
                  <a:pt x="2404" y="417"/>
                </a:lnTo>
                <a:lnTo>
                  <a:pt x="2402" y="418"/>
                </a:lnTo>
                <a:lnTo>
                  <a:pt x="2396" y="417"/>
                </a:lnTo>
                <a:lnTo>
                  <a:pt x="2389" y="415"/>
                </a:lnTo>
                <a:lnTo>
                  <a:pt x="2383" y="412"/>
                </a:lnTo>
                <a:lnTo>
                  <a:pt x="2376" y="408"/>
                </a:lnTo>
                <a:lnTo>
                  <a:pt x="2370" y="406"/>
                </a:lnTo>
                <a:lnTo>
                  <a:pt x="2365" y="404"/>
                </a:lnTo>
                <a:lnTo>
                  <a:pt x="2364" y="403"/>
                </a:lnTo>
                <a:lnTo>
                  <a:pt x="2362" y="404"/>
                </a:lnTo>
                <a:lnTo>
                  <a:pt x="2361" y="404"/>
                </a:lnTo>
                <a:lnTo>
                  <a:pt x="2361" y="406"/>
                </a:lnTo>
                <a:lnTo>
                  <a:pt x="2360" y="409"/>
                </a:lnTo>
                <a:lnTo>
                  <a:pt x="2358" y="411"/>
                </a:lnTo>
                <a:lnTo>
                  <a:pt x="2356" y="415"/>
                </a:lnTo>
                <a:lnTo>
                  <a:pt x="2352" y="417"/>
                </a:lnTo>
                <a:lnTo>
                  <a:pt x="2347" y="420"/>
                </a:lnTo>
                <a:lnTo>
                  <a:pt x="2342" y="424"/>
                </a:lnTo>
                <a:lnTo>
                  <a:pt x="2336" y="430"/>
                </a:lnTo>
                <a:lnTo>
                  <a:pt x="2330" y="439"/>
                </a:lnTo>
                <a:lnTo>
                  <a:pt x="2314" y="459"/>
                </a:lnTo>
                <a:lnTo>
                  <a:pt x="2299" y="479"/>
                </a:lnTo>
                <a:lnTo>
                  <a:pt x="2287" y="493"/>
                </a:lnTo>
                <a:lnTo>
                  <a:pt x="2279" y="502"/>
                </a:lnTo>
                <a:lnTo>
                  <a:pt x="2277" y="502"/>
                </a:lnTo>
                <a:lnTo>
                  <a:pt x="2277" y="499"/>
                </a:lnTo>
                <a:lnTo>
                  <a:pt x="2276" y="496"/>
                </a:lnTo>
                <a:lnTo>
                  <a:pt x="2275" y="494"/>
                </a:lnTo>
                <a:lnTo>
                  <a:pt x="2275" y="492"/>
                </a:lnTo>
                <a:lnTo>
                  <a:pt x="2274" y="492"/>
                </a:lnTo>
                <a:lnTo>
                  <a:pt x="2273" y="491"/>
                </a:lnTo>
                <a:lnTo>
                  <a:pt x="2272" y="492"/>
                </a:lnTo>
                <a:lnTo>
                  <a:pt x="2269" y="494"/>
                </a:lnTo>
                <a:lnTo>
                  <a:pt x="2264" y="502"/>
                </a:lnTo>
                <a:lnTo>
                  <a:pt x="2258" y="510"/>
                </a:lnTo>
                <a:lnTo>
                  <a:pt x="2255" y="517"/>
                </a:lnTo>
                <a:lnTo>
                  <a:pt x="2252" y="523"/>
                </a:lnTo>
                <a:lnTo>
                  <a:pt x="2251" y="528"/>
                </a:lnTo>
                <a:lnTo>
                  <a:pt x="2251" y="536"/>
                </a:lnTo>
                <a:lnTo>
                  <a:pt x="2252" y="543"/>
                </a:lnTo>
                <a:lnTo>
                  <a:pt x="2252" y="550"/>
                </a:lnTo>
                <a:lnTo>
                  <a:pt x="2253" y="553"/>
                </a:lnTo>
                <a:lnTo>
                  <a:pt x="2256" y="558"/>
                </a:lnTo>
                <a:lnTo>
                  <a:pt x="2266" y="568"/>
                </a:lnTo>
                <a:lnTo>
                  <a:pt x="2269" y="570"/>
                </a:lnTo>
                <a:lnTo>
                  <a:pt x="2272" y="571"/>
                </a:lnTo>
                <a:lnTo>
                  <a:pt x="2276" y="572"/>
                </a:lnTo>
                <a:lnTo>
                  <a:pt x="2279" y="572"/>
                </a:lnTo>
                <a:lnTo>
                  <a:pt x="2287" y="571"/>
                </a:lnTo>
                <a:lnTo>
                  <a:pt x="2295" y="569"/>
                </a:lnTo>
                <a:lnTo>
                  <a:pt x="2302" y="565"/>
                </a:lnTo>
                <a:lnTo>
                  <a:pt x="2311" y="563"/>
                </a:lnTo>
                <a:lnTo>
                  <a:pt x="2315" y="562"/>
                </a:lnTo>
                <a:lnTo>
                  <a:pt x="2319" y="562"/>
                </a:lnTo>
                <a:lnTo>
                  <a:pt x="2323" y="562"/>
                </a:lnTo>
                <a:lnTo>
                  <a:pt x="2329" y="563"/>
                </a:lnTo>
                <a:lnTo>
                  <a:pt x="2342" y="565"/>
                </a:lnTo>
                <a:lnTo>
                  <a:pt x="2347" y="567"/>
                </a:lnTo>
                <a:lnTo>
                  <a:pt x="2347" y="569"/>
                </a:lnTo>
                <a:lnTo>
                  <a:pt x="2342" y="575"/>
                </a:lnTo>
                <a:lnTo>
                  <a:pt x="2338" y="579"/>
                </a:lnTo>
                <a:lnTo>
                  <a:pt x="2334" y="582"/>
                </a:lnTo>
                <a:lnTo>
                  <a:pt x="2329" y="583"/>
                </a:lnTo>
                <a:lnTo>
                  <a:pt x="2323" y="584"/>
                </a:lnTo>
                <a:lnTo>
                  <a:pt x="2320" y="585"/>
                </a:lnTo>
                <a:lnTo>
                  <a:pt x="2317" y="589"/>
                </a:lnTo>
                <a:lnTo>
                  <a:pt x="2317" y="590"/>
                </a:lnTo>
                <a:lnTo>
                  <a:pt x="2317" y="592"/>
                </a:lnTo>
                <a:lnTo>
                  <a:pt x="2318" y="594"/>
                </a:lnTo>
                <a:lnTo>
                  <a:pt x="2319" y="597"/>
                </a:lnTo>
                <a:lnTo>
                  <a:pt x="2326" y="608"/>
                </a:lnTo>
                <a:lnTo>
                  <a:pt x="2335" y="618"/>
                </a:lnTo>
                <a:lnTo>
                  <a:pt x="2337" y="621"/>
                </a:lnTo>
                <a:lnTo>
                  <a:pt x="2338" y="625"/>
                </a:lnTo>
                <a:lnTo>
                  <a:pt x="2337" y="629"/>
                </a:lnTo>
                <a:lnTo>
                  <a:pt x="2335" y="633"/>
                </a:lnTo>
                <a:lnTo>
                  <a:pt x="2326" y="641"/>
                </a:lnTo>
                <a:lnTo>
                  <a:pt x="2319" y="648"/>
                </a:lnTo>
                <a:lnTo>
                  <a:pt x="2312" y="657"/>
                </a:lnTo>
                <a:lnTo>
                  <a:pt x="2304" y="666"/>
                </a:lnTo>
                <a:lnTo>
                  <a:pt x="2300" y="670"/>
                </a:lnTo>
                <a:lnTo>
                  <a:pt x="2294" y="673"/>
                </a:lnTo>
                <a:lnTo>
                  <a:pt x="2288" y="678"/>
                </a:lnTo>
                <a:lnTo>
                  <a:pt x="2279" y="680"/>
                </a:lnTo>
                <a:lnTo>
                  <a:pt x="2271" y="682"/>
                </a:lnTo>
                <a:lnTo>
                  <a:pt x="2262" y="683"/>
                </a:lnTo>
                <a:lnTo>
                  <a:pt x="2253" y="684"/>
                </a:lnTo>
                <a:lnTo>
                  <a:pt x="2245" y="684"/>
                </a:lnTo>
                <a:lnTo>
                  <a:pt x="2238" y="685"/>
                </a:lnTo>
                <a:lnTo>
                  <a:pt x="2234" y="686"/>
                </a:lnTo>
                <a:lnTo>
                  <a:pt x="2232" y="689"/>
                </a:lnTo>
                <a:lnTo>
                  <a:pt x="2230" y="692"/>
                </a:lnTo>
                <a:lnTo>
                  <a:pt x="2229" y="696"/>
                </a:lnTo>
                <a:lnTo>
                  <a:pt x="2228" y="701"/>
                </a:lnTo>
                <a:lnTo>
                  <a:pt x="2226" y="705"/>
                </a:lnTo>
                <a:lnTo>
                  <a:pt x="2222" y="708"/>
                </a:lnTo>
                <a:lnTo>
                  <a:pt x="2204" y="716"/>
                </a:lnTo>
                <a:lnTo>
                  <a:pt x="2179" y="730"/>
                </a:lnTo>
                <a:lnTo>
                  <a:pt x="2173" y="734"/>
                </a:lnTo>
                <a:lnTo>
                  <a:pt x="2167" y="738"/>
                </a:lnTo>
                <a:lnTo>
                  <a:pt x="2162" y="743"/>
                </a:lnTo>
                <a:lnTo>
                  <a:pt x="2158" y="748"/>
                </a:lnTo>
                <a:lnTo>
                  <a:pt x="2155" y="752"/>
                </a:lnTo>
                <a:lnTo>
                  <a:pt x="2152" y="757"/>
                </a:lnTo>
                <a:lnTo>
                  <a:pt x="2151" y="762"/>
                </a:lnTo>
                <a:lnTo>
                  <a:pt x="2152" y="768"/>
                </a:lnTo>
                <a:lnTo>
                  <a:pt x="2155" y="772"/>
                </a:lnTo>
                <a:lnTo>
                  <a:pt x="2157" y="776"/>
                </a:lnTo>
                <a:lnTo>
                  <a:pt x="2159" y="780"/>
                </a:lnTo>
                <a:lnTo>
                  <a:pt x="2162" y="783"/>
                </a:lnTo>
                <a:lnTo>
                  <a:pt x="2169" y="790"/>
                </a:lnTo>
                <a:lnTo>
                  <a:pt x="2176" y="796"/>
                </a:lnTo>
                <a:lnTo>
                  <a:pt x="2183" y="801"/>
                </a:lnTo>
                <a:lnTo>
                  <a:pt x="2190" y="809"/>
                </a:lnTo>
                <a:lnTo>
                  <a:pt x="2193" y="812"/>
                </a:lnTo>
                <a:lnTo>
                  <a:pt x="2195" y="816"/>
                </a:lnTo>
                <a:lnTo>
                  <a:pt x="2198" y="820"/>
                </a:lnTo>
                <a:lnTo>
                  <a:pt x="2200" y="825"/>
                </a:lnTo>
                <a:lnTo>
                  <a:pt x="2206" y="842"/>
                </a:lnTo>
                <a:lnTo>
                  <a:pt x="2208" y="850"/>
                </a:lnTo>
                <a:lnTo>
                  <a:pt x="2207" y="854"/>
                </a:lnTo>
                <a:lnTo>
                  <a:pt x="2206" y="856"/>
                </a:lnTo>
                <a:lnTo>
                  <a:pt x="2203" y="858"/>
                </a:lnTo>
                <a:lnTo>
                  <a:pt x="2199" y="860"/>
                </a:lnTo>
                <a:lnTo>
                  <a:pt x="2195" y="862"/>
                </a:lnTo>
                <a:lnTo>
                  <a:pt x="2194" y="864"/>
                </a:lnTo>
                <a:lnTo>
                  <a:pt x="2195" y="867"/>
                </a:lnTo>
                <a:lnTo>
                  <a:pt x="2198" y="869"/>
                </a:lnTo>
                <a:lnTo>
                  <a:pt x="2201" y="870"/>
                </a:lnTo>
                <a:lnTo>
                  <a:pt x="2206" y="871"/>
                </a:lnTo>
                <a:lnTo>
                  <a:pt x="2210" y="871"/>
                </a:lnTo>
                <a:lnTo>
                  <a:pt x="2215" y="869"/>
                </a:lnTo>
                <a:lnTo>
                  <a:pt x="2228" y="862"/>
                </a:lnTo>
                <a:lnTo>
                  <a:pt x="2242" y="853"/>
                </a:lnTo>
                <a:lnTo>
                  <a:pt x="2249" y="848"/>
                </a:lnTo>
                <a:lnTo>
                  <a:pt x="2255" y="845"/>
                </a:lnTo>
                <a:lnTo>
                  <a:pt x="2259" y="844"/>
                </a:lnTo>
                <a:lnTo>
                  <a:pt x="2262" y="844"/>
                </a:lnTo>
                <a:lnTo>
                  <a:pt x="2270" y="846"/>
                </a:lnTo>
                <a:lnTo>
                  <a:pt x="2279" y="849"/>
                </a:lnTo>
                <a:lnTo>
                  <a:pt x="2282" y="850"/>
                </a:lnTo>
                <a:lnTo>
                  <a:pt x="2284" y="853"/>
                </a:lnTo>
                <a:lnTo>
                  <a:pt x="2286" y="855"/>
                </a:lnTo>
                <a:lnTo>
                  <a:pt x="2284" y="856"/>
                </a:lnTo>
                <a:lnTo>
                  <a:pt x="2283" y="858"/>
                </a:lnTo>
                <a:lnTo>
                  <a:pt x="2281" y="860"/>
                </a:lnTo>
                <a:lnTo>
                  <a:pt x="2278" y="861"/>
                </a:lnTo>
                <a:lnTo>
                  <a:pt x="2275" y="862"/>
                </a:lnTo>
                <a:lnTo>
                  <a:pt x="2272" y="863"/>
                </a:lnTo>
                <a:lnTo>
                  <a:pt x="2269" y="862"/>
                </a:lnTo>
                <a:lnTo>
                  <a:pt x="2262" y="861"/>
                </a:lnTo>
                <a:lnTo>
                  <a:pt x="2256" y="860"/>
                </a:lnTo>
                <a:lnTo>
                  <a:pt x="2250" y="859"/>
                </a:lnTo>
                <a:lnTo>
                  <a:pt x="2245" y="860"/>
                </a:lnTo>
                <a:lnTo>
                  <a:pt x="2242" y="861"/>
                </a:lnTo>
                <a:lnTo>
                  <a:pt x="2239" y="863"/>
                </a:lnTo>
                <a:lnTo>
                  <a:pt x="2237" y="866"/>
                </a:lnTo>
                <a:lnTo>
                  <a:pt x="2235" y="869"/>
                </a:lnTo>
                <a:lnTo>
                  <a:pt x="2231" y="877"/>
                </a:lnTo>
                <a:lnTo>
                  <a:pt x="2228" y="881"/>
                </a:lnTo>
                <a:lnTo>
                  <a:pt x="2224" y="883"/>
                </a:lnTo>
                <a:lnTo>
                  <a:pt x="2222" y="883"/>
                </a:lnTo>
                <a:lnTo>
                  <a:pt x="2218" y="883"/>
                </a:lnTo>
                <a:lnTo>
                  <a:pt x="2216" y="883"/>
                </a:lnTo>
                <a:lnTo>
                  <a:pt x="2214" y="884"/>
                </a:lnTo>
                <a:lnTo>
                  <a:pt x="2212" y="887"/>
                </a:lnTo>
                <a:lnTo>
                  <a:pt x="2211" y="889"/>
                </a:lnTo>
                <a:lnTo>
                  <a:pt x="2210" y="890"/>
                </a:lnTo>
                <a:lnTo>
                  <a:pt x="2208" y="891"/>
                </a:lnTo>
                <a:lnTo>
                  <a:pt x="2206" y="891"/>
                </a:lnTo>
                <a:lnTo>
                  <a:pt x="2201" y="891"/>
                </a:lnTo>
                <a:lnTo>
                  <a:pt x="2194" y="891"/>
                </a:lnTo>
                <a:lnTo>
                  <a:pt x="2189" y="891"/>
                </a:lnTo>
                <a:lnTo>
                  <a:pt x="2185" y="891"/>
                </a:lnTo>
                <a:lnTo>
                  <a:pt x="2183" y="892"/>
                </a:lnTo>
                <a:lnTo>
                  <a:pt x="2182" y="894"/>
                </a:lnTo>
                <a:lnTo>
                  <a:pt x="2181" y="897"/>
                </a:lnTo>
                <a:lnTo>
                  <a:pt x="2181" y="900"/>
                </a:lnTo>
                <a:lnTo>
                  <a:pt x="2181" y="905"/>
                </a:lnTo>
                <a:lnTo>
                  <a:pt x="2183" y="910"/>
                </a:lnTo>
                <a:lnTo>
                  <a:pt x="2186" y="913"/>
                </a:lnTo>
                <a:lnTo>
                  <a:pt x="2189" y="918"/>
                </a:lnTo>
                <a:lnTo>
                  <a:pt x="2193" y="922"/>
                </a:lnTo>
                <a:lnTo>
                  <a:pt x="2199" y="927"/>
                </a:lnTo>
                <a:lnTo>
                  <a:pt x="2203" y="932"/>
                </a:lnTo>
                <a:lnTo>
                  <a:pt x="2207" y="941"/>
                </a:lnTo>
                <a:lnTo>
                  <a:pt x="2210" y="948"/>
                </a:lnTo>
                <a:lnTo>
                  <a:pt x="2212" y="954"/>
                </a:lnTo>
                <a:lnTo>
                  <a:pt x="2212" y="958"/>
                </a:lnTo>
                <a:lnTo>
                  <a:pt x="2212" y="962"/>
                </a:lnTo>
                <a:lnTo>
                  <a:pt x="2213" y="965"/>
                </a:lnTo>
                <a:lnTo>
                  <a:pt x="2214" y="968"/>
                </a:lnTo>
                <a:lnTo>
                  <a:pt x="2216" y="972"/>
                </a:lnTo>
                <a:lnTo>
                  <a:pt x="2221" y="977"/>
                </a:lnTo>
                <a:lnTo>
                  <a:pt x="2226" y="984"/>
                </a:lnTo>
                <a:lnTo>
                  <a:pt x="2233" y="990"/>
                </a:lnTo>
                <a:lnTo>
                  <a:pt x="2240" y="995"/>
                </a:lnTo>
                <a:lnTo>
                  <a:pt x="2249" y="999"/>
                </a:lnTo>
                <a:lnTo>
                  <a:pt x="2258" y="1002"/>
                </a:lnTo>
                <a:lnTo>
                  <a:pt x="2270" y="1006"/>
                </a:lnTo>
                <a:lnTo>
                  <a:pt x="2282" y="1007"/>
                </a:lnTo>
                <a:lnTo>
                  <a:pt x="2296" y="1007"/>
                </a:lnTo>
                <a:lnTo>
                  <a:pt x="2303" y="1007"/>
                </a:lnTo>
                <a:lnTo>
                  <a:pt x="2311" y="1006"/>
                </a:lnTo>
                <a:lnTo>
                  <a:pt x="2317" y="1003"/>
                </a:lnTo>
                <a:lnTo>
                  <a:pt x="2323" y="1001"/>
                </a:lnTo>
                <a:lnTo>
                  <a:pt x="2336" y="996"/>
                </a:lnTo>
                <a:lnTo>
                  <a:pt x="2346" y="991"/>
                </a:lnTo>
                <a:lnTo>
                  <a:pt x="2356" y="986"/>
                </a:lnTo>
                <a:lnTo>
                  <a:pt x="2363" y="981"/>
                </a:lnTo>
                <a:lnTo>
                  <a:pt x="2367" y="980"/>
                </a:lnTo>
                <a:lnTo>
                  <a:pt x="2370" y="980"/>
                </a:lnTo>
                <a:lnTo>
                  <a:pt x="2374" y="980"/>
                </a:lnTo>
                <a:lnTo>
                  <a:pt x="2377" y="981"/>
                </a:lnTo>
                <a:lnTo>
                  <a:pt x="2390" y="988"/>
                </a:lnTo>
                <a:lnTo>
                  <a:pt x="2409" y="997"/>
                </a:lnTo>
                <a:lnTo>
                  <a:pt x="2419" y="1002"/>
                </a:lnTo>
                <a:lnTo>
                  <a:pt x="2428" y="1008"/>
                </a:lnTo>
                <a:lnTo>
                  <a:pt x="2437" y="1015"/>
                </a:lnTo>
                <a:lnTo>
                  <a:pt x="2446" y="1023"/>
                </a:lnTo>
                <a:lnTo>
                  <a:pt x="2454" y="1032"/>
                </a:lnTo>
                <a:lnTo>
                  <a:pt x="2462" y="1037"/>
                </a:lnTo>
                <a:lnTo>
                  <a:pt x="2468" y="1042"/>
                </a:lnTo>
                <a:lnTo>
                  <a:pt x="2475" y="1046"/>
                </a:lnTo>
                <a:lnTo>
                  <a:pt x="2480" y="1051"/>
                </a:lnTo>
                <a:lnTo>
                  <a:pt x="2484" y="1056"/>
                </a:lnTo>
                <a:lnTo>
                  <a:pt x="2486" y="1059"/>
                </a:lnTo>
                <a:lnTo>
                  <a:pt x="2487" y="1062"/>
                </a:lnTo>
                <a:lnTo>
                  <a:pt x="2487" y="1066"/>
                </a:lnTo>
                <a:lnTo>
                  <a:pt x="2487" y="1070"/>
                </a:lnTo>
                <a:lnTo>
                  <a:pt x="2487" y="1089"/>
                </a:lnTo>
                <a:lnTo>
                  <a:pt x="2489" y="1106"/>
                </a:lnTo>
                <a:lnTo>
                  <a:pt x="2491" y="1120"/>
                </a:lnTo>
                <a:lnTo>
                  <a:pt x="2494" y="1129"/>
                </a:lnTo>
                <a:lnTo>
                  <a:pt x="2498" y="1138"/>
                </a:lnTo>
                <a:lnTo>
                  <a:pt x="2503" y="1148"/>
                </a:lnTo>
                <a:lnTo>
                  <a:pt x="2509" y="1157"/>
                </a:lnTo>
                <a:lnTo>
                  <a:pt x="2511" y="1165"/>
                </a:lnTo>
                <a:lnTo>
                  <a:pt x="2515" y="1173"/>
                </a:lnTo>
                <a:lnTo>
                  <a:pt x="2521" y="1185"/>
                </a:lnTo>
                <a:lnTo>
                  <a:pt x="2524" y="1191"/>
                </a:lnTo>
                <a:lnTo>
                  <a:pt x="2525" y="1198"/>
                </a:lnTo>
                <a:lnTo>
                  <a:pt x="2525" y="1201"/>
                </a:lnTo>
                <a:lnTo>
                  <a:pt x="2525" y="1205"/>
                </a:lnTo>
                <a:lnTo>
                  <a:pt x="2524" y="1208"/>
                </a:lnTo>
                <a:lnTo>
                  <a:pt x="2522" y="1211"/>
                </a:lnTo>
                <a:lnTo>
                  <a:pt x="2519" y="1216"/>
                </a:lnTo>
                <a:lnTo>
                  <a:pt x="2519" y="1218"/>
                </a:lnTo>
                <a:lnTo>
                  <a:pt x="2520" y="1219"/>
                </a:lnTo>
                <a:lnTo>
                  <a:pt x="2523" y="1220"/>
                </a:lnTo>
                <a:lnTo>
                  <a:pt x="2529" y="1221"/>
                </a:lnTo>
                <a:lnTo>
                  <a:pt x="2534" y="1225"/>
                </a:lnTo>
                <a:lnTo>
                  <a:pt x="2537" y="1227"/>
                </a:lnTo>
                <a:lnTo>
                  <a:pt x="2539" y="1230"/>
                </a:lnTo>
                <a:lnTo>
                  <a:pt x="2542" y="1233"/>
                </a:lnTo>
                <a:lnTo>
                  <a:pt x="2545" y="1237"/>
                </a:lnTo>
                <a:lnTo>
                  <a:pt x="2551" y="1245"/>
                </a:lnTo>
                <a:lnTo>
                  <a:pt x="2555" y="1252"/>
                </a:lnTo>
                <a:lnTo>
                  <a:pt x="2559" y="1255"/>
                </a:lnTo>
                <a:lnTo>
                  <a:pt x="2562" y="1257"/>
                </a:lnTo>
                <a:lnTo>
                  <a:pt x="2563" y="1258"/>
                </a:lnTo>
                <a:lnTo>
                  <a:pt x="2564" y="1259"/>
                </a:lnTo>
                <a:lnTo>
                  <a:pt x="2563" y="1262"/>
                </a:lnTo>
                <a:lnTo>
                  <a:pt x="2561" y="1266"/>
                </a:lnTo>
                <a:lnTo>
                  <a:pt x="2555" y="1274"/>
                </a:lnTo>
                <a:lnTo>
                  <a:pt x="2550" y="1278"/>
                </a:lnTo>
                <a:lnTo>
                  <a:pt x="2547" y="1280"/>
                </a:lnTo>
                <a:lnTo>
                  <a:pt x="2547" y="1282"/>
                </a:lnTo>
                <a:lnTo>
                  <a:pt x="2549" y="1286"/>
                </a:lnTo>
                <a:lnTo>
                  <a:pt x="2551" y="1291"/>
                </a:lnTo>
                <a:lnTo>
                  <a:pt x="2554" y="1297"/>
                </a:lnTo>
                <a:lnTo>
                  <a:pt x="2555" y="1300"/>
                </a:lnTo>
                <a:lnTo>
                  <a:pt x="2554" y="1303"/>
                </a:lnTo>
                <a:lnTo>
                  <a:pt x="2551" y="1305"/>
                </a:lnTo>
                <a:lnTo>
                  <a:pt x="2544" y="1309"/>
                </a:lnTo>
                <a:lnTo>
                  <a:pt x="2539" y="1316"/>
                </a:lnTo>
                <a:lnTo>
                  <a:pt x="2535" y="1323"/>
                </a:lnTo>
                <a:lnTo>
                  <a:pt x="2532" y="1328"/>
                </a:lnTo>
                <a:lnTo>
                  <a:pt x="2532" y="1332"/>
                </a:lnTo>
                <a:lnTo>
                  <a:pt x="2532" y="1337"/>
                </a:lnTo>
                <a:lnTo>
                  <a:pt x="2533" y="1341"/>
                </a:lnTo>
                <a:lnTo>
                  <a:pt x="2535" y="1346"/>
                </a:lnTo>
                <a:lnTo>
                  <a:pt x="2536" y="1349"/>
                </a:lnTo>
                <a:lnTo>
                  <a:pt x="2538" y="1351"/>
                </a:lnTo>
                <a:lnTo>
                  <a:pt x="2539" y="1351"/>
                </a:lnTo>
                <a:lnTo>
                  <a:pt x="2542" y="1352"/>
                </a:lnTo>
                <a:lnTo>
                  <a:pt x="2546" y="1351"/>
                </a:lnTo>
                <a:lnTo>
                  <a:pt x="2553" y="1348"/>
                </a:lnTo>
                <a:lnTo>
                  <a:pt x="2565" y="1340"/>
                </a:lnTo>
                <a:lnTo>
                  <a:pt x="2578" y="1335"/>
                </a:lnTo>
                <a:lnTo>
                  <a:pt x="2590" y="1329"/>
                </a:lnTo>
                <a:lnTo>
                  <a:pt x="2603" y="1325"/>
                </a:lnTo>
                <a:lnTo>
                  <a:pt x="2605" y="1325"/>
                </a:lnTo>
                <a:lnTo>
                  <a:pt x="2608" y="1325"/>
                </a:lnTo>
                <a:lnTo>
                  <a:pt x="2610" y="1326"/>
                </a:lnTo>
                <a:lnTo>
                  <a:pt x="2612" y="1327"/>
                </a:lnTo>
                <a:lnTo>
                  <a:pt x="2613" y="1330"/>
                </a:lnTo>
                <a:lnTo>
                  <a:pt x="2616" y="1333"/>
                </a:lnTo>
                <a:lnTo>
                  <a:pt x="2617" y="1338"/>
                </a:lnTo>
                <a:lnTo>
                  <a:pt x="2617" y="1342"/>
                </a:lnTo>
                <a:lnTo>
                  <a:pt x="2618" y="1353"/>
                </a:lnTo>
                <a:lnTo>
                  <a:pt x="2620" y="1363"/>
                </a:lnTo>
                <a:lnTo>
                  <a:pt x="2623" y="1371"/>
                </a:lnTo>
                <a:lnTo>
                  <a:pt x="2626" y="1379"/>
                </a:lnTo>
                <a:lnTo>
                  <a:pt x="2628" y="1386"/>
                </a:lnTo>
                <a:lnTo>
                  <a:pt x="2631" y="1392"/>
                </a:lnTo>
                <a:lnTo>
                  <a:pt x="2632" y="1397"/>
                </a:lnTo>
                <a:lnTo>
                  <a:pt x="2633" y="1404"/>
                </a:lnTo>
                <a:lnTo>
                  <a:pt x="2632" y="1410"/>
                </a:lnTo>
                <a:lnTo>
                  <a:pt x="2631" y="1414"/>
                </a:lnTo>
                <a:lnTo>
                  <a:pt x="2629" y="1417"/>
                </a:lnTo>
                <a:lnTo>
                  <a:pt x="2625" y="1418"/>
                </a:lnTo>
                <a:lnTo>
                  <a:pt x="2620" y="1417"/>
                </a:lnTo>
                <a:lnTo>
                  <a:pt x="2615" y="1415"/>
                </a:lnTo>
                <a:lnTo>
                  <a:pt x="2607" y="1410"/>
                </a:lnTo>
                <a:lnTo>
                  <a:pt x="2599" y="1402"/>
                </a:lnTo>
                <a:lnTo>
                  <a:pt x="2594" y="1397"/>
                </a:lnTo>
                <a:lnTo>
                  <a:pt x="2589" y="1394"/>
                </a:lnTo>
                <a:lnTo>
                  <a:pt x="2585" y="1392"/>
                </a:lnTo>
                <a:lnTo>
                  <a:pt x="2581" y="1391"/>
                </a:lnTo>
                <a:lnTo>
                  <a:pt x="2578" y="1390"/>
                </a:lnTo>
                <a:lnTo>
                  <a:pt x="2575" y="1390"/>
                </a:lnTo>
                <a:lnTo>
                  <a:pt x="2571" y="1390"/>
                </a:lnTo>
                <a:lnTo>
                  <a:pt x="2567" y="1391"/>
                </a:lnTo>
                <a:lnTo>
                  <a:pt x="2562" y="1394"/>
                </a:lnTo>
                <a:lnTo>
                  <a:pt x="2558" y="1397"/>
                </a:lnTo>
                <a:lnTo>
                  <a:pt x="2554" y="1402"/>
                </a:lnTo>
                <a:lnTo>
                  <a:pt x="2551" y="1406"/>
                </a:lnTo>
                <a:lnTo>
                  <a:pt x="2551" y="1408"/>
                </a:lnTo>
                <a:lnTo>
                  <a:pt x="2551" y="1410"/>
                </a:lnTo>
                <a:lnTo>
                  <a:pt x="2552" y="1411"/>
                </a:lnTo>
                <a:lnTo>
                  <a:pt x="2554" y="1412"/>
                </a:lnTo>
                <a:lnTo>
                  <a:pt x="2560" y="1415"/>
                </a:lnTo>
                <a:lnTo>
                  <a:pt x="2566" y="1417"/>
                </a:lnTo>
                <a:lnTo>
                  <a:pt x="2574" y="1420"/>
                </a:lnTo>
                <a:lnTo>
                  <a:pt x="2581" y="1424"/>
                </a:lnTo>
                <a:lnTo>
                  <a:pt x="2583" y="1425"/>
                </a:lnTo>
                <a:lnTo>
                  <a:pt x="2585" y="1427"/>
                </a:lnTo>
                <a:lnTo>
                  <a:pt x="2587" y="1429"/>
                </a:lnTo>
                <a:lnTo>
                  <a:pt x="2588" y="1431"/>
                </a:lnTo>
                <a:lnTo>
                  <a:pt x="2588" y="1433"/>
                </a:lnTo>
                <a:lnTo>
                  <a:pt x="2587" y="1434"/>
                </a:lnTo>
                <a:lnTo>
                  <a:pt x="2585" y="1435"/>
                </a:lnTo>
                <a:lnTo>
                  <a:pt x="2582" y="1436"/>
                </a:lnTo>
                <a:lnTo>
                  <a:pt x="2576" y="1437"/>
                </a:lnTo>
                <a:lnTo>
                  <a:pt x="2567" y="1437"/>
                </a:lnTo>
                <a:lnTo>
                  <a:pt x="2560" y="1437"/>
                </a:lnTo>
                <a:lnTo>
                  <a:pt x="2553" y="1438"/>
                </a:lnTo>
                <a:lnTo>
                  <a:pt x="2551" y="1439"/>
                </a:lnTo>
                <a:lnTo>
                  <a:pt x="2549" y="1440"/>
                </a:lnTo>
                <a:lnTo>
                  <a:pt x="2547" y="1442"/>
                </a:lnTo>
                <a:lnTo>
                  <a:pt x="2547" y="1446"/>
                </a:lnTo>
                <a:lnTo>
                  <a:pt x="2550" y="1452"/>
                </a:lnTo>
                <a:lnTo>
                  <a:pt x="2554" y="1461"/>
                </a:lnTo>
                <a:lnTo>
                  <a:pt x="2560" y="1472"/>
                </a:lnTo>
                <a:lnTo>
                  <a:pt x="2567" y="1482"/>
                </a:lnTo>
                <a:lnTo>
                  <a:pt x="2580" y="1501"/>
                </a:lnTo>
                <a:lnTo>
                  <a:pt x="2586" y="1508"/>
                </a:lnTo>
                <a:lnTo>
                  <a:pt x="2615" y="1465"/>
                </a:lnTo>
                <a:lnTo>
                  <a:pt x="2611" y="1459"/>
                </a:lnTo>
                <a:lnTo>
                  <a:pt x="2606" y="1447"/>
                </a:lnTo>
                <a:lnTo>
                  <a:pt x="2605" y="1441"/>
                </a:lnTo>
                <a:lnTo>
                  <a:pt x="2605" y="1436"/>
                </a:lnTo>
                <a:lnTo>
                  <a:pt x="2606" y="1435"/>
                </a:lnTo>
                <a:lnTo>
                  <a:pt x="2608" y="1434"/>
                </a:lnTo>
                <a:lnTo>
                  <a:pt x="2611" y="1434"/>
                </a:lnTo>
                <a:lnTo>
                  <a:pt x="2615" y="1435"/>
                </a:lnTo>
                <a:lnTo>
                  <a:pt x="2628" y="1439"/>
                </a:lnTo>
                <a:lnTo>
                  <a:pt x="2637" y="1443"/>
                </a:lnTo>
                <a:lnTo>
                  <a:pt x="2639" y="1446"/>
                </a:lnTo>
                <a:lnTo>
                  <a:pt x="2641" y="1448"/>
                </a:lnTo>
                <a:lnTo>
                  <a:pt x="2642" y="1452"/>
                </a:lnTo>
                <a:lnTo>
                  <a:pt x="2642" y="1457"/>
                </a:lnTo>
                <a:lnTo>
                  <a:pt x="2641" y="1463"/>
                </a:lnTo>
                <a:lnTo>
                  <a:pt x="2640" y="1469"/>
                </a:lnTo>
                <a:lnTo>
                  <a:pt x="2637" y="1473"/>
                </a:lnTo>
                <a:lnTo>
                  <a:pt x="2634" y="1478"/>
                </a:lnTo>
                <a:lnTo>
                  <a:pt x="2631" y="1482"/>
                </a:lnTo>
                <a:lnTo>
                  <a:pt x="2629" y="1489"/>
                </a:lnTo>
                <a:lnTo>
                  <a:pt x="2628" y="1495"/>
                </a:lnTo>
                <a:lnTo>
                  <a:pt x="2627" y="1502"/>
                </a:lnTo>
                <a:lnTo>
                  <a:pt x="2626" y="1511"/>
                </a:lnTo>
                <a:lnTo>
                  <a:pt x="2625" y="1518"/>
                </a:lnTo>
                <a:lnTo>
                  <a:pt x="2622" y="1525"/>
                </a:lnTo>
                <a:lnTo>
                  <a:pt x="2618" y="1531"/>
                </a:lnTo>
                <a:lnTo>
                  <a:pt x="2613" y="1537"/>
                </a:lnTo>
                <a:lnTo>
                  <a:pt x="2608" y="1542"/>
                </a:lnTo>
                <a:lnTo>
                  <a:pt x="2602" y="1547"/>
                </a:lnTo>
                <a:lnTo>
                  <a:pt x="2597" y="1551"/>
                </a:lnTo>
                <a:lnTo>
                  <a:pt x="2590" y="1558"/>
                </a:lnTo>
                <a:lnTo>
                  <a:pt x="2586" y="1564"/>
                </a:lnTo>
                <a:lnTo>
                  <a:pt x="2582" y="1571"/>
                </a:lnTo>
                <a:lnTo>
                  <a:pt x="2578" y="1579"/>
                </a:lnTo>
                <a:lnTo>
                  <a:pt x="2574" y="1593"/>
                </a:lnTo>
                <a:lnTo>
                  <a:pt x="2569" y="1605"/>
                </a:lnTo>
                <a:lnTo>
                  <a:pt x="2569" y="1611"/>
                </a:lnTo>
                <a:lnTo>
                  <a:pt x="2572" y="1621"/>
                </a:lnTo>
                <a:lnTo>
                  <a:pt x="2575" y="1631"/>
                </a:lnTo>
                <a:lnTo>
                  <a:pt x="2578" y="1643"/>
                </a:lnTo>
                <a:lnTo>
                  <a:pt x="2586" y="1665"/>
                </a:lnTo>
                <a:lnTo>
                  <a:pt x="2590" y="1679"/>
                </a:lnTo>
                <a:lnTo>
                  <a:pt x="2591" y="1684"/>
                </a:lnTo>
                <a:lnTo>
                  <a:pt x="2595" y="1692"/>
                </a:lnTo>
                <a:lnTo>
                  <a:pt x="2600" y="1699"/>
                </a:lnTo>
                <a:lnTo>
                  <a:pt x="2605" y="1706"/>
                </a:lnTo>
                <a:lnTo>
                  <a:pt x="2618" y="1722"/>
                </a:lnTo>
                <a:lnTo>
                  <a:pt x="2627" y="1733"/>
                </a:lnTo>
                <a:lnTo>
                  <a:pt x="2640" y="1740"/>
                </a:lnTo>
                <a:lnTo>
                  <a:pt x="2657" y="1748"/>
                </a:lnTo>
                <a:lnTo>
                  <a:pt x="2661" y="1749"/>
                </a:lnTo>
                <a:lnTo>
                  <a:pt x="2664" y="1752"/>
                </a:lnTo>
                <a:lnTo>
                  <a:pt x="2666" y="1754"/>
                </a:lnTo>
                <a:lnTo>
                  <a:pt x="2667" y="1756"/>
                </a:lnTo>
                <a:lnTo>
                  <a:pt x="2666" y="1758"/>
                </a:lnTo>
                <a:lnTo>
                  <a:pt x="2664" y="1760"/>
                </a:lnTo>
                <a:lnTo>
                  <a:pt x="2660" y="1762"/>
                </a:lnTo>
                <a:lnTo>
                  <a:pt x="2654" y="1763"/>
                </a:lnTo>
                <a:lnTo>
                  <a:pt x="2642" y="1767"/>
                </a:lnTo>
                <a:lnTo>
                  <a:pt x="2632" y="1770"/>
                </a:lnTo>
                <a:lnTo>
                  <a:pt x="2625" y="1775"/>
                </a:lnTo>
                <a:lnTo>
                  <a:pt x="2621" y="1778"/>
                </a:lnTo>
                <a:lnTo>
                  <a:pt x="2619" y="1782"/>
                </a:lnTo>
                <a:lnTo>
                  <a:pt x="2619" y="1786"/>
                </a:lnTo>
                <a:lnTo>
                  <a:pt x="2620" y="1792"/>
                </a:lnTo>
                <a:lnTo>
                  <a:pt x="2623" y="1799"/>
                </a:lnTo>
                <a:lnTo>
                  <a:pt x="2642" y="1822"/>
                </a:lnTo>
                <a:lnTo>
                  <a:pt x="2671" y="1857"/>
                </a:lnTo>
                <a:lnTo>
                  <a:pt x="2686" y="1876"/>
                </a:lnTo>
                <a:lnTo>
                  <a:pt x="2698" y="1893"/>
                </a:lnTo>
                <a:lnTo>
                  <a:pt x="2703" y="1901"/>
                </a:lnTo>
                <a:lnTo>
                  <a:pt x="2707" y="1908"/>
                </a:lnTo>
                <a:lnTo>
                  <a:pt x="2708" y="1914"/>
                </a:lnTo>
                <a:lnTo>
                  <a:pt x="2708" y="1918"/>
                </a:lnTo>
                <a:lnTo>
                  <a:pt x="2706" y="1924"/>
                </a:lnTo>
                <a:lnTo>
                  <a:pt x="2704" y="1929"/>
                </a:lnTo>
                <a:lnTo>
                  <a:pt x="2699" y="1931"/>
                </a:lnTo>
                <a:lnTo>
                  <a:pt x="2696" y="1932"/>
                </a:lnTo>
                <a:lnTo>
                  <a:pt x="2694" y="1933"/>
                </a:lnTo>
                <a:lnTo>
                  <a:pt x="2692" y="1934"/>
                </a:lnTo>
                <a:lnTo>
                  <a:pt x="2691" y="1936"/>
                </a:lnTo>
                <a:lnTo>
                  <a:pt x="2692" y="1940"/>
                </a:lnTo>
                <a:lnTo>
                  <a:pt x="2693" y="1942"/>
                </a:lnTo>
                <a:lnTo>
                  <a:pt x="2695" y="1944"/>
                </a:lnTo>
                <a:lnTo>
                  <a:pt x="2697" y="1945"/>
                </a:lnTo>
                <a:lnTo>
                  <a:pt x="2700" y="1945"/>
                </a:lnTo>
                <a:lnTo>
                  <a:pt x="2707" y="1944"/>
                </a:lnTo>
                <a:lnTo>
                  <a:pt x="2713" y="1943"/>
                </a:lnTo>
                <a:lnTo>
                  <a:pt x="2720" y="1941"/>
                </a:lnTo>
                <a:lnTo>
                  <a:pt x="2727" y="1940"/>
                </a:lnTo>
                <a:lnTo>
                  <a:pt x="2729" y="1940"/>
                </a:lnTo>
                <a:lnTo>
                  <a:pt x="2732" y="1941"/>
                </a:lnTo>
                <a:lnTo>
                  <a:pt x="2733" y="1942"/>
                </a:lnTo>
                <a:lnTo>
                  <a:pt x="2735" y="1944"/>
                </a:lnTo>
                <a:lnTo>
                  <a:pt x="2737" y="1947"/>
                </a:lnTo>
                <a:lnTo>
                  <a:pt x="2740" y="1948"/>
                </a:lnTo>
                <a:lnTo>
                  <a:pt x="2742" y="1950"/>
                </a:lnTo>
                <a:lnTo>
                  <a:pt x="2746" y="1948"/>
                </a:lnTo>
                <a:lnTo>
                  <a:pt x="2749" y="1948"/>
                </a:lnTo>
                <a:lnTo>
                  <a:pt x="2752" y="1950"/>
                </a:lnTo>
                <a:lnTo>
                  <a:pt x="2754" y="1953"/>
                </a:lnTo>
                <a:lnTo>
                  <a:pt x="2756" y="1957"/>
                </a:lnTo>
                <a:lnTo>
                  <a:pt x="2761" y="1969"/>
                </a:lnTo>
                <a:lnTo>
                  <a:pt x="2768" y="1980"/>
                </a:lnTo>
                <a:lnTo>
                  <a:pt x="2773" y="1987"/>
                </a:lnTo>
                <a:lnTo>
                  <a:pt x="2775" y="1990"/>
                </a:lnTo>
                <a:lnTo>
                  <a:pt x="2780" y="1988"/>
                </a:lnTo>
                <a:lnTo>
                  <a:pt x="2785" y="1985"/>
                </a:lnTo>
                <a:close/>
                <a:moveTo>
                  <a:pt x="4946" y="1406"/>
                </a:moveTo>
                <a:lnTo>
                  <a:pt x="4943" y="1405"/>
                </a:lnTo>
                <a:lnTo>
                  <a:pt x="4941" y="1402"/>
                </a:lnTo>
                <a:lnTo>
                  <a:pt x="4939" y="1399"/>
                </a:lnTo>
                <a:lnTo>
                  <a:pt x="4937" y="1396"/>
                </a:lnTo>
                <a:lnTo>
                  <a:pt x="4935" y="1389"/>
                </a:lnTo>
                <a:lnTo>
                  <a:pt x="4934" y="1381"/>
                </a:lnTo>
                <a:lnTo>
                  <a:pt x="4932" y="1372"/>
                </a:lnTo>
                <a:lnTo>
                  <a:pt x="4930" y="1365"/>
                </a:lnTo>
                <a:lnTo>
                  <a:pt x="4927" y="1358"/>
                </a:lnTo>
                <a:lnTo>
                  <a:pt x="4922" y="1351"/>
                </a:lnTo>
                <a:lnTo>
                  <a:pt x="4907" y="1342"/>
                </a:lnTo>
                <a:lnTo>
                  <a:pt x="4889" y="1331"/>
                </a:lnTo>
                <a:lnTo>
                  <a:pt x="4883" y="1327"/>
                </a:lnTo>
                <a:lnTo>
                  <a:pt x="4878" y="1323"/>
                </a:lnTo>
                <a:lnTo>
                  <a:pt x="4876" y="1321"/>
                </a:lnTo>
                <a:lnTo>
                  <a:pt x="4876" y="1319"/>
                </a:lnTo>
                <a:lnTo>
                  <a:pt x="4876" y="1318"/>
                </a:lnTo>
                <a:lnTo>
                  <a:pt x="4877" y="1316"/>
                </a:lnTo>
                <a:lnTo>
                  <a:pt x="4886" y="1308"/>
                </a:lnTo>
                <a:lnTo>
                  <a:pt x="4899" y="1299"/>
                </a:lnTo>
                <a:lnTo>
                  <a:pt x="4904" y="1294"/>
                </a:lnTo>
                <a:lnTo>
                  <a:pt x="4908" y="1288"/>
                </a:lnTo>
                <a:lnTo>
                  <a:pt x="4912" y="1283"/>
                </a:lnTo>
                <a:lnTo>
                  <a:pt x="4913" y="1278"/>
                </a:lnTo>
                <a:lnTo>
                  <a:pt x="4915" y="1265"/>
                </a:lnTo>
                <a:lnTo>
                  <a:pt x="4917" y="1251"/>
                </a:lnTo>
                <a:lnTo>
                  <a:pt x="4920" y="1243"/>
                </a:lnTo>
                <a:lnTo>
                  <a:pt x="4922" y="1237"/>
                </a:lnTo>
                <a:lnTo>
                  <a:pt x="4924" y="1232"/>
                </a:lnTo>
                <a:lnTo>
                  <a:pt x="4928" y="1229"/>
                </a:lnTo>
                <a:lnTo>
                  <a:pt x="4937" y="1223"/>
                </a:lnTo>
                <a:lnTo>
                  <a:pt x="4946" y="1217"/>
                </a:lnTo>
                <a:lnTo>
                  <a:pt x="4949" y="1214"/>
                </a:lnTo>
                <a:lnTo>
                  <a:pt x="4951" y="1211"/>
                </a:lnTo>
                <a:lnTo>
                  <a:pt x="4951" y="1208"/>
                </a:lnTo>
                <a:lnTo>
                  <a:pt x="4950" y="1204"/>
                </a:lnTo>
                <a:lnTo>
                  <a:pt x="4943" y="1194"/>
                </a:lnTo>
                <a:lnTo>
                  <a:pt x="4936" y="1180"/>
                </a:lnTo>
                <a:lnTo>
                  <a:pt x="4934" y="1174"/>
                </a:lnTo>
                <a:lnTo>
                  <a:pt x="4933" y="1169"/>
                </a:lnTo>
                <a:lnTo>
                  <a:pt x="4933" y="1167"/>
                </a:lnTo>
                <a:lnTo>
                  <a:pt x="4933" y="1166"/>
                </a:lnTo>
                <a:lnTo>
                  <a:pt x="4934" y="1165"/>
                </a:lnTo>
                <a:lnTo>
                  <a:pt x="4935" y="1164"/>
                </a:lnTo>
                <a:lnTo>
                  <a:pt x="4938" y="1163"/>
                </a:lnTo>
                <a:lnTo>
                  <a:pt x="4944" y="1161"/>
                </a:lnTo>
                <a:lnTo>
                  <a:pt x="4950" y="1156"/>
                </a:lnTo>
                <a:lnTo>
                  <a:pt x="4956" y="1152"/>
                </a:lnTo>
                <a:lnTo>
                  <a:pt x="4963" y="1147"/>
                </a:lnTo>
                <a:lnTo>
                  <a:pt x="4968" y="1142"/>
                </a:lnTo>
                <a:lnTo>
                  <a:pt x="4971" y="1136"/>
                </a:lnTo>
                <a:lnTo>
                  <a:pt x="4973" y="1132"/>
                </a:lnTo>
                <a:lnTo>
                  <a:pt x="4974" y="1119"/>
                </a:lnTo>
                <a:lnTo>
                  <a:pt x="4974" y="1099"/>
                </a:lnTo>
                <a:lnTo>
                  <a:pt x="4974" y="1089"/>
                </a:lnTo>
                <a:lnTo>
                  <a:pt x="4975" y="1081"/>
                </a:lnTo>
                <a:lnTo>
                  <a:pt x="4977" y="1074"/>
                </a:lnTo>
                <a:lnTo>
                  <a:pt x="4979" y="1070"/>
                </a:lnTo>
                <a:lnTo>
                  <a:pt x="5003" y="1055"/>
                </a:lnTo>
                <a:lnTo>
                  <a:pt x="5048" y="1024"/>
                </a:lnTo>
                <a:lnTo>
                  <a:pt x="5091" y="994"/>
                </a:lnTo>
                <a:lnTo>
                  <a:pt x="5110" y="980"/>
                </a:lnTo>
                <a:lnTo>
                  <a:pt x="5119" y="978"/>
                </a:lnTo>
                <a:lnTo>
                  <a:pt x="5136" y="972"/>
                </a:lnTo>
                <a:lnTo>
                  <a:pt x="5147" y="968"/>
                </a:lnTo>
                <a:lnTo>
                  <a:pt x="5157" y="963"/>
                </a:lnTo>
                <a:lnTo>
                  <a:pt x="5166" y="957"/>
                </a:lnTo>
                <a:lnTo>
                  <a:pt x="5172" y="952"/>
                </a:lnTo>
                <a:lnTo>
                  <a:pt x="5179" y="946"/>
                </a:lnTo>
                <a:lnTo>
                  <a:pt x="5193" y="937"/>
                </a:lnTo>
                <a:lnTo>
                  <a:pt x="5209" y="928"/>
                </a:lnTo>
                <a:lnTo>
                  <a:pt x="5226" y="920"/>
                </a:lnTo>
                <a:lnTo>
                  <a:pt x="5242" y="912"/>
                </a:lnTo>
                <a:lnTo>
                  <a:pt x="5257" y="908"/>
                </a:lnTo>
                <a:lnTo>
                  <a:pt x="5262" y="906"/>
                </a:lnTo>
                <a:lnTo>
                  <a:pt x="5267" y="906"/>
                </a:lnTo>
                <a:lnTo>
                  <a:pt x="5270" y="907"/>
                </a:lnTo>
                <a:lnTo>
                  <a:pt x="5271" y="909"/>
                </a:lnTo>
                <a:lnTo>
                  <a:pt x="5271" y="921"/>
                </a:lnTo>
                <a:lnTo>
                  <a:pt x="5270" y="933"/>
                </a:lnTo>
                <a:lnTo>
                  <a:pt x="5268" y="946"/>
                </a:lnTo>
                <a:lnTo>
                  <a:pt x="5264" y="956"/>
                </a:lnTo>
                <a:lnTo>
                  <a:pt x="5255" y="966"/>
                </a:lnTo>
                <a:lnTo>
                  <a:pt x="5232" y="985"/>
                </a:lnTo>
                <a:lnTo>
                  <a:pt x="5200" y="1010"/>
                </a:lnTo>
                <a:lnTo>
                  <a:pt x="5165" y="1037"/>
                </a:lnTo>
                <a:lnTo>
                  <a:pt x="5128" y="1065"/>
                </a:lnTo>
                <a:lnTo>
                  <a:pt x="5095" y="1090"/>
                </a:lnTo>
                <a:lnTo>
                  <a:pt x="5069" y="1110"/>
                </a:lnTo>
                <a:lnTo>
                  <a:pt x="5055" y="1123"/>
                </a:lnTo>
                <a:lnTo>
                  <a:pt x="5042" y="1136"/>
                </a:lnTo>
                <a:lnTo>
                  <a:pt x="5031" y="1151"/>
                </a:lnTo>
                <a:lnTo>
                  <a:pt x="5025" y="1160"/>
                </a:lnTo>
                <a:lnTo>
                  <a:pt x="5022" y="1167"/>
                </a:lnTo>
                <a:lnTo>
                  <a:pt x="5019" y="1174"/>
                </a:lnTo>
                <a:lnTo>
                  <a:pt x="5018" y="1183"/>
                </a:lnTo>
                <a:lnTo>
                  <a:pt x="5016" y="1190"/>
                </a:lnTo>
                <a:lnTo>
                  <a:pt x="5012" y="1197"/>
                </a:lnTo>
                <a:lnTo>
                  <a:pt x="5008" y="1206"/>
                </a:lnTo>
                <a:lnTo>
                  <a:pt x="5001" y="1213"/>
                </a:lnTo>
                <a:lnTo>
                  <a:pt x="4995" y="1220"/>
                </a:lnTo>
                <a:lnTo>
                  <a:pt x="4990" y="1228"/>
                </a:lnTo>
                <a:lnTo>
                  <a:pt x="4986" y="1234"/>
                </a:lnTo>
                <a:lnTo>
                  <a:pt x="4984" y="1239"/>
                </a:lnTo>
                <a:lnTo>
                  <a:pt x="4978" y="1253"/>
                </a:lnTo>
                <a:lnTo>
                  <a:pt x="4970" y="1270"/>
                </a:lnTo>
                <a:lnTo>
                  <a:pt x="4967" y="1280"/>
                </a:lnTo>
                <a:lnTo>
                  <a:pt x="4964" y="1292"/>
                </a:lnTo>
                <a:lnTo>
                  <a:pt x="4961" y="1304"/>
                </a:lnTo>
                <a:lnTo>
                  <a:pt x="4960" y="1318"/>
                </a:lnTo>
                <a:lnTo>
                  <a:pt x="4961" y="1325"/>
                </a:lnTo>
                <a:lnTo>
                  <a:pt x="4965" y="1331"/>
                </a:lnTo>
                <a:lnTo>
                  <a:pt x="4968" y="1339"/>
                </a:lnTo>
                <a:lnTo>
                  <a:pt x="4973" y="1345"/>
                </a:lnTo>
                <a:lnTo>
                  <a:pt x="4986" y="1357"/>
                </a:lnTo>
                <a:lnTo>
                  <a:pt x="4999" y="1367"/>
                </a:lnTo>
                <a:lnTo>
                  <a:pt x="5006" y="1372"/>
                </a:lnTo>
                <a:lnTo>
                  <a:pt x="5012" y="1377"/>
                </a:lnTo>
                <a:lnTo>
                  <a:pt x="5016" y="1382"/>
                </a:lnTo>
                <a:lnTo>
                  <a:pt x="5019" y="1387"/>
                </a:lnTo>
                <a:lnTo>
                  <a:pt x="5021" y="1391"/>
                </a:lnTo>
                <a:lnTo>
                  <a:pt x="5021" y="1395"/>
                </a:lnTo>
                <a:lnTo>
                  <a:pt x="5019" y="1399"/>
                </a:lnTo>
                <a:lnTo>
                  <a:pt x="5014" y="1404"/>
                </a:lnTo>
                <a:lnTo>
                  <a:pt x="5008" y="1408"/>
                </a:lnTo>
                <a:lnTo>
                  <a:pt x="5001" y="1411"/>
                </a:lnTo>
                <a:lnTo>
                  <a:pt x="4995" y="1412"/>
                </a:lnTo>
                <a:lnTo>
                  <a:pt x="4990" y="1414"/>
                </a:lnTo>
                <a:lnTo>
                  <a:pt x="4978" y="1414"/>
                </a:lnTo>
                <a:lnTo>
                  <a:pt x="4968" y="1413"/>
                </a:lnTo>
                <a:lnTo>
                  <a:pt x="4952" y="1409"/>
                </a:lnTo>
                <a:lnTo>
                  <a:pt x="4946" y="1406"/>
                </a:lnTo>
                <a:close/>
                <a:moveTo>
                  <a:pt x="4805" y="1486"/>
                </a:moveTo>
                <a:lnTo>
                  <a:pt x="4806" y="1495"/>
                </a:lnTo>
                <a:lnTo>
                  <a:pt x="4809" y="1503"/>
                </a:lnTo>
                <a:lnTo>
                  <a:pt x="4812" y="1509"/>
                </a:lnTo>
                <a:lnTo>
                  <a:pt x="4816" y="1515"/>
                </a:lnTo>
                <a:lnTo>
                  <a:pt x="4820" y="1520"/>
                </a:lnTo>
                <a:lnTo>
                  <a:pt x="4824" y="1523"/>
                </a:lnTo>
                <a:lnTo>
                  <a:pt x="4828" y="1525"/>
                </a:lnTo>
                <a:lnTo>
                  <a:pt x="4832" y="1526"/>
                </a:lnTo>
                <a:lnTo>
                  <a:pt x="4836" y="1526"/>
                </a:lnTo>
                <a:lnTo>
                  <a:pt x="4840" y="1524"/>
                </a:lnTo>
                <a:lnTo>
                  <a:pt x="4846" y="1522"/>
                </a:lnTo>
                <a:lnTo>
                  <a:pt x="4853" y="1518"/>
                </a:lnTo>
                <a:lnTo>
                  <a:pt x="4857" y="1514"/>
                </a:lnTo>
                <a:lnTo>
                  <a:pt x="4861" y="1508"/>
                </a:lnTo>
                <a:lnTo>
                  <a:pt x="4862" y="1506"/>
                </a:lnTo>
                <a:lnTo>
                  <a:pt x="4862" y="1503"/>
                </a:lnTo>
                <a:lnTo>
                  <a:pt x="4862" y="1500"/>
                </a:lnTo>
                <a:lnTo>
                  <a:pt x="4860" y="1497"/>
                </a:lnTo>
                <a:lnTo>
                  <a:pt x="4857" y="1492"/>
                </a:lnTo>
                <a:lnTo>
                  <a:pt x="4853" y="1486"/>
                </a:lnTo>
                <a:lnTo>
                  <a:pt x="4847" y="1481"/>
                </a:lnTo>
                <a:lnTo>
                  <a:pt x="4842" y="1477"/>
                </a:lnTo>
                <a:lnTo>
                  <a:pt x="4838" y="1474"/>
                </a:lnTo>
                <a:lnTo>
                  <a:pt x="4833" y="1473"/>
                </a:lnTo>
                <a:lnTo>
                  <a:pt x="4829" y="1472"/>
                </a:lnTo>
                <a:lnTo>
                  <a:pt x="4826" y="1473"/>
                </a:lnTo>
                <a:lnTo>
                  <a:pt x="4814" y="1481"/>
                </a:lnTo>
                <a:lnTo>
                  <a:pt x="4805" y="1486"/>
                </a:lnTo>
                <a:close/>
                <a:moveTo>
                  <a:pt x="3232" y="1752"/>
                </a:moveTo>
                <a:lnTo>
                  <a:pt x="3237" y="1754"/>
                </a:lnTo>
                <a:lnTo>
                  <a:pt x="3244" y="1755"/>
                </a:lnTo>
                <a:lnTo>
                  <a:pt x="3251" y="1756"/>
                </a:lnTo>
                <a:lnTo>
                  <a:pt x="3257" y="1756"/>
                </a:lnTo>
                <a:lnTo>
                  <a:pt x="3262" y="1757"/>
                </a:lnTo>
                <a:lnTo>
                  <a:pt x="3265" y="1759"/>
                </a:lnTo>
                <a:lnTo>
                  <a:pt x="3266" y="1760"/>
                </a:lnTo>
                <a:lnTo>
                  <a:pt x="3267" y="1761"/>
                </a:lnTo>
                <a:lnTo>
                  <a:pt x="3266" y="1763"/>
                </a:lnTo>
                <a:lnTo>
                  <a:pt x="3265" y="1766"/>
                </a:lnTo>
                <a:lnTo>
                  <a:pt x="3260" y="1776"/>
                </a:lnTo>
                <a:lnTo>
                  <a:pt x="3256" y="1782"/>
                </a:lnTo>
                <a:lnTo>
                  <a:pt x="3255" y="1784"/>
                </a:lnTo>
                <a:lnTo>
                  <a:pt x="3255" y="1786"/>
                </a:lnTo>
                <a:lnTo>
                  <a:pt x="3255" y="1789"/>
                </a:lnTo>
                <a:lnTo>
                  <a:pt x="3257" y="1791"/>
                </a:lnTo>
                <a:lnTo>
                  <a:pt x="3259" y="1794"/>
                </a:lnTo>
                <a:lnTo>
                  <a:pt x="3263" y="1796"/>
                </a:lnTo>
                <a:lnTo>
                  <a:pt x="3268" y="1796"/>
                </a:lnTo>
                <a:lnTo>
                  <a:pt x="3275" y="1796"/>
                </a:lnTo>
                <a:lnTo>
                  <a:pt x="3280" y="1796"/>
                </a:lnTo>
                <a:lnTo>
                  <a:pt x="3285" y="1797"/>
                </a:lnTo>
                <a:lnTo>
                  <a:pt x="3287" y="1797"/>
                </a:lnTo>
                <a:lnTo>
                  <a:pt x="3289" y="1798"/>
                </a:lnTo>
                <a:lnTo>
                  <a:pt x="3290" y="1799"/>
                </a:lnTo>
                <a:lnTo>
                  <a:pt x="3291" y="1801"/>
                </a:lnTo>
                <a:lnTo>
                  <a:pt x="3292" y="1803"/>
                </a:lnTo>
                <a:lnTo>
                  <a:pt x="3296" y="1804"/>
                </a:lnTo>
                <a:lnTo>
                  <a:pt x="3300" y="1805"/>
                </a:lnTo>
                <a:lnTo>
                  <a:pt x="3304" y="1806"/>
                </a:lnTo>
                <a:lnTo>
                  <a:pt x="3317" y="1807"/>
                </a:lnTo>
                <a:lnTo>
                  <a:pt x="3330" y="1807"/>
                </a:lnTo>
                <a:lnTo>
                  <a:pt x="3355" y="1807"/>
                </a:lnTo>
                <a:lnTo>
                  <a:pt x="3367" y="1806"/>
                </a:lnTo>
                <a:lnTo>
                  <a:pt x="3377" y="1800"/>
                </a:lnTo>
                <a:lnTo>
                  <a:pt x="3399" y="1784"/>
                </a:lnTo>
                <a:lnTo>
                  <a:pt x="3412" y="1775"/>
                </a:lnTo>
                <a:lnTo>
                  <a:pt x="3423" y="1766"/>
                </a:lnTo>
                <a:lnTo>
                  <a:pt x="3433" y="1758"/>
                </a:lnTo>
                <a:lnTo>
                  <a:pt x="3439" y="1752"/>
                </a:lnTo>
                <a:lnTo>
                  <a:pt x="3447" y="1741"/>
                </a:lnTo>
                <a:lnTo>
                  <a:pt x="3456" y="1730"/>
                </a:lnTo>
                <a:lnTo>
                  <a:pt x="3458" y="1726"/>
                </a:lnTo>
                <a:lnTo>
                  <a:pt x="3458" y="1723"/>
                </a:lnTo>
                <a:lnTo>
                  <a:pt x="3459" y="1720"/>
                </a:lnTo>
                <a:lnTo>
                  <a:pt x="3459" y="1717"/>
                </a:lnTo>
                <a:lnTo>
                  <a:pt x="3458" y="1713"/>
                </a:lnTo>
                <a:lnTo>
                  <a:pt x="3456" y="1709"/>
                </a:lnTo>
                <a:lnTo>
                  <a:pt x="3454" y="1704"/>
                </a:lnTo>
                <a:lnTo>
                  <a:pt x="3451" y="1700"/>
                </a:lnTo>
                <a:lnTo>
                  <a:pt x="3434" y="1682"/>
                </a:lnTo>
                <a:lnTo>
                  <a:pt x="3419" y="1667"/>
                </a:lnTo>
                <a:lnTo>
                  <a:pt x="3411" y="1660"/>
                </a:lnTo>
                <a:lnTo>
                  <a:pt x="3403" y="1656"/>
                </a:lnTo>
                <a:lnTo>
                  <a:pt x="3400" y="1655"/>
                </a:lnTo>
                <a:lnTo>
                  <a:pt x="3396" y="1655"/>
                </a:lnTo>
                <a:lnTo>
                  <a:pt x="3393" y="1656"/>
                </a:lnTo>
                <a:lnTo>
                  <a:pt x="3390" y="1657"/>
                </a:lnTo>
                <a:lnTo>
                  <a:pt x="3374" y="1666"/>
                </a:lnTo>
                <a:lnTo>
                  <a:pt x="3356" y="1674"/>
                </a:lnTo>
                <a:lnTo>
                  <a:pt x="3347" y="1678"/>
                </a:lnTo>
                <a:lnTo>
                  <a:pt x="3339" y="1681"/>
                </a:lnTo>
                <a:lnTo>
                  <a:pt x="3330" y="1683"/>
                </a:lnTo>
                <a:lnTo>
                  <a:pt x="3322" y="1686"/>
                </a:lnTo>
                <a:lnTo>
                  <a:pt x="3314" y="1684"/>
                </a:lnTo>
                <a:lnTo>
                  <a:pt x="3306" y="1683"/>
                </a:lnTo>
                <a:lnTo>
                  <a:pt x="3298" y="1681"/>
                </a:lnTo>
                <a:lnTo>
                  <a:pt x="3290" y="1678"/>
                </a:lnTo>
                <a:lnTo>
                  <a:pt x="3279" y="1673"/>
                </a:lnTo>
                <a:lnTo>
                  <a:pt x="3274" y="1671"/>
                </a:lnTo>
                <a:lnTo>
                  <a:pt x="3275" y="1665"/>
                </a:lnTo>
                <a:lnTo>
                  <a:pt x="3274" y="1654"/>
                </a:lnTo>
                <a:lnTo>
                  <a:pt x="3273" y="1652"/>
                </a:lnTo>
                <a:lnTo>
                  <a:pt x="3271" y="1650"/>
                </a:lnTo>
                <a:lnTo>
                  <a:pt x="3270" y="1648"/>
                </a:lnTo>
                <a:lnTo>
                  <a:pt x="3268" y="1647"/>
                </a:lnTo>
                <a:lnTo>
                  <a:pt x="3266" y="1647"/>
                </a:lnTo>
                <a:lnTo>
                  <a:pt x="3263" y="1648"/>
                </a:lnTo>
                <a:lnTo>
                  <a:pt x="3260" y="1650"/>
                </a:lnTo>
                <a:lnTo>
                  <a:pt x="3256" y="1653"/>
                </a:lnTo>
                <a:lnTo>
                  <a:pt x="3246" y="1661"/>
                </a:lnTo>
                <a:lnTo>
                  <a:pt x="3239" y="1671"/>
                </a:lnTo>
                <a:lnTo>
                  <a:pt x="3232" y="1680"/>
                </a:lnTo>
                <a:lnTo>
                  <a:pt x="3226" y="1690"/>
                </a:lnTo>
                <a:lnTo>
                  <a:pt x="3222" y="1698"/>
                </a:lnTo>
                <a:lnTo>
                  <a:pt x="3220" y="1705"/>
                </a:lnTo>
                <a:lnTo>
                  <a:pt x="3219" y="1711"/>
                </a:lnTo>
                <a:lnTo>
                  <a:pt x="3219" y="1715"/>
                </a:lnTo>
                <a:lnTo>
                  <a:pt x="3222" y="1717"/>
                </a:lnTo>
                <a:lnTo>
                  <a:pt x="3227" y="1719"/>
                </a:lnTo>
                <a:lnTo>
                  <a:pt x="3234" y="1721"/>
                </a:lnTo>
                <a:lnTo>
                  <a:pt x="3240" y="1722"/>
                </a:lnTo>
                <a:lnTo>
                  <a:pt x="3253" y="1725"/>
                </a:lnTo>
                <a:lnTo>
                  <a:pt x="3258" y="1726"/>
                </a:lnTo>
                <a:lnTo>
                  <a:pt x="3251" y="1728"/>
                </a:lnTo>
                <a:lnTo>
                  <a:pt x="3235" y="1734"/>
                </a:lnTo>
                <a:lnTo>
                  <a:pt x="3226" y="1738"/>
                </a:lnTo>
                <a:lnTo>
                  <a:pt x="3219" y="1741"/>
                </a:lnTo>
                <a:lnTo>
                  <a:pt x="3217" y="1743"/>
                </a:lnTo>
                <a:lnTo>
                  <a:pt x="3215" y="1745"/>
                </a:lnTo>
                <a:lnTo>
                  <a:pt x="3214" y="1746"/>
                </a:lnTo>
                <a:lnTo>
                  <a:pt x="3214" y="1748"/>
                </a:lnTo>
                <a:lnTo>
                  <a:pt x="3216" y="1752"/>
                </a:lnTo>
                <a:lnTo>
                  <a:pt x="3219" y="1753"/>
                </a:lnTo>
                <a:lnTo>
                  <a:pt x="3221" y="1754"/>
                </a:lnTo>
                <a:lnTo>
                  <a:pt x="3224" y="1754"/>
                </a:lnTo>
                <a:lnTo>
                  <a:pt x="3230" y="1753"/>
                </a:lnTo>
                <a:lnTo>
                  <a:pt x="3232" y="1752"/>
                </a:lnTo>
                <a:close/>
                <a:moveTo>
                  <a:pt x="3611" y="2283"/>
                </a:moveTo>
                <a:lnTo>
                  <a:pt x="3600" y="2292"/>
                </a:lnTo>
                <a:lnTo>
                  <a:pt x="3582" y="2306"/>
                </a:lnTo>
                <a:lnTo>
                  <a:pt x="3571" y="2312"/>
                </a:lnTo>
                <a:lnTo>
                  <a:pt x="3562" y="2316"/>
                </a:lnTo>
                <a:lnTo>
                  <a:pt x="3558" y="2317"/>
                </a:lnTo>
                <a:lnTo>
                  <a:pt x="3553" y="2318"/>
                </a:lnTo>
                <a:lnTo>
                  <a:pt x="3551" y="2318"/>
                </a:lnTo>
                <a:lnTo>
                  <a:pt x="3548" y="2316"/>
                </a:lnTo>
                <a:lnTo>
                  <a:pt x="3539" y="2309"/>
                </a:lnTo>
                <a:lnTo>
                  <a:pt x="3527" y="2298"/>
                </a:lnTo>
                <a:lnTo>
                  <a:pt x="3522" y="2294"/>
                </a:lnTo>
                <a:lnTo>
                  <a:pt x="3520" y="2290"/>
                </a:lnTo>
                <a:lnTo>
                  <a:pt x="3519" y="2289"/>
                </a:lnTo>
                <a:lnTo>
                  <a:pt x="3520" y="2287"/>
                </a:lnTo>
                <a:lnTo>
                  <a:pt x="3521" y="2286"/>
                </a:lnTo>
                <a:lnTo>
                  <a:pt x="3523" y="2285"/>
                </a:lnTo>
                <a:lnTo>
                  <a:pt x="3534" y="2282"/>
                </a:lnTo>
                <a:lnTo>
                  <a:pt x="3546" y="2276"/>
                </a:lnTo>
                <a:lnTo>
                  <a:pt x="3550" y="2273"/>
                </a:lnTo>
                <a:lnTo>
                  <a:pt x="3552" y="2269"/>
                </a:lnTo>
                <a:lnTo>
                  <a:pt x="3553" y="2267"/>
                </a:lnTo>
                <a:lnTo>
                  <a:pt x="3553" y="2265"/>
                </a:lnTo>
                <a:lnTo>
                  <a:pt x="3553" y="2262"/>
                </a:lnTo>
                <a:lnTo>
                  <a:pt x="3552" y="2260"/>
                </a:lnTo>
                <a:lnTo>
                  <a:pt x="3546" y="2248"/>
                </a:lnTo>
                <a:lnTo>
                  <a:pt x="3538" y="2237"/>
                </a:lnTo>
                <a:lnTo>
                  <a:pt x="3534" y="2232"/>
                </a:lnTo>
                <a:lnTo>
                  <a:pt x="3531" y="2227"/>
                </a:lnTo>
                <a:lnTo>
                  <a:pt x="3530" y="2223"/>
                </a:lnTo>
                <a:lnTo>
                  <a:pt x="3531" y="2219"/>
                </a:lnTo>
                <a:lnTo>
                  <a:pt x="3534" y="2216"/>
                </a:lnTo>
                <a:lnTo>
                  <a:pt x="3541" y="2211"/>
                </a:lnTo>
                <a:lnTo>
                  <a:pt x="3549" y="2206"/>
                </a:lnTo>
                <a:lnTo>
                  <a:pt x="3558" y="2202"/>
                </a:lnTo>
                <a:lnTo>
                  <a:pt x="3572" y="2195"/>
                </a:lnTo>
                <a:lnTo>
                  <a:pt x="3580" y="2192"/>
                </a:lnTo>
                <a:lnTo>
                  <a:pt x="3585" y="2188"/>
                </a:lnTo>
                <a:lnTo>
                  <a:pt x="3595" y="2182"/>
                </a:lnTo>
                <a:lnTo>
                  <a:pt x="3602" y="2179"/>
                </a:lnTo>
                <a:lnTo>
                  <a:pt x="3607" y="2177"/>
                </a:lnTo>
                <a:lnTo>
                  <a:pt x="3609" y="2177"/>
                </a:lnTo>
                <a:lnTo>
                  <a:pt x="3611" y="2177"/>
                </a:lnTo>
                <a:lnTo>
                  <a:pt x="3612" y="2177"/>
                </a:lnTo>
                <a:lnTo>
                  <a:pt x="3612" y="2178"/>
                </a:lnTo>
                <a:lnTo>
                  <a:pt x="3619" y="2187"/>
                </a:lnTo>
                <a:lnTo>
                  <a:pt x="3627" y="2198"/>
                </a:lnTo>
                <a:lnTo>
                  <a:pt x="3626" y="2208"/>
                </a:lnTo>
                <a:lnTo>
                  <a:pt x="3622" y="2220"/>
                </a:lnTo>
                <a:lnTo>
                  <a:pt x="3619" y="2229"/>
                </a:lnTo>
                <a:lnTo>
                  <a:pt x="3618" y="2233"/>
                </a:lnTo>
                <a:lnTo>
                  <a:pt x="3617" y="2244"/>
                </a:lnTo>
                <a:lnTo>
                  <a:pt x="3616" y="2264"/>
                </a:lnTo>
                <a:lnTo>
                  <a:pt x="3616" y="2271"/>
                </a:lnTo>
                <a:lnTo>
                  <a:pt x="3614" y="2277"/>
                </a:lnTo>
                <a:lnTo>
                  <a:pt x="3612" y="2282"/>
                </a:lnTo>
                <a:lnTo>
                  <a:pt x="3611" y="2283"/>
                </a:lnTo>
                <a:close/>
                <a:moveTo>
                  <a:pt x="3660" y="2258"/>
                </a:moveTo>
                <a:lnTo>
                  <a:pt x="3659" y="2272"/>
                </a:lnTo>
                <a:lnTo>
                  <a:pt x="3657" y="2281"/>
                </a:lnTo>
                <a:lnTo>
                  <a:pt x="3656" y="2284"/>
                </a:lnTo>
                <a:lnTo>
                  <a:pt x="3655" y="2286"/>
                </a:lnTo>
                <a:lnTo>
                  <a:pt x="3654" y="2287"/>
                </a:lnTo>
                <a:lnTo>
                  <a:pt x="3651" y="2289"/>
                </a:lnTo>
                <a:lnTo>
                  <a:pt x="3649" y="2291"/>
                </a:lnTo>
                <a:lnTo>
                  <a:pt x="3648" y="2292"/>
                </a:lnTo>
                <a:lnTo>
                  <a:pt x="3648" y="2294"/>
                </a:lnTo>
                <a:lnTo>
                  <a:pt x="3649" y="2295"/>
                </a:lnTo>
                <a:lnTo>
                  <a:pt x="3651" y="2298"/>
                </a:lnTo>
                <a:lnTo>
                  <a:pt x="3653" y="2304"/>
                </a:lnTo>
                <a:lnTo>
                  <a:pt x="3655" y="2306"/>
                </a:lnTo>
                <a:lnTo>
                  <a:pt x="3658" y="2307"/>
                </a:lnTo>
                <a:lnTo>
                  <a:pt x="3661" y="2309"/>
                </a:lnTo>
                <a:lnTo>
                  <a:pt x="3665" y="2310"/>
                </a:lnTo>
                <a:lnTo>
                  <a:pt x="3668" y="2311"/>
                </a:lnTo>
                <a:lnTo>
                  <a:pt x="3670" y="2313"/>
                </a:lnTo>
                <a:lnTo>
                  <a:pt x="3669" y="2315"/>
                </a:lnTo>
                <a:lnTo>
                  <a:pt x="3665" y="2318"/>
                </a:lnTo>
                <a:lnTo>
                  <a:pt x="3652" y="2329"/>
                </a:lnTo>
                <a:lnTo>
                  <a:pt x="3633" y="2340"/>
                </a:lnTo>
                <a:lnTo>
                  <a:pt x="3626" y="2347"/>
                </a:lnTo>
                <a:lnTo>
                  <a:pt x="3621" y="2352"/>
                </a:lnTo>
                <a:lnTo>
                  <a:pt x="3619" y="2354"/>
                </a:lnTo>
                <a:lnTo>
                  <a:pt x="3619" y="2356"/>
                </a:lnTo>
                <a:lnTo>
                  <a:pt x="3621" y="2358"/>
                </a:lnTo>
                <a:lnTo>
                  <a:pt x="3624" y="2360"/>
                </a:lnTo>
                <a:lnTo>
                  <a:pt x="3632" y="2361"/>
                </a:lnTo>
                <a:lnTo>
                  <a:pt x="3644" y="2361"/>
                </a:lnTo>
                <a:lnTo>
                  <a:pt x="3659" y="2359"/>
                </a:lnTo>
                <a:lnTo>
                  <a:pt x="3674" y="2357"/>
                </a:lnTo>
                <a:lnTo>
                  <a:pt x="3700" y="2352"/>
                </a:lnTo>
                <a:lnTo>
                  <a:pt x="3712" y="2350"/>
                </a:lnTo>
                <a:lnTo>
                  <a:pt x="3721" y="2349"/>
                </a:lnTo>
                <a:lnTo>
                  <a:pt x="3742" y="2348"/>
                </a:lnTo>
                <a:lnTo>
                  <a:pt x="3754" y="2346"/>
                </a:lnTo>
                <a:lnTo>
                  <a:pt x="3765" y="2344"/>
                </a:lnTo>
                <a:lnTo>
                  <a:pt x="3769" y="2342"/>
                </a:lnTo>
                <a:lnTo>
                  <a:pt x="3773" y="2341"/>
                </a:lnTo>
                <a:lnTo>
                  <a:pt x="3776" y="2339"/>
                </a:lnTo>
                <a:lnTo>
                  <a:pt x="3779" y="2337"/>
                </a:lnTo>
                <a:lnTo>
                  <a:pt x="3780" y="2333"/>
                </a:lnTo>
                <a:lnTo>
                  <a:pt x="3781" y="2329"/>
                </a:lnTo>
                <a:lnTo>
                  <a:pt x="3780" y="2324"/>
                </a:lnTo>
                <a:lnTo>
                  <a:pt x="3779" y="2319"/>
                </a:lnTo>
                <a:lnTo>
                  <a:pt x="3776" y="2314"/>
                </a:lnTo>
                <a:lnTo>
                  <a:pt x="3776" y="2310"/>
                </a:lnTo>
                <a:lnTo>
                  <a:pt x="3776" y="2306"/>
                </a:lnTo>
                <a:lnTo>
                  <a:pt x="3780" y="2303"/>
                </a:lnTo>
                <a:lnTo>
                  <a:pt x="3785" y="2295"/>
                </a:lnTo>
                <a:lnTo>
                  <a:pt x="3789" y="2290"/>
                </a:lnTo>
                <a:lnTo>
                  <a:pt x="3791" y="2284"/>
                </a:lnTo>
                <a:lnTo>
                  <a:pt x="3791" y="2276"/>
                </a:lnTo>
                <a:lnTo>
                  <a:pt x="3790" y="2265"/>
                </a:lnTo>
                <a:lnTo>
                  <a:pt x="3785" y="2247"/>
                </a:lnTo>
                <a:lnTo>
                  <a:pt x="3782" y="2238"/>
                </a:lnTo>
                <a:lnTo>
                  <a:pt x="3776" y="2229"/>
                </a:lnTo>
                <a:lnTo>
                  <a:pt x="3774" y="2226"/>
                </a:lnTo>
                <a:lnTo>
                  <a:pt x="3771" y="2222"/>
                </a:lnTo>
                <a:lnTo>
                  <a:pt x="3768" y="2220"/>
                </a:lnTo>
                <a:lnTo>
                  <a:pt x="3765" y="2218"/>
                </a:lnTo>
                <a:lnTo>
                  <a:pt x="3757" y="2210"/>
                </a:lnTo>
                <a:lnTo>
                  <a:pt x="3744" y="2199"/>
                </a:lnTo>
                <a:lnTo>
                  <a:pt x="3730" y="2185"/>
                </a:lnTo>
                <a:lnTo>
                  <a:pt x="3717" y="2170"/>
                </a:lnTo>
                <a:lnTo>
                  <a:pt x="3704" y="2154"/>
                </a:lnTo>
                <a:lnTo>
                  <a:pt x="3694" y="2141"/>
                </a:lnTo>
                <a:lnTo>
                  <a:pt x="3691" y="2136"/>
                </a:lnTo>
                <a:lnTo>
                  <a:pt x="3687" y="2132"/>
                </a:lnTo>
                <a:lnTo>
                  <a:pt x="3686" y="2129"/>
                </a:lnTo>
                <a:lnTo>
                  <a:pt x="3687" y="2127"/>
                </a:lnTo>
                <a:lnTo>
                  <a:pt x="3697" y="2121"/>
                </a:lnTo>
                <a:lnTo>
                  <a:pt x="3713" y="2112"/>
                </a:lnTo>
                <a:lnTo>
                  <a:pt x="3719" y="2106"/>
                </a:lnTo>
                <a:lnTo>
                  <a:pt x="3723" y="2099"/>
                </a:lnTo>
                <a:lnTo>
                  <a:pt x="3724" y="2096"/>
                </a:lnTo>
                <a:lnTo>
                  <a:pt x="3724" y="2094"/>
                </a:lnTo>
                <a:lnTo>
                  <a:pt x="3723" y="2091"/>
                </a:lnTo>
                <a:lnTo>
                  <a:pt x="3720" y="2088"/>
                </a:lnTo>
                <a:lnTo>
                  <a:pt x="3713" y="2084"/>
                </a:lnTo>
                <a:lnTo>
                  <a:pt x="3704" y="2079"/>
                </a:lnTo>
                <a:lnTo>
                  <a:pt x="3696" y="2076"/>
                </a:lnTo>
                <a:lnTo>
                  <a:pt x="3688" y="2074"/>
                </a:lnTo>
                <a:lnTo>
                  <a:pt x="3681" y="2072"/>
                </a:lnTo>
                <a:lnTo>
                  <a:pt x="3676" y="2070"/>
                </a:lnTo>
                <a:lnTo>
                  <a:pt x="3674" y="2069"/>
                </a:lnTo>
                <a:lnTo>
                  <a:pt x="3673" y="2068"/>
                </a:lnTo>
                <a:lnTo>
                  <a:pt x="3673" y="2066"/>
                </a:lnTo>
                <a:lnTo>
                  <a:pt x="3673" y="2065"/>
                </a:lnTo>
                <a:lnTo>
                  <a:pt x="3682" y="2049"/>
                </a:lnTo>
                <a:lnTo>
                  <a:pt x="3690" y="2041"/>
                </a:lnTo>
                <a:lnTo>
                  <a:pt x="3668" y="2030"/>
                </a:lnTo>
                <a:lnTo>
                  <a:pt x="3656" y="2035"/>
                </a:lnTo>
                <a:lnTo>
                  <a:pt x="3639" y="2044"/>
                </a:lnTo>
                <a:lnTo>
                  <a:pt x="3634" y="2048"/>
                </a:lnTo>
                <a:lnTo>
                  <a:pt x="3629" y="2050"/>
                </a:lnTo>
                <a:lnTo>
                  <a:pt x="3622" y="2052"/>
                </a:lnTo>
                <a:lnTo>
                  <a:pt x="3616" y="2051"/>
                </a:lnTo>
                <a:lnTo>
                  <a:pt x="3612" y="2051"/>
                </a:lnTo>
                <a:lnTo>
                  <a:pt x="3608" y="2051"/>
                </a:lnTo>
                <a:lnTo>
                  <a:pt x="3604" y="2052"/>
                </a:lnTo>
                <a:lnTo>
                  <a:pt x="3599" y="2054"/>
                </a:lnTo>
                <a:lnTo>
                  <a:pt x="3592" y="2056"/>
                </a:lnTo>
                <a:lnTo>
                  <a:pt x="3590" y="2059"/>
                </a:lnTo>
                <a:lnTo>
                  <a:pt x="3593" y="2062"/>
                </a:lnTo>
                <a:lnTo>
                  <a:pt x="3603" y="2069"/>
                </a:lnTo>
                <a:lnTo>
                  <a:pt x="3607" y="2073"/>
                </a:lnTo>
                <a:lnTo>
                  <a:pt x="3610" y="2077"/>
                </a:lnTo>
                <a:lnTo>
                  <a:pt x="3612" y="2081"/>
                </a:lnTo>
                <a:lnTo>
                  <a:pt x="3612" y="2083"/>
                </a:lnTo>
                <a:lnTo>
                  <a:pt x="3598" y="2097"/>
                </a:lnTo>
                <a:lnTo>
                  <a:pt x="3588" y="2108"/>
                </a:lnTo>
                <a:lnTo>
                  <a:pt x="3607" y="2117"/>
                </a:lnTo>
                <a:lnTo>
                  <a:pt x="3603" y="2128"/>
                </a:lnTo>
                <a:lnTo>
                  <a:pt x="3608" y="2127"/>
                </a:lnTo>
                <a:lnTo>
                  <a:pt x="3616" y="2123"/>
                </a:lnTo>
                <a:lnTo>
                  <a:pt x="3620" y="2123"/>
                </a:lnTo>
                <a:lnTo>
                  <a:pt x="3625" y="2123"/>
                </a:lnTo>
                <a:lnTo>
                  <a:pt x="3626" y="2125"/>
                </a:lnTo>
                <a:lnTo>
                  <a:pt x="3626" y="2126"/>
                </a:lnTo>
                <a:lnTo>
                  <a:pt x="3626" y="2127"/>
                </a:lnTo>
                <a:lnTo>
                  <a:pt x="3625" y="2129"/>
                </a:lnTo>
                <a:lnTo>
                  <a:pt x="3621" y="2133"/>
                </a:lnTo>
                <a:lnTo>
                  <a:pt x="3619" y="2135"/>
                </a:lnTo>
                <a:lnTo>
                  <a:pt x="3616" y="2136"/>
                </a:lnTo>
                <a:lnTo>
                  <a:pt x="3614" y="2137"/>
                </a:lnTo>
                <a:lnTo>
                  <a:pt x="3612" y="2137"/>
                </a:lnTo>
                <a:lnTo>
                  <a:pt x="3610" y="2138"/>
                </a:lnTo>
                <a:lnTo>
                  <a:pt x="3609" y="2140"/>
                </a:lnTo>
                <a:lnTo>
                  <a:pt x="3609" y="2143"/>
                </a:lnTo>
                <a:lnTo>
                  <a:pt x="3615" y="2153"/>
                </a:lnTo>
                <a:lnTo>
                  <a:pt x="3617" y="2160"/>
                </a:lnTo>
                <a:lnTo>
                  <a:pt x="3617" y="2161"/>
                </a:lnTo>
                <a:lnTo>
                  <a:pt x="3617" y="2161"/>
                </a:lnTo>
                <a:lnTo>
                  <a:pt x="3618" y="2162"/>
                </a:lnTo>
                <a:lnTo>
                  <a:pt x="3620" y="2162"/>
                </a:lnTo>
                <a:lnTo>
                  <a:pt x="3625" y="2163"/>
                </a:lnTo>
                <a:lnTo>
                  <a:pt x="3629" y="2163"/>
                </a:lnTo>
                <a:lnTo>
                  <a:pt x="3634" y="2163"/>
                </a:lnTo>
                <a:lnTo>
                  <a:pt x="3638" y="2164"/>
                </a:lnTo>
                <a:lnTo>
                  <a:pt x="3640" y="2165"/>
                </a:lnTo>
                <a:lnTo>
                  <a:pt x="3641" y="2166"/>
                </a:lnTo>
                <a:lnTo>
                  <a:pt x="3642" y="2167"/>
                </a:lnTo>
                <a:lnTo>
                  <a:pt x="3643" y="2170"/>
                </a:lnTo>
                <a:lnTo>
                  <a:pt x="3643" y="2172"/>
                </a:lnTo>
                <a:lnTo>
                  <a:pt x="3646" y="2173"/>
                </a:lnTo>
                <a:lnTo>
                  <a:pt x="3648" y="2173"/>
                </a:lnTo>
                <a:lnTo>
                  <a:pt x="3651" y="2172"/>
                </a:lnTo>
                <a:lnTo>
                  <a:pt x="3653" y="2172"/>
                </a:lnTo>
                <a:lnTo>
                  <a:pt x="3655" y="2173"/>
                </a:lnTo>
                <a:lnTo>
                  <a:pt x="3656" y="2176"/>
                </a:lnTo>
                <a:lnTo>
                  <a:pt x="3655" y="2180"/>
                </a:lnTo>
                <a:lnTo>
                  <a:pt x="3652" y="2192"/>
                </a:lnTo>
                <a:lnTo>
                  <a:pt x="3650" y="2200"/>
                </a:lnTo>
                <a:lnTo>
                  <a:pt x="3649" y="2203"/>
                </a:lnTo>
                <a:lnTo>
                  <a:pt x="3649" y="2205"/>
                </a:lnTo>
                <a:lnTo>
                  <a:pt x="3650" y="2207"/>
                </a:lnTo>
                <a:lnTo>
                  <a:pt x="3651" y="2209"/>
                </a:lnTo>
                <a:lnTo>
                  <a:pt x="3659" y="2209"/>
                </a:lnTo>
                <a:lnTo>
                  <a:pt x="3672" y="2208"/>
                </a:lnTo>
                <a:lnTo>
                  <a:pt x="3678" y="2208"/>
                </a:lnTo>
                <a:lnTo>
                  <a:pt x="3683" y="2208"/>
                </a:lnTo>
                <a:lnTo>
                  <a:pt x="3685" y="2208"/>
                </a:lnTo>
                <a:lnTo>
                  <a:pt x="3687" y="2209"/>
                </a:lnTo>
                <a:lnTo>
                  <a:pt x="3688" y="2210"/>
                </a:lnTo>
                <a:lnTo>
                  <a:pt x="3690" y="2213"/>
                </a:lnTo>
                <a:lnTo>
                  <a:pt x="3688" y="2216"/>
                </a:lnTo>
                <a:lnTo>
                  <a:pt x="3685" y="2221"/>
                </a:lnTo>
                <a:lnTo>
                  <a:pt x="3682" y="2226"/>
                </a:lnTo>
                <a:lnTo>
                  <a:pt x="3677" y="2232"/>
                </a:lnTo>
                <a:lnTo>
                  <a:pt x="3669" y="2241"/>
                </a:lnTo>
                <a:lnTo>
                  <a:pt x="3664" y="2245"/>
                </a:lnTo>
                <a:lnTo>
                  <a:pt x="3660" y="2258"/>
                </a:lnTo>
                <a:close/>
                <a:moveTo>
                  <a:pt x="7619" y="4639"/>
                </a:moveTo>
                <a:lnTo>
                  <a:pt x="7627" y="4628"/>
                </a:lnTo>
                <a:lnTo>
                  <a:pt x="7643" y="4608"/>
                </a:lnTo>
                <a:lnTo>
                  <a:pt x="7656" y="4589"/>
                </a:lnTo>
                <a:lnTo>
                  <a:pt x="7663" y="4578"/>
                </a:lnTo>
                <a:lnTo>
                  <a:pt x="7672" y="4574"/>
                </a:lnTo>
                <a:lnTo>
                  <a:pt x="7680" y="4569"/>
                </a:lnTo>
                <a:lnTo>
                  <a:pt x="7685" y="4554"/>
                </a:lnTo>
                <a:lnTo>
                  <a:pt x="7690" y="4542"/>
                </a:lnTo>
                <a:lnTo>
                  <a:pt x="7692" y="4541"/>
                </a:lnTo>
                <a:lnTo>
                  <a:pt x="7694" y="4539"/>
                </a:lnTo>
                <a:lnTo>
                  <a:pt x="7695" y="4537"/>
                </a:lnTo>
                <a:lnTo>
                  <a:pt x="7696" y="4536"/>
                </a:lnTo>
                <a:lnTo>
                  <a:pt x="7696" y="4535"/>
                </a:lnTo>
                <a:lnTo>
                  <a:pt x="7695" y="4534"/>
                </a:lnTo>
                <a:lnTo>
                  <a:pt x="7691" y="4531"/>
                </a:lnTo>
                <a:lnTo>
                  <a:pt x="7687" y="4527"/>
                </a:lnTo>
                <a:lnTo>
                  <a:pt x="7684" y="4525"/>
                </a:lnTo>
                <a:lnTo>
                  <a:pt x="7680" y="4523"/>
                </a:lnTo>
                <a:lnTo>
                  <a:pt x="7677" y="4522"/>
                </a:lnTo>
                <a:lnTo>
                  <a:pt x="7674" y="4523"/>
                </a:lnTo>
                <a:lnTo>
                  <a:pt x="7668" y="4526"/>
                </a:lnTo>
                <a:lnTo>
                  <a:pt x="7662" y="4531"/>
                </a:lnTo>
                <a:lnTo>
                  <a:pt x="7658" y="4533"/>
                </a:lnTo>
                <a:lnTo>
                  <a:pt x="7655" y="4534"/>
                </a:lnTo>
                <a:lnTo>
                  <a:pt x="7652" y="4534"/>
                </a:lnTo>
                <a:lnTo>
                  <a:pt x="7650" y="4532"/>
                </a:lnTo>
                <a:lnTo>
                  <a:pt x="7641" y="4520"/>
                </a:lnTo>
                <a:lnTo>
                  <a:pt x="7627" y="4504"/>
                </a:lnTo>
                <a:lnTo>
                  <a:pt x="7622" y="4500"/>
                </a:lnTo>
                <a:lnTo>
                  <a:pt x="7618" y="4499"/>
                </a:lnTo>
                <a:lnTo>
                  <a:pt x="7614" y="4499"/>
                </a:lnTo>
                <a:lnTo>
                  <a:pt x="7611" y="4499"/>
                </a:lnTo>
                <a:lnTo>
                  <a:pt x="7609" y="4500"/>
                </a:lnTo>
                <a:lnTo>
                  <a:pt x="7607" y="4500"/>
                </a:lnTo>
                <a:lnTo>
                  <a:pt x="7606" y="4499"/>
                </a:lnTo>
                <a:lnTo>
                  <a:pt x="7605" y="4497"/>
                </a:lnTo>
                <a:lnTo>
                  <a:pt x="7605" y="4493"/>
                </a:lnTo>
                <a:lnTo>
                  <a:pt x="7606" y="4491"/>
                </a:lnTo>
                <a:lnTo>
                  <a:pt x="7609" y="4488"/>
                </a:lnTo>
                <a:lnTo>
                  <a:pt x="7611" y="4486"/>
                </a:lnTo>
                <a:lnTo>
                  <a:pt x="7612" y="4484"/>
                </a:lnTo>
                <a:lnTo>
                  <a:pt x="7611" y="4481"/>
                </a:lnTo>
                <a:lnTo>
                  <a:pt x="7609" y="4478"/>
                </a:lnTo>
                <a:lnTo>
                  <a:pt x="7603" y="4474"/>
                </a:lnTo>
                <a:lnTo>
                  <a:pt x="7594" y="4468"/>
                </a:lnTo>
                <a:lnTo>
                  <a:pt x="7587" y="4462"/>
                </a:lnTo>
                <a:lnTo>
                  <a:pt x="7580" y="4455"/>
                </a:lnTo>
                <a:lnTo>
                  <a:pt x="7574" y="4447"/>
                </a:lnTo>
                <a:lnTo>
                  <a:pt x="7568" y="4441"/>
                </a:lnTo>
                <a:lnTo>
                  <a:pt x="7563" y="4437"/>
                </a:lnTo>
                <a:lnTo>
                  <a:pt x="7561" y="4435"/>
                </a:lnTo>
                <a:lnTo>
                  <a:pt x="7559" y="4435"/>
                </a:lnTo>
                <a:lnTo>
                  <a:pt x="7558" y="4435"/>
                </a:lnTo>
                <a:lnTo>
                  <a:pt x="7556" y="4437"/>
                </a:lnTo>
                <a:lnTo>
                  <a:pt x="7555" y="4440"/>
                </a:lnTo>
                <a:lnTo>
                  <a:pt x="7554" y="4442"/>
                </a:lnTo>
                <a:lnTo>
                  <a:pt x="7555" y="4444"/>
                </a:lnTo>
                <a:lnTo>
                  <a:pt x="7555" y="4446"/>
                </a:lnTo>
                <a:lnTo>
                  <a:pt x="7558" y="4451"/>
                </a:lnTo>
                <a:lnTo>
                  <a:pt x="7561" y="4459"/>
                </a:lnTo>
                <a:lnTo>
                  <a:pt x="7564" y="4469"/>
                </a:lnTo>
                <a:lnTo>
                  <a:pt x="7567" y="4478"/>
                </a:lnTo>
                <a:lnTo>
                  <a:pt x="7570" y="4484"/>
                </a:lnTo>
                <a:lnTo>
                  <a:pt x="7574" y="4487"/>
                </a:lnTo>
                <a:lnTo>
                  <a:pt x="7578" y="4489"/>
                </a:lnTo>
                <a:lnTo>
                  <a:pt x="7585" y="4492"/>
                </a:lnTo>
                <a:lnTo>
                  <a:pt x="7589" y="4496"/>
                </a:lnTo>
                <a:lnTo>
                  <a:pt x="7592" y="4499"/>
                </a:lnTo>
                <a:lnTo>
                  <a:pt x="7596" y="4503"/>
                </a:lnTo>
                <a:lnTo>
                  <a:pt x="7597" y="4509"/>
                </a:lnTo>
                <a:lnTo>
                  <a:pt x="7599" y="4522"/>
                </a:lnTo>
                <a:lnTo>
                  <a:pt x="7601" y="4533"/>
                </a:lnTo>
                <a:lnTo>
                  <a:pt x="7601" y="4537"/>
                </a:lnTo>
                <a:lnTo>
                  <a:pt x="7600" y="4543"/>
                </a:lnTo>
                <a:lnTo>
                  <a:pt x="7598" y="4547"/>
                </a:lnTo>
                <a:lnTo>
                  <a:pt x="7596" y="4551"/>
                </a:lnTo>
                <a:lnTo>
                  <a:pt x="7589" y="4559"/>
                </a:lnTo>
                <a:lnTo>
                  <a:pt x="7584" y="4568"/>
                </a:lnTo>
                <a:lnTo>
                  <a:pt x="7583" y="4572"/>
                </a:lnTo>
                <a:lnTo>
                  <a:pt x="7582" y="4576"/>
                </a:lnTo>
                <a:lnTo>
                  <a:pt x="7582" y="4579"/>
                </a:lnTo>
                <a:lnTo>
                  <a:pt x="7582" y="4583"/>
                </a:lnTo>
                <a:lnTo>
                  <a:pt x="7585" y="4585"/>
                </a:lnTo>
                <a:lnTo>
                  <a:pt x="7590" y="4587"/>
                </a:lnTo>
                <a:lnTo>
                  <a:pt x="7597" y="4588"/>
                </a:lnTo>
                <a:lnTo>
                  <a:pt x="7604" y="4590"/>
                </a:lnTo>
                <a:lnTo>
                  <a:pt x="7610" y="4591"/>
                </a:lnTo>
                <a:lnTo>
                  <a:pt x="7615" y="4593"/>
                </a:lnTo>
                <a:lnTo>
                  <a:pt x="7617" y="4594"/>
                </a:lnTo>
                <a:lnTo>
                  <a:pt x="7618" y="4595"/>
                </a:lnTo>
                <a:lnTo>
                  <a:pt x="7618" y="4597"/>
                </a:lnTo>
                <a:lnTo>
                  <a:pt x="7617" y="4598"/>
                </a:lnTo>
                <a:lnTo>
                  <a:pt x="7611" y="4605"/>
                </a:lnTo>
                <a:lnTo>
                  <a:pt x="7609" y="4611"/>
                </a:lnTo>
                <a:lnTo>
                  <a:pt x="7608" y="4617"/>
                </a:lnTo>
                <a:lnTo>
                  <a:pt x="7608" y="4624"/>
                </a:lnTo>
                <a:lnTo>
                  <a:pt x="7607" y="4633"/>
                </a:lnTo>
                <a:lnTo>
                  <a:pt x="7606" y="4639"/>
                </a:lnTo>
                <a:lnTo>
                  <a:pt x="7606" y="4642"/>
                </a:lnTo>
                <a:lnTo>
                  <a:pt x="7606" y="4644"/>
                </a:lnTo>
                <a:lnTo>
                  <a:pt x="7607" y="4645"/>
                </a:lnTo>
                <a:lnTo>
                  <a:pt x="7608" y="4645"/>
                </a:lnTo>
                <a:lnTo>
                  <a:pt x="7613" y="4644"/>
                </a:lnTo>
                <a:lnTo>
                  <a:pt x="7617" y="4642"/>
                </a:lnTo>
                <a:lnTo>
                  <a:pt x="7618" y="4640"/>
                </a:lnTo>
                <a:lnTo>
                  <a:pt x="7619" y="4639"/>
                </a:lnTo>
                <a:close/>
                <a:moveTo>
                  <a:pt x="7423" y="4766"/>
                </a:moveTo>
                <a:lnTo>
                  <a:pt x="7428" y="4773"/>
                </a:lnTo>
                <a:lnTo>
                  <a:pt x="7437" y="4785"/>
                </a:lnTo>
                <a:lnTo>
                  <a:pt x="7443" y="4791"/>
                </a:lnTo>
                <a:lnTo>
                  <a:pt x="7447" y="4797"/>
                </a:lnTo>
                <a:lnTo>
                  <a:pt x="7449" y="4800"/>
                </a:lnTo>
                <a:lnTo>
                  <a:pt x="7449" y="4804"/>
                </a:lnTo>
                <a:lnTo>
                  <a:pt x="7447" y="4806"/>
                </a:lnTo>
                <a:lnTo>
                  <a:pt x="7443" y="4809"/>
                </a:lnTo>
                <a:lnTo>
                  <a:pt x="7442" y="4811"/>
                </a:lnTo>
                <a:lnTo>
                  <a:pt x="7440" y="4813"/>
                </a:lnTo>
                <a:lnTo>
                  <a:pt x="7442" y="4815"/>
                </a:lnTo>
                <a:lnTo>
                  <a:pt x="7443" y="4818"/>
                </a:lnTo>
                <a:lnTo>
                  <a:pt x="7444" y="4819"/>
                </a:lnTo>
                <a:lnTo>
                  <a:pt x="7446" y="4819"/>
                </a:lnTo>
                <a:lnTo>
                  <a:pt x="7448" y="4819"/>
                </a:lnTo>
                <a:lnTo>
                  <a:pt x="7451" y="4819"/>
                </a:lnTo>
                <a:lnTo>
                  <a:pt x="7456" y="4817"/>
                </a:lnTo>
                <a:lnTo>
                  <a:pt x="7462" y="4815"/>
                </a:lnTo>
                <a:lnTo>
                  <a:pt x="7474" y="4808"/>
                </a:lnTo>
                <a:lnTo>
                  <a:pt x="7482" y="4800"/>
                </a:lnTo>
                <a:lnTo>
                  <a:pt x="7491" y="4792"/>
                </a:lnTo>
                <a:lnTo>
                  <a:pt x="7504" y="4782"/>
                </a:lnTo>
                <a:lnTo>
                  <a:pt x="7511" y="4775"/>
                </a:lnTo>
                <a:lnTo>
                  <a:pt x="7516" y="4770"/>
                </a:lnTo>
                <a:lnTo>
                  <a:pt x="7519" y="4765"/>
                </a:lnTo>
                <a:lnTo>
                  <a:pt x="7521" y="4762"/>
                </a:lnTo>
                <a:lnTo>
                  <a:pt x="7521" y="4751"/>
                </a:lnTo>
                <a:lnTo>
                  <a:pt x="7523" y="4737"/>
                </a:lnTo>
                <a:lnTo>
                  <a:pt x="7524" y="4729"/>
                </a:lnTo>
                <a:lnTo>
                  <a:pt x="7526" y="4724"/>
                </a:lnTo>
                <a:lnTo>
                  <a:pt x="7527" y="4722"/>
                </a:lnTo>
                <a:lnTo>
                  <a:pt x="7528" y="4721"/>
                </a:lnTo>
                <a:lnTo>
                  <a:pt x="7530" y="4721"/>
                </a:lnTo>
                <a:lnTo>
                  <a:pt x="7532" y="4721"/>
                </a:lnTo>
                <a:lnTo>
                  <a:pt x="7536" y="4722"/>
                </a:lnTo>
                <a:lnTo>
                  <a:pt x="7540" y="4723"/>
                </a:lnTo>
                <a:lnTo>
                  <a:pt x="7545" y="4723"/>
                </a:lnTo>
                <a:lnTo>
                  <a:pt x="7550" y="4722"/>
                </a:lnTo>
                <a:lnTo>
                  <a:pt x="7555" y="4721"/>
                </a:lnTo>
                <a:lnTo>
                  <a:pt x="7559" y="4719"/>
                </a:lnTo>
                <a:lnTo>
                  <a:pt x="7562" y="4718"/>
                </a:lnTo>
                <a:lnTo>
                  <a:pt x="7564" y="4716"/>
                </a:lnTo>
                <a:lnTo>
                  <a:pt x="7569" y="4705"/>
                </a:lnTo>
                <a:lnTo>
                  <a:pt x="7577" y="4688"/>
                </a:lnTo>
                <a:lnTo>
                  <a:pt x="7584" y="4672"/>
                </a:lnTo>
                <a:lnTo>
                  <a:pt x="7588" y="4663"/>
                </a:lnTo>
                <a:lnTo>
                  <a:pt x="7591" y="4657"/>
                </a:lnTo>
                <a:lnTo>
                  <a:pt x="7594" y="4646"/>
                </a:lnTo>
                <a:lnTo>
                  <a:pt x="7598" y="4637"/>
                </a:lnTo>
                <a:lnTo>
                  <a:pt x="7600" y="4631"/>
                </a:lnTo>
                <a:lnTo>
                  <a:pt x="7598" y="4626"/>
                </a:lnTo>
                <a:lnTo>
                  <a:pt x="7593" y="4618"/>
                </a:lnTo>
                <a:lnTo>
                  <a:pt x="7591" y="4614"/>
                </a:lnTo>
                <a:lnTo>
                  <a:pt x="7588" y="4611"/>
                </a:lnTo>
                <a:lnTo>
                  <a:pt x="7585" y="4610"/>
                </a:lnTo>
                <a:lnTo>
                  <a:pt x="7582" y="4611"/>
                </a:lnTo>
                <a:lnTo>
                  <a:pt x="7577" y="4614"/>
                </a:lnTo>
                <a:lnTo>
                  <a:pt x="7572" y="4618"/>
                </a:lnTo>
                <a:lnTo>
                  <a:pt x="7571" y="4620"/>
                </a:lnTo>
                <a:lnTo>
                  <a:pt x="7569" y="4620"/>
                </a:lnTo>
                <a:lnTo>
                  <a:pt x="7567" y="4620"/>
                </a:lnTo>
                <a:lnTo>
                  <a:pt x="7565" y="4618"/>
                </a:lnTo>
                <a:lnTo>
                  <a:pt x="7560" y="4613"/>
                </a:lnTo>
                <a:lnTo>
                  <a:pt x="7554" y="4609"/>
                </a:lnTo>
                <a:lnTo>
                  <a:pt x="7549" y="4609"/>
                </a:lnTo>
                <a:lnTo>
                  <a:pt x="7546" y="4609"/>
                </a:lnTo>
                <a:lnTo>
                  <a:pt x="7544" y="4610"/>
                </a:lnTo>
                <a:lnTo>
                  <a:pt x="7541" y="4613"/>
                </a:lnTo>
                <a:lnTo>
                  <a:pt x="7536" y="4629"/>
                </a:lnTo>
                <a:lnTo>
                  <a:pt x="7532" y="4643"/>
                </a:lnTo>
                <a:lnTo>
                  <a:pt x="7530" y="4652"/>
                </a:lnTo>
                <a:lnTo>
                  <a:pt x="7525" y="4661"/>
                </a:lnTo>
                <a:lnTo>
                  <a:pt x="7522" y="4667"/>
                </a:lnTo>
                <a:lnTo>
                  <a:pt x="7517" y="4674"/>
                </a:lnTo>
                <a:lnTo>
                  <a:pt x="7510" y="4681"/>
                </a:lnTo>
                <a:lnTo>
                  <a:pt x="7499" y="4689"/>
                </a:lnTo>
                <a:lnTo>
                  <a:pt x="7475" y="4708"/>
                </a:lnTo>
                <a:lnTo>
                  <a:pt x="7453" y="4727"/>
                </a:lnTo>
                <a:lnTo>
                  <a:pt x="7436" y="4743"/>
                </a:lnTo>
                <a:lnTo>
                  <a:pt x="7426" y="4751"/>
                </a:lnTo>
                <a:lnTo>
                  <a:pt x="7424" y="4754"/>
                </a:lnTo>
                <a:lnTo>
                  <a:pt x="7423" y="4756"/>
                </a:lnTo>
                <a:lnTo>
                  <a:pt x="7422" y="4759"/>
                </a:lnTo>
                <a:lnTo>
                  <a:pt x="7422" y="4761"/>
                </a:lnTo>
                <a:lnTo>
                  <a:pt x="7423" y="4765"/>
                </a:lnTo>
                <a:lnTo>
                  <a:pt x="7423" y="4766"/>
                </a:lnTo>
                <a:close/>
                <a:moveTo>
                  <a:pt x="6941" y="4620"/>
                </a:moveTo>
                <a:lnTo>
                  <a:pt x="6946" y="4637"/>
                </a:lnTo>
                <a:lnTo>
                  <a:pt x="6955" y="4664"/>
                </a:lnTo>
                <a:lnTo>
                  <a:pt x="6962" y="4678"/>
                </a:lnTo>
                <a:lnTo>
                  <a:pt x="6968" y="4689"/>
                </a:lnTo>
                <a:lnTo>
                  <a:pt x="6971" y="4695"/>
                </a:lnTo>
                <a:lnTo>
                  <a:pt x="6974" y="4699"/>
                </a:lnTo>
                <a:lnTo>
                  <a:pt x="6977" y="4701"/>
                </a:lnTo>
                <a:lnTo>
                  <a:pt x="6981" y="4702"/>
                </a:lnTo>
                <a:lnTo>
                  <a:pt x="6984" y="4703"/>
                </a:lnTo>
                <a:lnTo>
                  <a:pt x="6987" y="4702"/>
                </a:lnTo>
                <a:lnTo>
                  <a:pt x="6990" y="4701"/>
                </a:lnTo>
                <a:lnTo>
                  <a:pt x="6993" y="4699"/>
                </a:lnTo>
                <a:lnTo>
                  <a:pt x="6999" y="4694"/>
                </a:lnTo>
                <a:lnTo>
                  <a:pt x="7007" y="4687"/>
                </a:lnTo>
                <a:lnTo>
                  <a:pt x="7017" y="4676"/>
                </a:lnTo>
                <a:lnTo>
                  <a:pt x="7022" y="4668"/>
                </a:lnTo>
                <a:lnTo>
                  <a:pt x="7026" y="4662"/>
                </a:lnTo>
                <a:lnTo>
                  <a:pt x="7030" y="4651"/>
                </a:lnTo>
                <a:lnTo>
                  <a:pt x="7031" y="4644"/>
                </a:lnTo>
                <a:lnTo>
                  <a:pt x="7033" y="4639"/>
                </a:lnTo>
                <a:lnTo>
                  <a:pt x="7033" y="4634"/>
                </a:lnTo>
                <a:lnTo>
                  <a:pt x="7033" y="4631"/>
                </a:lnTo>
                <a:lnTo>
                  <a:pt x="7026" y="4622"/>
                </a:lnTo>
                <a:lnTo>
                  <a:pt x="7021" y="4616"/>
                </a:lnTo>
                <a:lnTo>
                  <a:pt x="7026" y="4613"/>
                </a:lnTo>
                <a:lnTo>
                  <a:pt x="7033" y="4606"/>
                </a:lnTo>
                <a:lnTo>
                  <a:pt x="7035" y="4602"/>
                </a:lnTo>
                <a:lnTo>
                  <a:pt x="7036" y="4598"/>
                </a:lnTo>
                <a:lnTo>
                  <a:pt x="7035" y="4596"/>
                </a:lnTo>
                <a:lnTo>
                  <a:pt x="7033" y="4595"/>
                </a:lnTo>
                <a:lnTo>
                  <a:pt x="7031" y="4593"/>
                </a:lnTo>
                <a:lnTo>
                  <a:pt x="7027" y="4592"/>
                </a:lnTo>
                <a:lnTo>
                  <a:pt x="7012" y="4588"/>
                </a:lnTo>
                <a:lnTo>
                  <a:pt x="7003" y="4585"/>
                </a:lnTo>
                <a:lnTo>
                  <a:pt x="7000" y="4584"/>
                </a:lnTo>
                <a:lnTo>
                  <a:pt x="6999" y="4584"/>
                </a:lnTo>
                <a:lnTo>
                  <a:pt x="6999" y="4586"/>
                </a:lnTo>
                <a:lnTo>
                  <a:pt x="7000" y="4588"/>
                </a:lnTo>
                <a:lnTo>
                  <a:pt x="7008" y="4598"/>
                </a:lnTo>
                <a:lnTo>
                  <a:pt x="7012" y="4603"/>
                </a:lnTo>
                <a:lnTo>
                  <a:pt x="7012" y="4605"/>
                </a:lnTo>
                <a:lnTo>
                  <a:pt x="7011" y="4609"/>
                </a:lnTo>
                <a:lnTo>
                  <a:pt x="7010" y="4612"/>
                </a:lnTo>
                <a:lnTo>
                  <a:pt x="7008" y="4614"/>
                </a:lnTo>
                <a:lnTo>
                  <a:pt x="7006" y="4616"/>
                </a:lnTo>
                <a:lnTo>
                  <a:pt x="7001" y="4617"/>
                </a:lnTo>
                <a:lnTo>
                  <a:pt x="6993" y="4618"/>
                </a:lnTo>
                <a:lnTo>
                  <a:pt x="6984" y="4618"/>
                </a:lnTo>
                <a:lnTo>
                  <a:pt x="6975" y="4617"/>
                </a:lnTo>
                <a:lnTo>
                  <a:pt x="6969" y="4614"/>
                </a:lnTo>
                <a:lnTo>
                  <a:pt x="6967" y="4613"/>
                </a:lnTo>
                <a:lnTo>
                  <a:pt x="6964" y="4612"/>
                </a:lnTo>
                <a:lnTo>
                  <a:pt x="6961" y="4612"/>
                </a:lnTo>
                <a:lnTo>
                  <a:pt x="6957" y="4613"/>
                </a:lnTo>
                <a:lnTo>
                  <a:pt x="6953" y="4615"/>
                </a:lnTo>
                <a:lnTo>
                  <a:pt x="6951" y="4615"/>
                </a:lnTo>
                <a:lnTo>
                  <a:pt x="6951" y="4612"/>
                </a:lnTo>
                <a:lnTo>
                  <a:pt x="6949" y="4606"/>
                </a:lnTo>
                <a:lnTo>
                  <a:pt x="6948" y="4601"/>
                </a:lnTo>
                <a:lnTo>
                  <a:pt x="6947" y="4598"/>
                </a:lnTo>
                <a:lnTo>
                  <a:pt x="6946" y="4596"/>
                </a:lnTo>
                <a:lnTo>
                  <a:pt x="6945" y="4595"/>
                </a:lnTo>
                <a:lnTo>
                  <a:pt x="6939" y="4595"/>
                </a:lnTo>
                <a:lnTo>
                  <a:pt x="6930" y="4594"/>
                </a:lnTo>
                <a:lnTo>
                  <a:pt x="6926" y="4594"/>
                </a:lnTo>
                <a:lnTo>
                  <a:pt x="6923" y="4595"/>
                </a:lnTo>
                <a:lnTo>
                  <a:pt x="6922" y="4596"/>
                </a:lnTo>
                <a:lnTo>
                  <a:pt x="6921" y="4596"/>
                </a:lnTo>
                <a:lnTo>
                  <a:pt x="6921" y="4597"/>
                </a:lnTo>
                <a:lnTo>
                  <a:pt x="6921" y="4599"/>
                </a:lnTo>
                <a:lnTo>
                  <a:pt x="6923" y="4602"/>
                </a:lnTo>
                <a:lnTo>
                  <a:pt x="6926" y="4606"/>
                </a:lnTo>
                <a:lnTo>
                  <a:pt x="6930" y="4608"/>
                </a:lnTo>
                <a:lnTo>
                  <a:pt x="6934" y="4611"/>
                </a:lnTo>
                <a:lnTo>
                  <a:pt x="6942" y="4614"/>
                </a:lnTo>
                <a:lnTo>
                  <a:pt x="6945" y="4615"/>
                </a:lnTo>
                <a:lnTo>
                  <a:pt x="6941" y="4620"/>
                </a:lnTo>
                <a:close/>
                <a:moveTo>
                  <a:pt x="6286" y="4423"/>
                </a:moveTo>
                <a:lnTo>
                  <a:pt x="6290" y="4417"/>
                </a:lnTo>
                <a:lnTo>
                  <a:pt x="6299" y="4400"/>
                </a:lnTo>
                <a:lnTo>
                  <a:pt x="6304" y="4392"/>
                </a:lnTo>
                <a:lnTo>
                  <a:pt x="6308" y="4382"/>
                </a:lnTo>
                <a:lnTo>
                  <a:pt x="6309" y="4378"/>
                </a:lnTo>
                <a:lnTo>
                  <a:pt x="6309" y="4375"/>
                </a:lnTo>
                <a:lnTo>
                  <a:pt x="6309" y="4372"/>
                </a:lnTo>
                <a:lnTo>
                  <a:pt x="6308" y="4369"/>
                </a:lnTo>
                <a:lnTo>
                  <a:pt x="6304" y="4360"/>
                </a:lnTo>
                <a:lnTo>
                  <a:pt x="6298" y="4353"/>
                </a:lnTo>
                <a:lnTo>
                  <a:pt x="6294" y="4346"/>
                </a:lnTo>
                <a:lnTo>
                  <a:pt x="6290" y="4336"/>
                </a:lnTo>
                <a:lnTo>
                  <a:pt x="6289" y="4326"/>
                </a:lnTo>
                <a:lnTo>
                  <a:pt x="6288" y="4316"/>
                </a:lnTo>
                <a:lnTo>
                  <a:pt x="6287" y="4310"/>
                </a:lnTo>
                <a:lnTo>
                  <a:pt x="6286" y="4304"/>
                </a:lnTo>
                <a:lnTo>
                  <a:pt x="6283" y="4298"/>
                </a:lnTo>
                <a:lnTo>
                  <a:pt x="6279" y="4290"/>
                </a:lnTo>
                <a:lnTo>
                  <a:pt x="6268" y="4273"/>
                </a:lnTo>
                <a:lnTo>
                  <a:pt x="6257" y="4256"/>
                </a:lnTo>
                <a:lnTo>
                  <a:pt x="6246" y="4241"/>
                </a:lnTo>
                <a:lnTo>
                  <a:pt x="6239" y="4229"/>
                </a:lnTo>
                <a:lnTo>
                  <a:pt x="6238" y="4226"/>
                </a:lnTo>
                <a:lnTo>
                  <a:pt x="6238" y="4223"/>
                </a:lnTo>
                <a:lnTo>
                  <a:pt x="6239" y="4219"/>
                </a:lnTo>
                <a:lnTo>
                  <a:pt x="6241" y="4214"/>
                </a:lnTo>
                <a:lnTo>
                  <a:pt x="6245" y="4201"/>
                </a:lnTo>
                <a:lnTo>
                  <a:pt x="6251" y="4189"/>
                </a:lnTo>
                <a:lnTo>
                  <a:pt x="6264" y="4163"/>
                </a:lnTo>
                <a:lnTo>
                  <a:pt x="6272" y="4150"/>
                </a:lnTo>
                <a:lnTo>
                  <a:pt x="6282" y="4137"/>
                </a:lnTo>
                <a:lnTo>
                  <a:pt x="6296" y="4116"/>
                </a:lnTo>
                <a:lnTo>
                  <a:pt x="6305" y="4107"/>
                </a:lnTo>
                <a:lnTo>
                  <a:pt x="6312" y="4098"/>
                </a:lnTo>
                <a:lnTo>
                  <a:pt x="6315" y="4095"/>
                </a:lnTo>
                <a:lnTo>
                  <a:pt x="6317" y="4092"/>
                </a:lnTo>
                <a:lnTo>
                  <a:pt x="6320" y="4091"/>
                </a:lnTo>
                <a:lnTo>
                  <a:pt x="6323" y="4091"/>
                </a:lnTo>
                <a:lnTo>
                  <a:pt x="6328" y="4091"/>
                </a:lnTo>
                <a:lnTo>
                  <a:pt x="6337" y="4090"/>
                </a:lnTo>
                <a:lnTo>
                  <a:pt x="6349" y="4088"/>
                </a:lnTo>
                <a:lnTo>
                  <a:pt x="6362" y="4085"/>
                </a:lnTo>
                <a:lnTo>
                  <a:pt x="6386" y="4079"/>
                </a:lnTo>
                <a:lnTo>
                  <a:pt x="6400" y="4075"/>
                </a:lnTo>
                <a:lnTo>
                  <a:pt x="6408" y="4072"/>
                </a:lnTo>
                <a:lnTo>
                  <a:pt x="6422" y="4066"/>
                </a:lnTo>
                <a:lnTo>
                  <a:pt x="6429" y="4063"/>
                </a:lnTo>
                <a:lnTo>
                  <a:pt x="6435" y="4058"/>
                </a:lnTo>
                <a:lnTo>
                  <a:pt x="6438" y="4056"/>
                </a:lnTo>
                <a:lnTo>
                  <a:pt x="6440" y="4053"/>
                </a:lnTo>
                <a:lnTo>
                  <a:pt x="6441" y="4051"/>
                </a:lnTo>
                <a:lnTo>
                  <a:pt x="6441" y="4048"/>
                </a:lnTo>
                <a:lnTo>
                  <a:pt x="6444" y="4036"/>
                </a:lnTo>
                <a:lnTo>
                  <a:pt x="6449" y="4020"/>
                </a:lnTo>
                <a:lnTo>
                  <a:pt x="6452" y="4013"/>
                </a:lnTo>
                <a:lnTo>
                  <a:pt x="6456" y="4006"/>
                </a:lnTo>
                <a:lnTo>
                  <a:pt x="6458" y="4002"/>
                </a:lnTo>
                <a:lnTo>
                  <a:pt x="6460" y="4001"/>
                </a:lnTo>
                <a:lnTo>
                  <a:pt x="6464" y="4002"/>
                </a:lnTo>
                <a:lnTo>
                  <a:pt x="6468" y="4005"/>
                </a:lnTo>
                <a:lnTo>
                  <a:pt x="6470" y="4006"/>
                </a:lnTo>
                <a:lnTo>
                  <a:pt x="6473" y="4007"/>
                </a:lnTo>
                <a:lnTo>
                  <a:pt x="6475" y="4006"/>
                </a:lnTo>
                <a:lnTo>
                  <a:pt x="6479" y="4005"/>
                </a:lnTo>
                <a:lnTo>
                  <a:pt x="6489" y="3990"/>
                </a:lnTo>
                <a:lnTo>
                  <a:pt x="6504" y="3962"/>
                </a:lnTo>
                <a:lnTo>
                  <a:pt x="6511" y="3949"/>
                </a:lnTo>
                <a:lnTo>
                  <a:pt x="6520" y="3937"/>
                </a:lnTo>
                <a:lnTo>
                  <a:pt x="6523" y="3933"/>
                </a:lnTo>
                <a:lnTo>
                  <a:pt x="6527" y="3931"/>
                </a:lnTo>
                <a:lnTo>
                  <a:pt x="6529" y="3930"/>
                </a:lnTo>
                <a:lnTo>
                  <a:pt x="6532" y="3930"/>
                </a:lnTo>
                <a:lnTo>
                  <a:pt x="6546" y="3939"/>
                </a:lnTo>
                <a:lnTo>
                  <a:pt x="6564" y="3950"/>
                </a:lnTo>
                <a:lnTo>
                  <a:pt x="6579" y="3960"/>
                </a:lnTo>
                <a:lnTo>
                  <a:pt x="6586" y="3963"/>
                </a:lnTo>
                <a:lnTo>
                  <a:pt x="6590" y="3960"/>
                </a:lnTo>
                <a:lnTo>
                  <a:pt x="6600" y="3952"/>
                </a:lnTo>
                <a:lnTo>
                  <a:pt x="6606" y="3947"/>
                </a:lnTo>
                <a:lnTo>
                  <a:pt x="6612" y="3940"/>
                </a:lnTo>
                <a:lnTo>
                  <a:pt x="6616" y="3935"/>
                </a:lnTo>
                <a:lnTo>
                  <a:pt x="6618" y="3930"/>
                </a:lnTo>
                <a:lnTo>
                  <a:pt x="6622" y="3921"/>
                </a:lnTo>
                <a:lnTo>
                  <a:pt x="6625" y="3912"/>
                </a:lnTo>
                <a:lnTo>
                  <a:pt x="6627" y="3908"/>
                </a:lnTo>
                <a:lnTo>
                  <a:pt x="6627" y="3904"/>
                </a:lnTo>
                <a:lnTo>
                  <a:pt x="6627" y="3899"/>
                </a:lnTo>
                <a:lnTo>
                  <a:pt x="6625" y="3895"/>
                </a:lnTo>
                <a:lnTo>
                  <a:pt x="6624" y="3893"/>
                </a:lnTo>
                <a:lnTo>
                  <a:pt x="6624" y="3891"/>
                </a:lnTo>
                <a:lnTo>
                  <a:pt x="6625" y="3888"/>
                </a:lnTo>
                <a:lnTo>
                  <a:pt x="6627" y="3886"/>
                </a:lnTo>
                <a:lnTo>
                  <a:pt x="6633" y="3881"/>
                </a:lnTo>
                <a:lnTo>
                  <a:pt x="6639" y="3876"/>
                </a:lnTo>
                <a:lnTo>
                  <a:pt x="6646" y="3872"/>
                </a:lnTo>
                <a:lnTo>
                  <a:pt x="6654" y="3870"/>
                </a:lnTo>
                <a:lnTo>
                  <a:pt x="6657" y="3869"/>
                </a:lnTo>
                <a:lnTo>
                  <a:pt x="6660" y="3869"/>
                </a:lnTo>
                <a:lnTo>
                  <a:pt x="6662" y="3869"/>
                </a:lnTo>
                <a:lnTo>
                  <a:pt x="6663" y="3870"/>
                </a:lnTo>
                <a:lnTo>
                  <a:pt x="6666" y="3873"/>
                </a:lnTo>
                <a:lnTo>
                  <a:pt x="6671" y="3874"/>
                </a:lnTo>
                <a:lnTo>
                  <a:pt x="6678" y="3876"/>
                </a:lnTo>
                <a:lnTo>
                  <a:pt x="6684" y="3877"/>
                </a:lnTo>
                <a:lnTo>
                  <a:pt x="6698" y="3878"/>
                </a:lnTo>
                <a:lnTo>
                  <a:pt x="6706" y="3882"/>
                </a:lnTo>
                <a:lnTo>
                  <a:pt x="6711" y="3883"/>
                </a:lnTo>
                <a:lnTo>
                  <a:pt x="6718" y="3883"/>
                </a:lnTo>
                <a:lnTo>
                  <a:pt x="6725" y="3883"/>
                </a:lnTo>
                <a:lnTo>
                  <a:pt x="6732" y="3882"/>
                </a:lnTo>
                <a:lnTo>
                  <a:pt x="6741" y="3882"/>
                </a:lnTo>
                <a:lnTo>
                  <a:pt x="6748" y="3882"/>
                </a:lnTo>
                <a:lnTo>
                  <a:pt x="6750" y="3883"/>
                </a:lnTo>
                <a:lnTo>
                  <a:pt x="6753" y="3884"/>
                </a:lnTo>
                <a:lnTo>
                  <a:pt x="6754" y="3886"/>
                </a:lnTo>
                <a:lnTo>
                  <a:pt x="6755" y="3888"/>
                </a:lnTo>
                <a:lnTo>
                  <a:pt x="6757" y="3893"/>
                </a:lnTo>
                <a:lnTo>
                  <a:pt x="6757" y="3900"/>
                </a:lnTo>
                <a:lnTo>
                  <a:pt x="6758" y="3908"/>
                </a:lnTo>
                <a:lnTo>
                  <a:pt x="6758" y="3915"/>
                </a:lnTo>
                <a:lnTo>
                  <a:pt x="6757" y="3922"/>
                </a:lnTo>
                <a:lnTo>
                  <a:pt x="6756" y="3929"/>
                </a:lnTo>
                <a:lnTo>
                  <a:pt x="6754" y="3935"/>
                </a:lnTo>
                <a:lnTo>
                  <a:pt x="6752" y="3938"/>
                </a:lnTo>
                <a:lnTo>
                  <a:pt x="6751" y="3941"/>
                </a:lnTo>
                <a:lnTo>
                  <a:pt x="6750" y="3946"/>
                </a:lnTo>
                <a:lnTo>
                  <a:pt x="6750" y="3951"/>
                </a:lnTo>
                <a:lnTo>
                  <a:pt x="6750" y="3956"/>
                </a:lnTo>
                <a:lnTo>
                  <a:pt x="6751" y="3961"/>
                </a:lnTo>
                <a:lnTo>
                  <a:pt x="6753" y="3966"/>
                </a:lnTo>
                <a:lnTo>
                  <a:pt x="6755" y="3971"/>
                </a:lnTo>
                <a:lnTo>
                  <a:pt x="6757" y="3974"/>
                </a:lnTo>
                <a:lnTo>
                  <a:pt x="6769" y="3983"/>
                </a:lnTo>
                <a:lnTo>
                  <a:pt x="6787" y="3994"/>
                </a:lnTo>
                <a:lnTo>
                  <a:pt x="6796" y="3998"/>
                </a:lnTo>
                <a:lnTo>
                  <a:pt x="6804" y="4002"/>
                </a:lnTo>
                <a:lnTo>
                  <a:pt x="6811" y="4004"/>
                </a:lnTo>
                <a:lnTo>
                  <a:pt x="6815" y="4004"/>
                </a:lnTo>
                <a:lnTo>
                  <a:pt x="6820" y="4002"/>
                </a:lnTo>
                <a:lnTo>
                  <a:pt x="6824" y="4002"/>
                </a:lnTo>
                <a:lnTo>
                  <a:pt x="6826" y="4003"/>
                </a:lnTo>
                <a:lnTo>
                  <a:pt x="6828" y="4004"/>
                </a:lnTo>
                <a:lnTo>
                  <a:pt x="6829" y="4006"/>
                </a:lnTo>
                <a:lnTo>
                  <a:pt x="6830" y="4008"/>
                </a:lnTo>
                <a:lnTo>
                  <a:pt x="6832" y="4014"/>
                </a:lnTo>
                <a:lnTo>
                  <a:pt x="6837" y="4019"/>
                </a:lnTo>
                <a:lnTo>
                  <a:pt x="6842" y="4023"/>
                </a:lnTo>
                <a:lnTo>
                  <a:pt x="6844" y="4024"/>
                </a:lnTo>
                <a:lnTo>
                  <a:pt x="6848" y="4021"/>
                </a:lnTo>
                <a:lnTo>
                  <a:pt x="6859" y="4014"/>
                </a:lnTo>
                <a:lnTo>
                  <a:pt x="6864" y="4008"/>
                </a:lnTo>
                <a:lnTo>
                  <a:pt x="6868" y="4003"/>
                </a:lnTo>
                <a:lnTo>
                  <a:pt x="6871" y="4000"/>
                </a:lnTo>
                <a:lnTo>
                  <a:pt x="6871" y="3997"/>
                </a:lnTo>
                <a:lnTo>
                  <a:pt x="6872" y="3995"/>
                </a:lnTo>
                <a:lnTo>
                  <a:pt x="6871" y="3992"/>
                </a:lnTo>
                <a:lnTo>
                  <a:pt x="6869" y="3983"/>
                </a:lnTo>
                <a:lnTo>
                  <a:pt x="6868" y="3972"/>
                </a:lnTo>
                <a:lnTo>
                  <a:pt x="6869" y="3956"/>
                </a:lnTo>
                <a:lnTo>
                  <a:pt x="6871" y="3940"/>
                </a:lnTo>
                <a:lnTo>
                  <a:pt x="6873" y="3912"/>
                </a:lnTo>
                <a:lnTo>
                  <a:pt x="6874" y="3900"/>
                </a:lnTo>
                <a:lnTo>
                  <a:pt x="6876" y="3892"/>
                </a:lnTo>
                <a:lnTo>
                  <a:pt x="6880" y="3876"/>
                </a:lnTo>
                <a:lnTo>
                  <a:pt x="6882" y="3868"/>
                </a:lnTo>
                <a:lnTo>
                  <a:pt x="6886" y="3863"/>
                </a:lnTo>
                <a:lnTo>
                  <a:pt x="6887" y="3862"/>
                </a:lnTo>
                <a:lnTo>
                  <a:pt x="6889" y="3862"/>
                </a:lnTo>
                <a:lnTo>
                  <a:pt x="6891" y="3862"/>
                </a:lnTo>
                <a:lnTo>
                  <a:pt x="6894" y="3865"/>
                </a:lnTo>
                <a:lnTo>
                  <a:pt x="6897" y="3870"/>
                </a:lnTo>
                <a:lnTo>
                  <a:pt x="6902" y="3874"/>
                </a:lnTo>
                <a:lnTo>
                  <a:pt x="6906" y="3878"/>
                </a:lnTo>
                <a:lnTo>
                  <a:pt x="6910" y="3882"/>
                </a:lnTo>
                <a:lnTo>
                  <a:pt x="6915" y="3885"/>
                </a:lnTo>
                <a:lnTo>
                  <a:pt x="6918" y="3888"/>
                </a:lnTo>
                <a:lnTo>
                  <a:pt x="6920" y="3892"/>
                </a:lnTo>
                <a:lnTo>
                  <a:pt x="6922" y="3896"/>
                </a:lnTo>
                <a:lnTo>
                  <a:pt x="6925" y="3908"/>
                </a:lnTo>
                <a:lnTo>
                  <a:pt x="6928" y="3921"/>
                </a:lnTo>
                <a:lnTo>
                  <a:pt x="6932" y="3935"/>
                </a:lnTo>
                <a:lnTo>
                  <a:pt x="6938" y="3947"/>
                </a:lnTo>
                <a:lnTo>
                  <a:pt x="6942" y="3952"/>
                </a:lnTo>
                <a:lnTo>
                  <a:pt x="6947" y="3957"/>
                </a:lnTo>
                <a:lnTo>
                  <a:pt x="6954" y="3962"/>
                </a:lnTo>
                <a:lnTo>
                  <a:pt x="6963" y="3968"/>
                </a:lnTo>
                <a:lnTo>
                  <a:pt x="6970" y="3974"/>
                </a:lnTo>
                <a:lnTo>
                  <a:pt x="6976" y="3980"/>
                </a:lnTo>
                <a:lnTo>
                  <a:pt x="6978" y="3983"/>
                </a:lnTo>
                <a:lnTo>
                  <a:pt x="6979" y="3986"/>
                </a:lnTo>
                <a:lnTo>
                  <a:pt x="6981" y="3990"/>
                </a:lnTo>
                <a:lnTo>
                  <a:pt x="6981" y="3993"/>
                </a:lnTo>
                <a:lnTo>
                  <a:pt x="6978" y="4007"/>
                </a:lnTo>
                <a:lnTo>
                  <a:pt x="6977" y="4023"/>
                </a:lnTo>
                <a:lnTo>
                  <a:pt x="6977" y="4030"/>
                </a:lnTo>
                <a:lnTo>
                  <a:pt x="6978" y="4039"/>
                </a:lnTo>
                <a:lnTo>
                  <a:pt x="6981" y="4045"/>
                </a:lnTo>
                <a:lnTo>
                  <a:pt x="6983" y="4052"/>
                </a:lnTo>
                <a:lnTo>
                  <a:pt x="6985" y="4058"/>
                </a:lnTo>
                <a:lnTo>
                  <a:pt x="6988" y="4062"/>
                </a:lnTo>
                <a:lnTo>
                  <a:pt x="6991" y="4064"/>
                </a:lnTo>
                <a:lnTo>
                  <a:pt x="6993" y="4067"/>
                </a:lnTo>
                <a:lnTo>
                  <a:pt x="6997" y="4070"/>
                </a:lnTo>
                <a:lnTo>
                  <a:pt x="7000" y="4073"/>
                </a:lnTo>
                <a:lnTo>
                  <a:pt x="7014" y="4086"/>
                </a:lnTo>
                <a:lnTo>
                  <a:pt x="7039" y="4107"/>
                </a:lnTo>
                <a:lnTo>
                  <a:pt x="7064" y="4129"/>
                </a:lnTo>
                <a:lnTo>
                  <a:pt x="7078" y="4142"/>
                </a:lnTo>
                <a:lnTo>
                  <a:pt x="7080" y="4150"/>
                </a:lnTo>
                <a:lnTo>
                  <a:pt x="7082" y="4161"/>
                </a:lnTo>
                <a:lnTo>
                  <a:pt x="7084" y="4168"/>
                </a:lnTo>
                <a:lnTo>
                  <a:pt x="7086" y="4175"/>
                </a:lnTo>
                <a:lnTo>
                  <a:pt x="7089" y="4183"/>
                </a:lnTo>
                <a:lnTo>
                  <a:pt x="7093" y="4193"/>
                </a:lnTo>
                <a:lnTo>
                  <a:pt x="7098" y="4201"/>
                </a:lnTo>
                <a:lnTo>
                  <a:pt x="7103" y="4207"/>
                </a:lnTo>
                <a:lnTo>
                  <a:pt x="7109" y="4213"/>
                </a:lnTo>
                <a:lnTo>
                  <a:pt x="7115" y="4217"/>
                </a:lnTo>
                <a:lnTo>
                  <a:pt x="7119" y="4222"/>
                </a:lnTo>
                <a:lnTo>
                  <a:pt x="7123" y="4226"/>
                </a:lnTo>
                <a:lnTo>
                  <a:pt x="7126" y="4233"/>
                </a:lnTo>
                <a:lnTo>
                  <a:pt x="7128" y="4240"/>
                </a:lnTo>
                <a:lnTo>
                  <a:pt x="7130" y="4260"/>
                </a:lnTo>
                <a:lnTo>
                  <a:pt x="7132" y="4284"/>
                </a:lnTo>
                <a:lnTo>
                  <a:pt x="7133" y="4307"/>
                </a:lnTo>
                <a:lnTo>
                  <a:pt x="7132" y="4323"/>
                </a:lnTo>
                <a:lnTo>
                  <a:pt x="7129" y="4335"/>
                </a:lnTo>
                <a:lnTo>
                  <a:pt x="7125" y="4351"/>
                </a:lnTo>
                <a:lnTo>
                  <a:pt x="7122" y="4360"/>
                </a:lnTo>
                <a:lnTo>
                  <a:pt x="7118" y="4369"/>
                </a:lnTo>
                <a:lnTo>
                  <a:pt x="7114" y="4378"/>
                </a:lnTo>
                <a:lnTo>
                  <a:pt x="7107" y="4388"/>
                </a:lnTo>
                <a:lnTo>
                  <a:pt x="7095" y="4408"/>
                </a:lnTo>
                <a:lnTo>
                  <a:pt x="7083" y="4430"/>
                </a:lnTo>
                <a:lnTo>
                  <a:pt x="7078" y="4440"/>
                </a:lnTo>
                <a:lnTo>
                  <a:pt x="7075" y="4449"/>
                </a:lnTo>
                <a:lnTo>
                  <a:pt x="7072" y="4458"/>
                </a:lnTo>
                <a:lnTo>
                  <a:pt x="7071" y="4463"/>
                </a:lnTo>
                <a:lnTo>
                  <a:pt x="7070" y="4477"/>
                </a:lnTo>
                <a:lnTo>
                  <a:pt x="7067" y="4497"/>
                </a:lnTo>
                <a:lnTo>
                  <a:pt x="7066" y="4507"/>
                </a:lnTo>
                <a:lnTo>
                  <a:pt x="7064" y="4515"/>
                </a:lnTo>
                <a:lnTo>
                  <a:pt x="7062" y="4522"/>
                </a:lnTo>
                <a:lnTo>
                  <a:pt x="7059" y="4525"/>
                </a:lnTo>
                <a:lnTo>
                  <a:pt x="7049" y="4525"/>
                </a:lnTo>
                <a:lnTo>
                  <a:pt x="7032" y="4525"/>
                </a:lnTo>
                <a:lnTo>
                  <a:pt x="7023" y="4525"/>
                </a:lnTo>
                <a:lnTo>
                  <a:pt x="7016" y="4527"/>
                </a:lnTo>
                <a:lnTo>
                  <a:pt x="7012" y="4528"/>
                </a:lnTo>
                <a:lnTo>
                  <a:pt x="7009" y="4530"/>
                </a:lnTo>
                <a:lnTo>
                  <a:pt x="7006" y="4533"/>
                </a:lnTo>
                <a:lnTo>
                  <a:pt x="7004" y="4536"/>
                </a:lnTo>
                <a:lnTo>
                  <a:pt x="6999" y="4543"/>
                </a:lnTo>
                <a:lnTo>
                  <a:pt x="6995" y="4548"/>
                </a:lnTo>
                <a:lnTo>
                  <a:pt x="6991" y="4552"/>
                </a:lnTo>
                <a:lnTo>
                  <a:pt x="6986" y="4556"/>
                </a:lnTo>
                <a:lnTo>
                  <a:pt x="6979" y="4562"/>
                </a:lnTo>
                <a:lnTo>
                  <a:pt x="6976" y="4563"/>
                </a:lnTo>
                <a:lnTo>
                  <a:pt x="6974" y="4558"/>
                </a:lnTo>
                <a:lnTo>
                  <a:pt x="6970" y="4548"/>
                </a:lnTo>
                <a:lnTo>
                  <a:pt x="6966" y="4544"/>
                </a:lnTo>
                <a:lnTo>
                  <a:pt x="6961" y="4541"/>
                </a:lnTo>
                <a:lnTo>
                  <a:pt x="6959" y="4541"/>
                </a:lnTo>
                <a:lnTo>
                  <a:pt x="6955" y="4541"/>
                </a:lnTo>
                <a:lnTo>
                  <a:pt x="6951" y="4542"/>
                </a:lnTo>
                <a:lnTo>
                  <a:pt x="6947" y="4544"/>
                </a:lnTo>
                <a:lnTo>
                  <a:pt x="6941" y="4548"/>
                </a:lnTo>
                <a:lnTo>
                  <a:pt x="6937" y="4552"/>
                </a:lnTo>
                <a:lnTo>
                  <a:pt x="6934" y="4555"/>
                </a:lnTo>
                <a:lnTo>
                  <a:pt x="6932" y="4558"/>
                </a:lnTo>
                <a:lnTo>
                  <a:pt x="6930" y="4561"/>
                </a:lnTo>
                <a:lnTo>
                  <a:pt x="6927" y="4561"/>
                </a:lnTo>
                <a:lnTo>
                  <a:pt x="6922" y="4561"/>
                </a:lnTo>
                <a:lnTo>
                  <a:pt x="6915" y="4558"/>
                </a:lnTo>
                <a:lnTo>
                  <a:pt x="6899" y="4554"/>
                </a:lnTo>
                <a:lnTo>
                  <a:pt x="6886" y="4552"/>
                </a:lnTo>
                <a:lnTo>
                  <a:pt x="6876" y="4549"/>
                </a:lnTo>
                <a:lnTo>
                  <a:pt x="6866" y="4546"/>
                </a:lnTo>
                <a:lnTo>
                  <a:pt x="6864" y="4545"/>
                </a:lnTo>
                <a:lnTo>
                  <a:pt x="6862" y="4542"/>
                </a:lnTo>
                <a:lnTo>
                  <a:pt x="6859" y="4539"/>
                </a:lnTo>
                <a:lnTo>
                  <a:pt x="6857" y="4534"/>
                </a:lnTo>
                <a:lnTo>
                  <a:pt x="6853" y="4524"/>
                </a:lnTo>
                <a:lnTo>
                  <a:pt x="6848" y="4511"/>
                </a:lnTo>
                <a:lnTo>
                  <a:pt x="6844" y="4499"/>
                </a:lnTo>
                <a:lnTo>
                  <a:pt x="6839" y="4487"/>
                </a:lnTo>
                <a:lnTo>
                  <a:pt x="6837" y="4481"/>
                </a:lnTo>
                <a:lnTo>
                  <a:pt x="6834" y="4477"/>
                </a:lnTo>
                <a:lnTo>
                  <a:pt x="6831" y="4471"/>
                </a:lnTo>
                <a:lnTo>
                  <a:pt x="6828" y="4468"/>
                </a:lnTo>
                <a:lnTo>
                  <a:pt x="6814" y="4456"/>
                </a:lnTo>
                <a:lnTo>
                  <a:pt x="6803" y="4443"/>
                </a:lnTo>
                <a:lnTo>
                  <a:pt x="6796" y="4433"/>
                </a:lnTo>
                <a:lnTo>
                  <a:pt x="6794" y="4430"/>
                </a:lnTo>
                <a:lnTo>
                  <a:pt x="6795" y="4423"/>
                </a:lnTo>
                <a:lnTo>
                  <a:pt x="6797" y="4410"/>
                </a:lnTo>
                <a:lnTo>
                  <a:pt x="6798" y="4403"/>
                </a:lnTo>
                <a:lnTo>
                  <a:pt x="6798" y="4398"/>
                </a:lnTo>
                <a:lnTo>
                  <a:pt x="6798" y="4396"/>
                </a:lnTo>
                <a:lnTo>
                  <a:pt x="6797" y="4395"/>
                </a:lnTo>
                <a:lnTo>
                  <a:pt x="6796" y="4395"/>
                </a:lnTo>
                <a:lnTo>
                  <a:pt x="6795" y="4396"/>
                </a:lnTo>
                <a:lnTo>
                  <a:pt x="6787" y="4413"/>
                </a:lnTo>
                <a:lnTo>
                  <a:pt x="6775" y="4440"/>
                </a:lnTo>
                <a:lnTo>
                  <a:pt x="6772" y="4447"/>
                </a:lnTo>
                <a:lnTo>
                  <a:pt x="6769" y="4453"/>
                </a:lnTo>
                <a:lnTo>
                  <a:pt x="6766" y="4458"/>
                </a:lnTo>
                <a:lnTo>
                  <a:pt x="6762" y="4462"/>
                </a:lnTo>
                <a:lnTo>
                  <a:pt x="6758" y="4464"/>
                </a:lnTo>
                <a:lnTo>
                  <a:pt x="6754" y="4465"/>
                </a:lnTo>
                <a:lnTo>
                  <a:pt x="6750" y="4463"/>
                </a:lnTo>
                <a:lnTo>
                  <a:pt x="6747" y="4459"/>
                </a:lnTo>
                <a:lnTo>
                  <a:pt x="6729" y="4434"/>
                </a:lnTo>
                <a:lnTo>
                  <a:pt x="6710" y="4404"/>
                </a:lnTo>
                <a:lnTo>
                  <a:pt x="6701" y="4392"/>
                </a:lnTo>
                <a:lnTo>
                  <a:pt x="6692" y="4381"/>
                </a:lnTo>
                <a:lnTo>
                  <a:pt x="6689" y="4377"/>
                </a:lnTo>
                <a:lnTo>
                  <a:pt x="6686" y="4374"/>
                </a:lnTo>
                <a:lnTo>
                  <a:pt x="6683" y="4372"/>
                </a:lnTo>
                <a:lnTo>
                  <a:pt x="6681" y="4371"/>
                </a:lnTo>
                <a:lnTo>
                  <a:pt x="6662" y="4372"/>
                </a:lnTo>
                <a:lnTo>
                  <a:pt x="6628" y="4375"/>
                </a:lnTo>
                <a:lnTo>
                  <a:pt x="6610" y="4376"/>
                </a:lnTo>
                <a:lnTo>
                  <a:pt x="6592" y="4379"/>
                </a:lnTo>
                <a:lnTo>
                  <a:pt x="6577" y="4381"/>
                </a:lnTo>
                <a:lnTo>
                  <a:pt x="6565" y="4385"/>
                </a:lnTo>
                <a:lnTo>
                  <a:pt x="6547" y="4391"/>
                </a:lnTo>
                <a:lnTo>
                  <a:pt x="6532" y="4395"/>
                </a:lnTo>
                <a:lnTo>
                  <a:pt x="6526" y="4397"/>
                </a:lnTo>
                <a:lnTo>
                  <a:pt x="6521" y="4398"/>
                </a:lnTo>
                <a:lnTo>
                  <a:pt x="6515" y="4398"/>
                </a:lnTo>
                <a:lnTo>
                  <a:pt x="6511" y="4398"/>
                </a:lnTo>
                <a:lnTo>
                  <a:pt x="6508" y="4397"/>
                </a:lnTo>
                <a:lnTo>
                  <a:pt x="6504" y="4399"/>
                </a:lnTo>
                <a:lnTo>
                  <a:pt x="6501" y="4402"/>
                </a:lnTo>
                <a:lnTo>
                  <a:pt x="6496" y="4405"/>
                </a:lnTo>
                <a:lnTo>
                  <a:pt x="6491" y="4415"/>
                </a:lnTo>
                <a:lnTo>
                  <a:pt x="6487" y="4423"/>
                </a:lnTo>
                <a:lnTo>
                  <a:pt x="6486" y="4424"/>
                </a:lnTo>
                <a:lnTo>
                  <a:pt x="6482" y="4426"/>
                </a:lnTo>
                <a:lnTo>
                  <a:pt x="6478" y="4426"/>
                </a:lnTo>
                <a:lnTo>
                  <a:pt x="6471" y="4427"/>
                </a:lnTo>
                <a:lnTo>
                  <a:pt x="6457" y="4427"/>
                </a:lnTo>
                <a:lnTo>
                  <a:pt x="6440" y="4429"/>
                </a:lnTo>
                <a:lnTo>
                  <a:pt x="6423" y="4427"/>
                </a:lnTo>
                <a:lnTo>
                  <a:pt x="6407" y="4429"/>
                </a:lnTo>
                <a:lnTo>
                  <a:pt x="6396" y="4429"/>
                </a:lnTo>
                <a:lnTo>
                  <a:pt x="6390" y="4431"/>
                </a:lnTo>
                <a:lnTo>
                  <a:pt x="6383" y="4438"/>
                </a:lnTo>
                <a:lnTo>
                  <a:pt x="6375" y="4447"/>
                </a:lnTo>
                <a:lnTo>
                  <a:pt x="6370" y="4453"/>
                </a:lnTo>
                <a:lnTo>
                  <a:pt x="6363" y="4457"/>
                </a:lnTo>
                <a:lnTo>
                  <a:pt x="6360" y="4458"/>
                </a:lnTo>
                <a:lnTo>
                  <a:pt x="6357" y="4459"/>
                </a:lnTo>
                <a:lnTo>
                  <a:pt x="6354" y="4459"/>
                </a:lnTo>
                <a:lnTo>
                  <a:pt x="6350" y="4459"/>
                </a:lnTo>
                <a:lnTo>
                  <a:pt x="6334" y="4458"/>
                </a:lnTo>
                <a:lnTo>
                  <a:pt x="6320" y="4458"/>
                </a:lnTo>
                <a:lnTo>
                  <a:pt x="6314" y="4457"/>
                </a:lnTo>
                <a:lnTo>
                  <a:pt x="6308" y="4456"/>
                </a:lnTo>
                <a:lnTo>
                  <a:pt x="6303" y="4454"/>
                </a:lnTo>
                <a:lnTo>
                  <a:pt x="6298" y="4449"/>
                </a:lnTo>
                <a:lnTo>
                  <a:pt x="6291" y="4442"/>
                </a:lnTo>
                <a:lnTo>
                  <a:pt x="6287" y="4434"/>
                </a:lnTo>
                <a:lnTo>
                  <a:pt x="6286" y="4431"/>
                </a:lnTo>
                <a:lnTo>
                  <a:pt x="6285" y="4427"/>
                </a:lnTo>
                <a:lnTo>
                  <a:pt x="6285" y="4425"/>
                </a:lnTo>
                <a:lnTo>
                  <a:pt x="6286" y="4423"/>
                </a:lnTo>
                <a:close/>
                <a:moveTo>
                  <a:pt x="4732" y="4085"/>
                </a:moveTo>
                <a:lnTo>
                  <a:pt x="4733" y="4079"/>
                </a:lnTo>
                <a:lnTo>
                  <a:pt x="4733" y="4070"/>
                </a:lnTo>
                <a:lnTo>
                  <a:pt x="4731" y="4060"/>
                </a:lnTo>
                <a:lnTo>
                  <a:pt x="4731" y="4050"/>
                </a:lnTo>
                <a:lnTo>
                  <a:pt x="4730" y="4040"/>
                </a:lnTo>
                <a:lnTo>
                  <a:pt x="4732" y="4029"/>
                </a:lnTo>
                <a:lnTo>
                  <a:pt x="4734" y="4025"/>
                </a:lnTo>
                <a:lnTo>
                  <a:pt x="4736" y="4020"/>
                </a:lnTo>
                <a:lnTo>
                  <a:pt x="4739" y="4016"/>
                </a:lnTo>
                <a:lnTo>
                  <a:pt x="4744" y="4012"/>
                </a:lnTo>
                <a:lnTo>
                  <a:pt x="4754" y="4002"/>
                </a:lnTo>
                <a:lnTo>
                  <a:pt x="4768" y="3990"/>
                </a:lnTo>
                <a:lnTo>
                  <a:pt x="4781" y="3974"/>
                </a:lnTo>
                <a:lnTo>
                  <a:pt x="4796" y="3957"/>
                </a:lnTo>
                <a:lnTo>
                  <a:pt x="4822" y="3928"/>
                </a:lnTo>
                <a:lnTo>
                  <a:pt x="4835" y="3911"/>
                </a:lnTo>
                <a:lnTo>
                  <a:pt x="4840" y="3903"/>
                </a:lnTo>
                <a:lnTo>
                  <a:pt x="4847" y="3894"/>
                </a:lnTo>
                <a:lnTo>
                  <a:pt x="4850" y="3891"/>
                </a:lnTo>
                <a:lnTo>
                  <a:pt x="4855" y="3890"/>
                </a:lnTo>
                <a:lnTo>
                  <a:pt x="4856" y="3890"/>
                </a:lnTo>
                <a:lnTo>
                  <a:pt x="4858" y="3891"/>
                </a:lnTo>
                <a:lnTo>
                  <a:pt x="4859" y="3892"/>
                </a:lnTo>
                <a:lnTo>
                  <a:pt x="4860" y="3894"/>
                </a:lnTo>
                <a:lnTo>
                  <a:pt x="4862" y="3899"/>
                </a:lnTo>
                <a:lnTo>
                  <a:pt x="4864" y="3907"/>
                </a:lnTo>
                <a:lnTo>
                  <a:pt x="4865" y="3915"/>
                </a:lnTo>
                <a:lnTo>
                  <a:pt x="4866" y="3925"/>
                </a:lnTo>
                <a:lnTo>
                  <a:pt x="4866" y="3946"/>
                </a:lnTo>
                <a:lnTo>
                  <a:pt x="4866" y="3965"/>
                </a:lnTo>
                <a:lnTo>
                  <a:pt x="4866" y="3976"/>
                </a:lnTo>
                <a:lnTo>
                  <a:pt x="4864" y="3987"/>
                </a:lnTo>
                <a:lnTo>
                  <a:pt x="4861" y="3998"/>
                </a:lnTo>
                <a:lnTo>
                  <a:pt x="4858" y="4008"/>
                </a:lnTo>
                <a:lnTo>
                  <a:pt x="4850" y="4028"/>
                </a:lnTo>
                <a:lnTo>
                  <a:pt x="4845" y="4042"/>
                </a:lnTo>
                <a:lnTo>
                  <a:pt x="4839" y="4060"/>
                </a:lnTo>
                <a:lnTo>
                  <a:pt x="4832" y="4089"/>
                </a:lnTo>
                <a:lnTo>
                  <a:pt x="4825" y="4118"/>
                </a:lnTo>
                <a:lnTo>
                  <a:pt x="4821" y="4139"/>
                </a:lnTo>
                <a:lnTo>
                  <a:pt x="4820" y="4148"/>
                </a:lnTo>
                <a:lnTo>
                  <a:pt x="4816" y="4158"/>
                </a:lnTo>
                <a:lnTo>
                  <a:pt x="4812" y="4170"/>
                </a:lnTo>
                <a:lnTo>
                  <a:pt x="4806" y="4181"/>
                </a:lnTo>
                <a:lnTo>
                  <a:pt x="4796" y="4202"/>
                </a:lnTo>
                <a:lnTo>
                  <a:pt x="4790" y="4213"/>
                </a:lnTo>
                <a:lnTo>
                  <a:pt x="4782" y="4220"/>
                </a:lnTo>
                <a:lnTo>
                  <a:pt x="4771" y="4228"/>
                </a:lnTo>
                <a:lnTo>
                  <a:pt x="4765" y="4234"/>
                </a:lnTo>
                <a:lnTo>
                  <a:pt x="4758" y="4237"/>
                </a:lnTo>
                <a:lnTo>
                  <a:pt x="4753" y="4240"/>
                </a:lnTo>
                <a:lnTo>
                  <a:pt x="4750" y="4241"/>
                </a:lnTo>
                <a:lnTo>
                  <a:pt x="4740" y="4240"/>
                </a:lnTo>
                <a:lnTo>
                  <a:pt x="4730" y="4238"/>
                </a:lnTo>
                <a:lnTo>
                  <a:pt x="4725" y="4236"/>
                </a:lnTo>
                <a:lnTo>
                  <a:pt x="4722" y="4234"/>
                </a:lnTo>
                <a:lnTo>
                  <a:pt x="4721" y="4233"/>
                </a:lnTo>
                <a:lnTo>
                  <a:pt x="4721" y="4230"/>
                </a:lnTo>
                <a:lnTo>
                  <a:pt x="4721" y="4229"/>
                </a:lnTo>
                <a:lnTo>
                  <a:pt x="4722" y="4227"/>
                </a:lnTo>
                <a:lnTo>
                  <a:pt x="4728" y="4221"/>
                </a:lnTo>
                <a:lnTo>
                  <a:pt x="4731" y="4216"/>
                </a:lnTo>
                <a:lnTo>
                  <a:pt x="4731" y="4214"/>
                </a:lnTo>
                <a:lnTo>
                  <a:pt x="4731" y="4211"/>
                </a:lnTo>
                <a:lnTo>
                  <a:pt x="4730" y="4208"/>
                </a:lnTo>
                <a:lnTo>
                  <a:pt x="4729" y="4205"/>
                </a:lnTo>
                <a:lnTo>
                  <a:pt x="4726" y="4194"/>
                </a:lnTo>
                <a:lnTo>
                  <a:pt x="4722" y="4178"/>
                </a:lnTo>
                <a:lnTo>
                  <a:pt x="4718" y="4162"/>
                </a:lnTo>
                <a:lnTo>
                  <a:pt x="4714" y="4153"/>
                </a:lnTo>
                <a:lnTo>
                  <a:pt x="4713" y="4149"/>
                </a:lnTo>
                <a:lnTo>
                  <a:pt x="4713" y="4142"/>
                </a:lnTo>
                <a:lnTo>
                  <a:pt x="4714" y="4135"/>
                </a:lnTo>
                <a:lnTo>
                  <a:pt x="4715" y="4127"/>
                </a:lnTo>
                <a:lnTo>
                  <a:pt x="4717" y="4118"/>
                </a:lnTo>
                <a:lnTo>
                  <a:pt x="4719" y="4111"/>
                </a:lnTo>
                <a:lnTo>
                  <a:pt x="4722" y="4105"/>
                </a:lnTo>
                <a:lnTo>
                  <a:pt x="4725" y="4101"/>
                </a:lnTo>
                <a:lnTo>
                  <a:pt x="4730" y="4094"/>
                </a:lnTo>
                <a:lnTo>
                  <a:pt x="4732" y="4089"/>
                </a:lnTo>
                <a:lnTo>
                  <a:pt x="4732" y="4086"/>
                </a:lnTo>
                <a:lnTo>
                  <a:pt x="4732" y="4085"/>
                </a:lnTo>
                <a:close/>
                <a:moveTo>
                  <a:pt x="4149" y="4417"/>
                </a:moveTo>
                <a:lnTo>
                  <a:pt x="4149" y="4405"/>
                </a:lnTo>
                <a:lnTo>
                  <a:pt x="4149" y="4392"/>
                </a:lnTo>
                <a:lnTo>
                  <a:pt x="4149" y="4385"/>
                </a:lnTo>
                <a:lnTo>
                  <a:pt x="4148" y="4376"/>
                </a:lnTo>
                <a:lnTo>
                  <a:pt x="4146" y="4369"/>
                </a:lnTo>
                <a:lnTo>
                  <a:pt x="4143" y="4361"/>
                </a:lnTo>
                <a:lnTo>
                  <a:pt x="4133" y="4343"/>
                </a:lnTo>
                <a:lnTo>
                  <a:pt x="4120" y="4316"/>
                </a:lnTo>
                <a:lnTo>
                  <a:pt x="4108" y="4289"/>
                </a:lnTo>
                <a:lnTo>
                  <a:pt x="4096" y="4267"/>
                </a:lnTo>
                <a:lnTo>
                  <a:pt x="4091" y="4258"/>
                </a:lnTo>
                <a:lnTo>
                  <a:pt x="4087" y="4248"/>
                </a:lnTo>
                <a:lnTo>
                  <a:pt x="4082" y="4238"/>
                </a:lnTo>
                <a:lnTo>
                  <a:pt x="4079" y="4227"/>
                </a:lnTo>
                <a:lnTo>
                  <a:pt x="4076" y="4217"/>
                </a:lnTo>
                <a:lnTo>
                  <a:pt x="4075" y="4206"/>
                </a:lnTo>
                <a:lnTo>
                  <a:pt x="4074" y="4196"/>
                </a:lnTo>
                <a:lnTo>
                  <a:pt x="4073" y="4188"/>
                </a:lnTo>
                <a:lnTo>
                  <a:pt x="4074" y="4172"/>
                </a:lnTo>
                <a:lnTo>
                  <a:pt x="4075" y="4159"/>
                </a:lnTo>
                <a:lnTo>
                  <a:pt x="4076" y="4150"/>
                </a:lnTo>
                <a:lnTo>
                  <a:pt x="4075" y="4141"/>
                </a:lnTo>
                <a:lnTo>
                  <a:pt x="4065" y="4127"/>
                </a:lnTo>
                <a:lnTo>
                  <a:pt x="4057" y="4112"/>
                </a:lnTo>
                <a:lnTo>
                  <a:pt x="4056" y="4104"/>
                </a:lnTo>
                <a:lnTo>
                  <a:pt x="4052" y="4092"/>
                </a:lnTo>
                <a:lnTo>
                  <a:pt x="4048" y="4081"/>
                </a:lnTo>
                <a:lnTo>
                  <a:pt x="4043" y="4071"/>
                </a:lnTo>
                <a:lnTo>
                  <a:pt x="4034" y="4063"/>
                </a:lnTo>
                <a:lnTo>
                  <a:pt x="4023" y="4052"/>
                </a:lnTo>
                <a:lnTo>
                  <a:pt x="4017" y="4046"/>
                </a:lnTo>
                <a:lnTo>
                  <a:pt x="4013" y="4041"/>
                </a:lnTo>
                <a:lnTo>
                  <a:pt x="4011" y="4036"/>
                </a:lnTo>
                <a:lnTo>
                  <a:pt x="4011" y="4030"/>
                </a:lnTo>
                <a:lnTo>
                  <a:pt x="4015" y="4010"/>
                </a:lnTo>
                <a:lnTo>
                  <a:pt x="4021" y="3979"/>
                </a:lnTo>
                <a:lnTo>
                  <a:pt x="4026" y="3948"/>
                </a:lnTo>
                <a:lnTo>
                  <a:pt x="4030" y="3933"/>
                </a:lnTo>
                <a:lnTo>
                  <a:pt x="4038" y="3926"/>
                </a:lnTo>
                <a:lnTo>
                  <a:pt x="4051" y="3914"/>
                </a:lnTo>
                <a:lnTo>
                  <a:pt x="4058" y="3907"/>
                </a:lnTo>
                <a:lnTo>
                  <a:pt x="4064" y="3899"/>
                </a:lnTo>
                <a:lnTo>
                  <a:pt x="4066" y="3896"/>
                </a:lnTo>
                <a:lnTo>
                  <a:pt x="4067" y="3893"/>
                </a:lnTo>
                <a:lnTo>
                  <a:pt x="4067" y="3890"/>
                </a:lnTo>
                <a:lnTo>
                  <a:pt x="4067" y="3887"/>
                </a:lnTo>
                <a:lnTo>
                  <a:pt x="4064" y="3875"/>
                </a:lnTo>
                <a:lnTo>
                  <a:pt x="4058" y="3865"/>
                </a:lnTo>
                <a:lnTo>
                  <a:pt x="4053" y="3856"/>
                </a:lnTo>
                <a:lnTo>
                  <a:pt x="4050" y="3850"/>
                </a:lnTo>
                <a:lnTo>
                  <a:pt x="4048" y="3845"/>
                </a:lnTo>
                <a:lnTo>
                  <a:pt x="4045" y="3839"/>
                </a:lnTo>
                <a:lnTo>
                  <a:pt x="4044" y="3831"/>
                </a:lnTo>
                <a:lnTo>
                  <a:pt x="4044" y="3826"/>
                </a:lnTo>
                <a:lnTo>
                  <a:pt x="4046" y="3822"/>
                </a:lnTo>
                <a:lnTo>
                  <a:pt x="4047" y="3818"/>
                </a:lnTo>
                <a:lnTo>
                  <a:pt x="4048" y="3816"/>
                </a:lnTo>
                <a:lnTo>
                  <a:pt x="4048" y="3813"/>
                </a:lnTo>
                <a:lnTo>
                  <a:pt x="4047" y="3811"/>
                </a:lnTo>
                <a:lnTo>
                  <a:pt x="4046" y="3809"/>
                </a:lnTo>
                <a:lnTo>
                  <a:pt x="4036" y="3794"/>
                </a:lnTo>
                <a:lnTo>
                  <a:pt x="4029" y="3778"/>
                </a:lnTo>
                <a:lnTo>
                  <a:pt x="4027" y="3769"/>
                </a:lnTo>
                <a:lnTo>
                  <a:pt x="4023" y="3754"/>
                </a:lnTo>
                <a:lnTo>
                  <a:pt x="4020" y="3744"/>
                </a:lnTo>
                <a:lnTo>
                  <a:pt x="4015" y="3735"/>
                </a:lnTo>
                <a:lnTo>
                  <a:pt x="4010" y="3727"/>
                </a:lnTo>
                <a:lnTo>
                  <a:pt x="4004" y="3719"/>
                </a:lnTo>
                <a:lnTo>
                  <a:pt x="3986" y="3706"/>
                </a:lnTo>
                <a:lnTo>
                  <a:pt x="3965" y="3693"/>
                </a:lnTo>
                <a:lnTo>
                  <a:pt x="3956" y="3686"/>
                </a:lnTo>
                <a:lnTo>
                  <a:pt x="3949" y="3679"/>
                </a:lnTo>
                <a:lnTo>
                  <a:pt x="3947" y="3675"/>
                </a:lnTo>
                <a:lnTo>
                  <a:pt x="3945" y="3671"/>
                </a:lnTo>
                <a:lnTo>
                  <a:pt x="3945" y="3668"/>
                </a:lnTo>
                <a:lnTo>
                  <a:pt x="3946" y="3664"/>
                </a:lnTo>
                <a:lnTo>
                  <a:pt x="3954" y="3645"/>
                </a:lnTo>
                <a:lnTo>
                  <a:pt x="3959" y="3626"/>
                </a:lnTo>
                <a:lnTo>
                  <a:pt x="3963" y="3609"/>
                </a:lnTo>
                <a:lnTo>
                  <a:pt x="3964" y="3599"/>
                </a:lnTo>
                <a:lnTo>
                  <a:pt x="3966" y="3588"/>
                </a:lnTo>
                <a:lnTo>
                  <a:pt x="3971" y="3575"/>
                </a:lnTo>
                <a:lnTo>
                  <a:pt x="3973" y="3567"/>
                </a:lnTo>
                <a:lnTo>
                  <a:pt x="3973" y="3560"/>
                </a:lnTo>
                <a:lnTo>
                  <a:pt x="3973" y="3557"/>
                </a:lnTo>
                <a:lnTo>
                  <a:pt x="3972" y="3555"/>
                </a:lnTo>
                <a:lnTo>
                  <a:pt x="3971" y="3553"/>
                </a:lnTo>
                <a:lnTo>
                  <a:pt x="3969" y="3551"/>
                </a:lnTo>
                <a:lnTo>
                  <a:pt x="3959" y="3544"/>
                </a:lnTo>
                <a:lnTo>
                  <a:pt x="3949" y="3538"/>
                </a:lnTo>
                <a:lnTo>
                  <a:pt x="3945" y="3536"/>
                </a:lnTo>
                <a:lnTo>
                  <a:pt x="3940" y="3534"/>
                </a:lnTo>
                <a:lnTo>
                  <a:pt x="3936" y="3533"/>
                </a:lnTo>
                <a:lnTo>
                  <a:pt x="3932" y="3533"/>
                </a:lnTo>
                <a:lnTo>
                  <a:pt x="3921" y="3535"/>
                </a:lnTo>
                <a:lnTo>
                  <a:pt x="3912" y="3537"/>
                </a:lnTo>
                <a:lnTo>
                  <a:pt x="3907" y="3537"/>
                </a:lnTo>
                <a:lnTo>
                  <a:pt x="3902" y="3537"/>
                </a:lnTo>
                <a:lnTo>
                  <a:pt x="3899" y="3535"/>
                </a:lnTo>
                <a:lnTo>
                  <a:pt x="3895" y="3533"/>
                </a:lnTo>
                <a:lnTo>
                  <a:pt x="3888" y="3524"/>
                </a:lnTo>
                <a:lnTo>
                  <a:pt x="3876" y="3513"/>
                </a:lnTo>
                <a:lnTo>
                  <a:pt x="3871" y="3507"/>
                </a:lnTo>
                <a:lnTo>
                  <a:pt x="3866" y="3502"/>
                </a:lnTo>
                <a:lnTo>
                  <a:pt x="3860" y="3498"/>
                </a:lnTo>
                <a:lnTo>
                  <a:pt x="3856" y="3496"/>
                </a:lnTo>
                <a:lnTo>
                  <a:pt x="3846" y="3494"/>
                </a:lnTo>
                <a:lnTo>
                  <a:pt x="3832" y="3492"/>
                </a:lnTo>
                <a:lnTo>
                  <a:pt x="3822" y="3491"/>
                </a:lnTo>
                <a:lnTo>
                  <a:pt x="3816" y="3490"/>
                </a:lnTo>
                <a:lnTo>
                  <a:pt x="3812" y="3491"/>
                </a:lnTo>
                <a:lnTo>
                  <a:pt x="3804" y="3494"/>
                </a:lnTo>
                <a:lnTo>
                  <a:pt x="3792" y="3498"/>
                </a:lnTo>
                <a:lnTo>
                  <a:pt x="3782" y="3504"/>
                </a:lnTo>
                <a:lnTo>
                  <a:pt x="3770" y="3513"/>
                </a:lnTo>
                <a:lnTo>
                  <a:pt x="3756" y="3521"/>
                </a:lnTo>
                <a:lnTo>
                  <a:pt x="3747" y="3525"/>
                </a:lnTo>
                <a:lnTo>
                  <a:pt x="3739" y="3527"/>
                </a:lnTo>
                <a:lnTo>
                  <a:pt x="3730" y="3529"/>
                </a:lnTo>
                <a:lnTo>
                  <a:pt x="3723" y="3527"/>
                </a:lnTo>
                <a:lnTo>
                  <a:pt x="3706" y="3524"/>
                </a:lnTo>
                <a:lnTo>
                  <a:pt x="3690" y="3523"/>
                </a:lnTo>
                <a:lnTo>
                  <a:pt x="3681" y="3523"/>
                </a:lnTo>
                <a:lnTo>
                  <a:pt x="3674" y="3523"/>
                </a:lnTo>
                <a:lnTo>
                  <a:pt x="3668" y="3524"/>
                </a:lnTo>
                <a:lnTo>
                  <a:pt x="3662" y="3526"/>
                </a:lnTo>
                <a:lnTo>
                  <a:pt x="3649" y="3531"/>
                </a:lnTo>
                <a:lnTo>
                  <a:pt x="3629" y="3536"/>
                </a:lnTo>
                <a:lnTo>
                  <a:pt x="3607" y="3540"/>
                </a:lnTo>
                <a:lnTo>
                  <a:pt x="3590" y="3543"/>
                </a:lnTo>
                <a:lnTo>
                  <a:pt x="3585" y="3543"/>
                </a:lnTo>
                <a:lnTo>
                  <a:pt x="3578" y="3540"/>
                </a:lnTo>
                <a:lnTo>
                  <a:pt x="3571" y="3537"/>
                </a:lnTo>
                <a:lnTo>
                  <a:pt x="3562" y="3532"/>
                </a:lnTo>
                <a:lnTo>
                  <a:pt x="3542" y="3517"/>
                </a:lnTo>
                <a:lnTo>
                  <a:pt x="3519" y="3501"/>
                </a:lnTo>
                <a:lnTo>
                  <a:pt x="3497" y="3483"/>
                </a:lnTo>
                <a:lnTo>
                  <a:pt x="3477" y="3468"/>
                </a:lnTo>
                <a:lnTo>
                  <a:pt x="3462" y="3454"/>
                </a:lnTo>
                <a:lnTo>
                  <a:pt x="3454" y="3445"/>
                </a:lnTo>
                <a:lnTo>
                  <a:pt x="3445" y="3428"/>
                </a:lnTo>
                <a:lnTo>
                  <a:pt x="3434" y="3406"/>
                </a:lnTo>
                <a:lnTo>
                  <a:pt x="3429" y="3395"/>
                </a:lnTo>
                <a:lnTo>
                  <a:pt x="3423" y="3386"/>
                </a:lnTo>
                <a:lnTo>
                  <a:pt x="3418" y="3379"/>
                </a:lnTo>
                <a:lnTo>
                  <a:pt x="3414" y="3374"/>
                </a:lnTo>
                <a:lnTo>
                  <a:pt x="3403" y="3367"/>
                </a:lnTo>
                <a:lnTo>
                  <a:pt x="3389" y="3359"/>
                </a:lnTo>
                <a:lnTo>
                  <a:pt x="3383" y="3354"/>
                </a:lnTo>
                <a:lnTo>
                  <a:pt x="3377" y="3348"/>
                </a:lnTo>
                <a:lnTo>
                  <a:pt x="3375" y="3345"/>
                </a:lnTo>
                <a:lnTo>
                  <a:pt x="3374" y="3342"/>
                </a:lnTo>
                <a:lnTo>
                  <a:pt x="3373" y="3339"/>
                </a:lnTo>
                <a:lnTo>
                  <a:pt x="3373" y="3335"/>
                </a:lnTo>
                <a:lnTo>
                  <a:pt x="3377" y="3317"/>
                </a:lnTo>
                <a:lnTo>
                  <a:pt x="3384" y="3294"/>
                </a:lnTo>
                <a:lnTo>
                  <a:pt x="3390" y="3274"/>
                </a:lnTo>
                <a:lnTo>
                  <a:pt x="3394" y="3262"/>
                </a:lnTo>
                <a:lnTo>
                  <a:pt x="3397" y="3248"/>
                </a:lnTo>
                <a:lnTo>
                  <a:pt x="3401" y="3220"/>
                </a:lnTo>
                <a:lnTo>
                  <a:pt x="3402" y="3206"/>
                </a:lnTo>
                <a:lnTo>
                  <a:pt x="3403" y="3191"/>
                </a:lnTo>
                <a:lnTo>
                  <a:pt x="3403" y="3180"/>
                </a:lnTo>
                <a:lnTo>
                  <a:pt x="3403" y="3171"/>
                </a:lnTo>
                <a:lnTo>
                  <a:pt x="3399" y="3157"/>
                </a:lnTo>
                <a:lnTo>
                  <a:pt x="3396" y="3139"/>
                </a:lnTo>
                <a:lnTo>
                  <a:pt x="3395" y="3130"/>
                </a:lnTo>
                <a:lnTo>
                  <a:pt x="3394" y="3124"/>
                </a:lnTo>
                <a:lnTo>
                  <a:pt x="3394" y="3119"/>
                </a:lnTo>
                <a:lnTo>
                  <a:pt x="3396" y="3116"/>
                </a:lnTo>
                <a:lnTo>
                  <a:pt x="3406" y="3100"/>
                </a:lnTo>
                <a:lnTo>
                  <a:pt x="3425" y="3067"/>
                </a:lnTo>
                <a:lnTo>
                  <a:pt x="3436" y="3050"/>
                </a:lnTo>
                <a:lnTo>
                  <a:pt x="3446" y="3033"/>
                </a:lnTo>
                <a:lnTo>
                  <a:pt x="3457" y="3019"/>
                </a:lnTo>
                <a:lnTo>
                  <a:pt x="3464" y="3010"/>
                </a:lnTo>
                <a:lnTo>
                  <a:pt x="3482" y="2995"/>
                </a:lnTo>
                <a:lnTo>
                  <a:pt x="3504" y="2978"/>
                </a:lnTo>
                <a:lnTo>
                  <a:pt x="3523" y="2965"/>
                </a:lnTo>
                <a:lnTo>
                  <a:pt x="3530" y="2959"/>
                </a:lnTo>
                <a:lnTo>
                  <a:pt x="3529" y="2957"/>
                </a:lnTo>
                <a:lnTo>
                  <a:pt x="3529" y="2951"/>
                </a:lnTo>
                <a:lnTo>
                  <a:pt x="3530" y="2948"/>
                </a:lnTo>
                <a:lnTo>
                  <a:pt x="3531" y="2943"/>
                </a:lnTo>
                <a:lnTo>
                  <a:pt x="3533" y="2937"/>
                </a:lnTo>
                <a:lnTo>
                  <a:pt x="3537" y="2930"/>
                </a:lnTo>
                <a:lnTo>
                  <a:pt x="3543" y="2916"/>
                </a:lnTo>
                <a:lnTo>
                  <a:pt x="3548" y="2901"/>
                </a:lnTo>
                <a:lnTo>
                  <a:pt x="3550" y="2894"/>
                </a:lnTo>
                <a:lnTo>
                  <a:pt x="3553" y="2887"/>
                </a:lnTo>
                <a:lnTo>
                  <a:pt x="3558" y="2881"/>
                </a:lnTo>
                <a:lnTo>
                  <a:pt x="3562" y="2876"/>
                </a:lnTo>
                <a:lnTo>
                  <a:pt x="3573" y="2865"/>
                </a:lnTo>
                <a:lnTo>
                  <a:pt x="3585" y="2855"/>
                </a:lnTo>
                <a:lnTo>
                  <a:pt x="3597" y="2844"/>
                </a:lnTo>
                <a:lnTo>
                  <a:pt x="3608" y="2833"/>
                </a:lnTo>
                <a:lnTo>
                  <a:pt x="3617" y="2821"/>
                </a:lnTo>
                <a:lnTo>
                  <a:pt x="3625" y="2812"/>
                </a:lnTo>
                <a:lnTo>
                  <a:pt x="3630" y="2803"/>
                </a:lnTo>
                <a:lnTo>
                  <a:pt x="3632" y="2798"/>
                </a:lnTo>
                <a:lnTo>
                  <a:pt x="3633" y="2793"/>
                </a:lnTo>
                <a:lnTo>
                  <a:pt x="3636" y="2788"/>
                </a:lnTo>
                <a:lnTo>
                  <a:pt x="3638" y="2787"/>
                </a:lnTo>
                <a:lnTo>
                  <a:pt x="3640" y="2786"/>
                </a:lnTo>
                <a:lnTo>
                  <a:pt x="3642" y="2787"/>
                </a:lnTo>
                <a:lnTo>
                  <a:pt x="3646" y="2790"/>
                </a:lnTo>
                <a:lnTo>
                  <a:pt x="3648" y="2793"/>
                </a:lnTo>
                <a:lnTo>
                  <a:pt x="3652" y="2795"/>
                </a:lnTo>
                <a:lnTo>
                  <a:pt x="3656" y="2797"/>
                </a:lnTo>
                <a:lnTo>
                  <a:pt x="3660" y="2798"/>
                </a:lnTo>
                <a:lnTo>
                  <a:pt x="3669" y="2799"/>
                </a:lnTo>
                <a:lnTo>
                  <a:pt x="3676" y="2799"/>
                </a:lnTo>
                <a:lnTo>
                  <a:pt x="3688" y="2798"/>
                </a:lnTo>
                <a:lnTo>
                  <a:pt x="3708" y="2797"/>
                </a:lnTo>
                <a:lnTo>
                  <a:pt x="3729" y="2796"/>
                </a:lnTo>
                <a:lnTo>
                  <a:pt x="3744" y="2793"/>
                </a:lnTo>
                <a:lnTo>
                  <a:pt x="3757" y="2787"/>
                </a:lnTo>
                <a:lnTo>
                  <a:pt x="3769" y="2777"/>
                </a:lnTo>
                <a:lnTo>
                  <a:pt x="3776" y="2773"/>
                </a:lnTo>
                <a:lnTo>
                  <a:pt x="3783" y="2770"/>
                </a:lnTo>
                <a:lnTo>
                  <a:pt x="3788" y="2767"/>
                </a:lnTo>
                <a:lnTo>
                  <a:pt x="3792" y="2766"/>
                </a:lnTo>
                <a:lnTo>
                  <a:pt x="3806" y="2764"/>
                </a:lnTo>
                <a:lnTo>
                  <a:pt x="3828" y="2761"/>
                </a:lnTo>
                <a:lnTo>
                  <a:pt x="3853" y="2756"/>
                </a:lnTo>
                <a:lnTo>
                  <a:pt x="3879" y="2753"/>
                </a:lnTo>
                <a:lnTo>
                  <a:pt x="3906" y="2750"/>
                </a:lnTo>
                <a:lnTo>
                  <a:pt x="3935" y="2746"/>
                </a:lnTo>
                <a:lnTo>
                  <a:pt x="3948" y="2745"/>
                </a:lnTo>
                <a:lnTo>
                  <a:pt x="3961" y="2744"/>
                </a:lnTo>
                <a:lnTo>
                  <a:pt x="3971" y="2744"/>
                </a:lnTo>
                <a:lnTo>
                  <a:pt x="3979" y="2746"/>
                </a:lnTo>
                <a:lnTo>
                  <a:pt x="3990" y="2751"/>
                </a:lnTo>
                <a:lnTo>
                  <a:pt x="4001" y="2756"/>
                </a:lnTo>
                <a:lnTo>
                  <a:pt x="4004" y="2758"/>
                </a:lnTo>
                <a:lnTo>
                  <a:pt x="4007" y="2761"/>
                </a:lnTo>
                <a:lnTo>
                  <a:pt x="4008" y="2763"/>
                </a:lnTo>
                <a:lnTo>
                  <a:pt x="4007" y="2765"/>
                </a:lnTo>
                <a:lnTo>
                  <a:pt x="4002" y="2770"/>
                </a:lnTo>
                <a:lnTo>
                  <a:pt x="3997" y="2777"/>
                </a:lnTo>
                <a:lnTo>
                  <a:pt x="3995" y="2783"/>
                </a:lnTo>
                <a:lnTo>
                  <a:pt x="3994" y="2788"/>
                </a:lnTo>
                <a:lnTo>
                  <a:pt x="3995" y="2793"/>
                </a:lnTo>
                <a:lnTo>
                  <a:pt x="3999" y="2800"/>
                </a:lnTo>
                <a:lnTo>
                  <a:pt x="4003" y="2807"/>
                </a:lnTo>
                <a:lnTo>
                  <a:pt x="4006" y="2815"/>
                </a:lnTo>
                <a:lnTo>
                  <a:pt x="4008" y="2822"/>
                </a:lnTo>
                <a:lnTo>
                  <a:pt x="4010" y="2830"/>
                </a:lnTo>
                <a:lnTo>
                  <a:pt x="4014" y="2843"/>
                </a:lnTo>
                <a:lnTo>
                  <a:pt x="4019" y="2854"/>
                </a:lnTo>
                <a:lnTo>
                  <a:pt x="4021" y="2858"/>
                </a:lnTo>
                <a:lnTo>
                  <a:pt x="4023" y="2861"/>
                </a:lnTo>
                <a:lnTo>
                  <a:pt x="4026" y="2864"/>
                </a:lnTo>
                <a:lnTo>
                  <a:pt x="4029" y="2866"/>
                </a:lnTo>
                <a:lnTo>
                  <a:pt x="4032" y="2867"/>
                </a:lnTo>
                <a:lnTo>
                  <a:pt x="4036" y="2869"/>
                </a:lnTo>
                <a:lnTo>
                  <a:pt x="4042" y="2871"/>
                </a:lnTo>
                <a:lnTo>
                  <a:pt x="4048" y="2871"/>
                </a:lnTo>
                <a:lnTo>
                  <a:pt x="4061" y="2869"/>
                </a:lnTo>
                <a:lnTo>
                  <a:pt x="4073" y="2869"/>
                </a:lnTo>
                <a:lnTo>
                  <a:pt x="4079" y="2869"/>
                </a:lnTo>
                <a:lnTo>
                  <a:pt x="4085" y="2872"/>
                </a:lnTo>
                <a:lnTo>
                  <a:pt x="4090" y="2875"/>
                </a:lnTo>
                <a:lnTo>
                  <a:pt x="4095" y="2880"/>
                </a:lnTo>
                <a:lnTo>
                  <a:pt x="4102" y="2886"/>
                </a:lnTo>
                <a:lnTo>
                  <a:pt x="4111" y="2893"/>
                </a:lnTo>
                <a:lnTo>
                  <a:pt x="4121" y="2899"/>
                </a:lnTo>
                <a:lnTo>
                  <a:pt x="4133" y="2904"/>
                </a:lnTo>
                <a:lnTo>
                  <a:pt x="4145" y="2909"/>
                </a:lnTo>
                <a:lnTo>
                  <a:pt x="4158" y="2913"/>
                </a:lnTo>
                <a:lnTo>
                  <a:pt x="4170" y="2917"/>
                </a:lnTo>
                <a:lnTo>
                  <a:pt x="4182" y="2920"/>
                </a:lnTo>
                <a:lnTo>
                  <a:pt x="4188" y="2920"/>
                </a:lnTo>
                <a:lnTo>
                  <a:pt x="4193" y="2919"/>
                </a:lnTo>
                <a:lnTo>
                  <a:pt x="4198" y="2916"/>
                </a:lnTo>
                <a:lnTo>
                  <a:pt x="4203" y="2911"/>
                </a:lnTo>
                <a:lnTo>
                  <a:pt x="4211" y="2901"/>
                </a:lnTo>
                <a:lnTo>
                  <a:pt x="4220" y="2888"/>
                </a:lnTo>
                <a:lnTo>
                  <a:pt x="4228" y="2877"/>
                </a:lnTo>
                <a:lnTo>
                  <a:pt x="4236" y="2867"/>
                </a:lnTo>
                <a:lnTo>
                  <a:pt x="4241" y="2864"/>
                </a:lnTo>
                <a:lnTo>
                  <a:pt x="4245" y="2862"/>
                </a:lnTo>
                <a:lnTo>
                  <a:pt x="4250" y="2862"/>
                </a:lnTo>
                <a:lnTo>
                  <a:pt x="4255" y="2864"/>
                </a:lnTo>
                <a:lnTo>
                  <a:pt x="4275" y="2876"/>
                </a:lnTo>
                <a:lnTo>
                  <a:pt x="4294" y="2887"/>
                </a:lnTo>
                <a:lnTo>
                  <a:pt x="4304" y="2893"/>
                </a:lnTo>
                <a:lnTo>
                  <a:pt x="4313" y="2897"/>
                </a:lnTo>
                <a:lnTo>
                  <a:pt x="4323" y="2901"/>
                </a:lnTo>
                <a:lnTo>
                  <a:pt x="4334" y="2903"/>
                </a:lnTo>
                <a:lnTo>
                  <a:pt x="4346" y="2905"/>
                </a:lnTo>
                <a:lnTo>
                  <a:pt x="4359" y="2906"/>
                </a:lnTo>
                <a:lnTo>
                  <a:pt x="4373" y="2907"/>
                </a:lnTo>
                <a:lnTo>
                  <a:pt x="4385" y="2907"/>
                </a:lnTo>
                <a:lnTo>
                  <a:pt x="4406" y="2907"/>
                </a:lnTo>
                <a:lnTo>
                  <a:pt x="4415" y="2906"/>
                </a:lnTo>
                <a:lnTo>
                  <a:pt x="4417" y="2903"/>
                </a:lnTo>
                <a:lnTo>
                  <a:pt x="4423" y="2898"/>
                </a:lnTo>
                <a:lnTo>
                  <a:pt x="4428" y="2896"/>
                </a:lnTo>
                <a:lnTo>
                  <a:pt x="4434" y="2895"/>
                </a:lnTo>
                <a:lnTo>
                  <a:pt x="4438" y="2896"/>
                </a:lnTo>
                <a:lnTo>
                  <a:pt x="4442" y="2897"/>
                </a:lnTo>
                <a:lnTo>
                  <a:pt x="4446" y="2899"/>
                </a:lnTo>
                <a:lnTo>
                  <a:pt x="4450" y="2901"/>
                </a:lnTo>
                <a:lnTo>
                  <a:pt x="4465" y="2912"/>
                </a:lnTo>
                <a:lnTo>
                  <a:pt x="4474" y="2918"/>
                </a:lnTo>
                <a:lnTo>
                  <a:pt x="4478" y="2919"/>
                </a:lnTo>
                <a:lnTo>
                  <a:pt x="4482" y="2919"/>
                </a:lnTo>
                <a:lnTo>
                  <a:pt x="4486" y="2918"/>
                </a:lnTo>
                <a:lnTo>
                  <a:pt x="4491" y="2916"/>
                </a:lnTo>
                <a:lnTo>
                  <a:pt x="4503" y="2909"/>
                </a:lnTo>
                <a:lnTo>
                  <a:pt x="4513" y="2903"/>
                </a:lnTo>
                <a:lnTo>
                  <a:pt x="4520" y="2898"/>
                </a:lnTo>
                <a:lnTo>
                  <a:pt x="4524" y="2897"/>
                </a:lnTo>
                <a:lnTo>
                  <a:pt x="4524" y="2889"/>
                </a:lnTo>
                <a:lnTo>
                  <a:pt x="4524" y="2875"/>
                </a:lnTo>
                <a:lnTo>
                  <a:pt x="4524" y="2865"/>
                </a:lnTo>
                <a:lnTo>
                  <a:pt x="4525" y="2856"/>
                </a:lnTo>
                <a:lnTo>
                  <a:pt x="4527" y="2846"/>
                </a:lnTo>
                <a:lnTo>
                  <a:pt x="4529" y="2839"/>
                </a:lnTo>
                <a:lnTo>
                  <a:pt x="4535" y="2825"/>
                </a:lnTo>
                <a:lnTo>
                  <a:pt x="4541" y="2813"/>
                </a:lnTo>
                <a:lnTo>
                  <a:pt x="4546" y="2802"/>
                </a:lnTo>
                <a:lnTo>
                  <a:pt x="4549" y="2797"/>
                </a:lnTo>
                <a:lnTo>
                  <a:pt x="4551" y="2790"/>
                </a:lnTo>
                <a:lnTo>
                  <a:pt x="4551" y="2779"/>
                </a:lnTo>
                <a:lnTo>
                  <a:pt x="4551" y="2775"/>
                </a:lnTo>
                <a:lnTo>
                  <a:pt x="4549" y="2771"/>
                </a:lnTo>
                <a:lnTo>
                  <a:pt x="4547" y="2770"/>
                </a:lnTo>
                <a:lnTo>
                  <a:pt x="4544" y="2769"/>
                </a:lnTo>
                <a:lnTo>
                  <a:pt x="4542" y="2769"/>
                </a:lnTo>
                <a:lnTo>
                  <a:pt x="4539" y="2769"/>
                </a:lnTo>
                <a:lnTo>
                  <a:pt x="4527" y="2773"/>
                </a:lnTo>
                <a:lnTo>
                  <a:pt x="4514" y="2780"/>
                </a:lnTo>
                <a:lnTo>
                  <a:pt x="4508" y="2784"/>
                </a:lnTo>
                <a:lnTo>
                  <a:pt x="4503" y="2785"/>
                </a:lnTo>
                <a:lnTo>
                  <a:pt x="4498" y="2786"/>
                </a:lnTo>
                <a:lnTo>
                  <a:pt x="4494" y="2785"/>
                </a:lnTo>
                <a:lnTo>
                  <a:pt x="4486" y="2778"/>
                </a:lnTo>
                <a:lnTo>
                  <a:pt x="4475" y="2773"/>
                </a:lnTo>
                <a:lnTo>
                  <a:pt x="4470" y="2771"/>
                </a:lnTo>
                <a:lnTo>
                  <a:pt x="4465" y="2769"/>
                </a:lnTo>
                <a:lnTo>
                  <a:pt x="4460" y="2769"/>
                </a:lnTo>
                <a:lnTo>
                  <a:pt x="4454" y="2771"/>
                </a:lnTo>
                <a:lnTo>
                  <a:pt x="4444" y="2776"/>
                </a:lnTo>
                <a:lnTo>
                  <a:pt x="4432" y="2780"/>
                </a:lnTo>
                <a:lnTo>
                  <a:pt x="4423" y="2784"/>
                </a:lnTo>
                <a:lnTo>
                  <a:pt x="4416" y="2785"/>
                </a:lnTo>
                <a:lnTo>
                  <a:pt x="4403" y="2787"/>
                </a:lnTo>
                <a:lnTo>
                  <a:pt x="4382" y="2791"/>
                </a:lnTo>
                <a:lnTo>
                  <a:pt x="4363" y="2796"/>
                </a:lnTo>
                <a:lnTo>
                  <a:pt x="4355" y="2799"/>
                </a:lnTo>
                <a:lnTo>
                  <a:pt x="4352" y="2795"/>
                </a:lnTo>
                <a:lnTo>
                  <a:pt x="4344" y="2787"/>
                </a:lnTo>
                <a:lnTo>
                  <a:pt x="4341" y="2781"/>
                </a:lnTo>
                <a:lnTo>
                  <a:pt x="4338" y="2775"/>
                </a:lnTo>
                <a:lnTo>
                  <a:pt x="4336" y="2770"/>
                </a:lnTo>
                <a:lnTo>
                  <a:pt x="4336" y="2765"/>
                </a:lnTo>
                <a:lnTo>
                  <a:pt x="4339" y="2756"/>
                </a:lnTo>
                <a:lnTo>
                  <a:pt x="4343" y="2749"/>
                </a:lnTo>
                <a:lnTo>
                  <a:pt x="4344" y="2746"/>
                </a:lnTo>
                <a:lnTo>
                  <a:pt x="4346" y="2742"/>
                </a:lnTo>
                <a:lnTo>
                  <a:pt x="4346" y="2737"/>
                </a:lnTo>
                <a:lnTo>
                  <a:pt x="4346" y="2733"/>
                </a:lnTo>
                <a:lnTo>
                  <a:pt x="4343" y="2724"/>
                </a:lnTo>
                <a:lnTo>
                  <a:pt x="4339" y="2714"/>
                </a:lnTo>
                <a:lnTo>
                  <a:pt x="4338" y="2709"/>
                </a:lnTo>
                <a:lnTo>
                  <a:pt x="4337" y="2705"/>
                </a:lnTo>
                <a:lnTo>
                  <a:pt x="4337" y="2700"/>
                </a:lnTo>
                <a:lnTo>
                  <a:pt x="4339" y="2696"/>
                </a:lnTo>
                <a:lnTo>
                  <a:pt x="4345" y="2684"/>
                </a:lnTo>
                <a:lnTo>
                  <a:pt x="4352" y="2670"/>
                </a:lnTo>
                <a:lnTo>
                  <a:pt x="4355" y="2664"/>
                </a:lnTo>
                <a:lnTo>
                  <a:pt x="4358" y="2659"/>
                </a:lnTo>
                <a:lnTo>
                  <a:pt x="4360" y="2656"/>
                </a:lnTo>
                <a:lnTo>
                  <a:pt x="4363" y="2654"/>
                </a:lnTo>
                <a:lnTo>
                  <a:pt x="4359" y="2654"/>
                </a:lnTo>
                <a:lnTo>
                  <a:pt x="4344" y="2659"/>
                </a:lnTo>
                <a:lnTo>
                  <a:pt x="4327" y="2665"/>
                </a:lnTo>
                <a:lnTo>
                  <a:pt x="4317" y="2668"/>
                </a:lnTo>
                <a:lnTo>
                  <a:pt x="4312" y="2684"/>
                </a:lnTo>
                <a:lnTo>
                  <a:pt x="4308" y="2698"/>
                </a:lnTo>
                <a:lnTo>
                  <a:pt x="4299" y="2692"/>
                </a:lnTo>
                <a:lnTo>
                  <a:pt x="4286" y="2683"/>
                </a:lnTo>
                <a:lnTo>
                  <a:pt x="4279" y="2678"/>
                </a:lnTo>
                <a:lnTo>
                  <a:pt x="4273" y="2675"/>
                </a:lnTo>
                <a:lnTo>
                  <a:pt x="4270" y="2674"/>
                </a:lnTo>
                <a:lnTo>
                  <a:pt x="4268" y="2674"/>
                </a:lnTo>
                <a:lnTo>
                  <a:pt x="4267" y="2674"/>
                </a:lnTo>
                <a:lnTo>
                  <a:pt x="4266" y="2675"/>
                </a:lnTo>
                <a:lnTo>
                  <a:pt x="4264" y="2678"/>
                </a:lnTo>
                <a:lnTo>
                  <a:pt x="4264" y="2682"/>
                </a:lnTo>
                <a:lnTo>
                  <a:pt x="4263" y="2686"/>
                </a:lnTo>
                <a:lnTo>
                  <a:pt x="4264" y="2691"/>
                </a:lnTo>
                <a:lnTo>
                  <a:pt x="4265" y="2702"/>
                </a:lnTo>
                <a:lnTo>
                  <a:pt x="4269" y="2714"/>
                </a:lnTo>
                <a:lnTo>
                  <a:pt x="4269" y="2718"/>
                </a:lnTo>
                <a:lnTo>
                  <a:pt x="4270" y="2722"/>
                </a:lnTo>
                <a:lnTo>
                  <a:pt x="4269" y="2725"/>
                </a:lnTo>
                <a:lnTo>
                  <a:pt x="4269" y="2728"/>
                </a:lnTo>
                <a:lnTo>
                  <a:pt x="4266" y="2733"/>
                </a:lnTo>
                <a:lnTo>
                  <a:pt x="4263" y="2740"/>
                </a:lnTo>
                <a:lnTo>
                  <a:pt x="4254" y="2747"/>
                </a:lnTo>
                <a:lnTo>
                  <a:pt x="4251" y="2751"/>
                </a:lnTo>
                <a:lnTo>
                  <a:pt x="4246" y="2747"/>
                </a:lnTo>
                <a:lnTo>
                  <a:pt x="4235" y="2740"/>
                </a:lnTo>
                <a:lnTo>
                  <a:pt x="4229" y="2734"/>
                </a:lnTo>
                <a:lnTo>
                  <a:pt x="4224" y="2730"/>
                </a:lnTo>
                <a:lnTo>
                  <a:pt x="4221" y="2726"/>
                </a:lnTo>
                <a:lnTo>
                  <a:pt x="4220" y="2723"/>
                </a:lnTo>
                <a:lnTo>
                  <a:pt x="4216" y="2709"/>
                </a:lnTo>
                <a:lnTo>
                  <a:pt x="4206" y="2686"/>
                </a:lnTo>
                <a:lnTo>
                  <a:pt x="4198" y="2663"/>
                </a:lnTo>
                <a:lnTo>
                  <a:pt x="4193" y="2652"/>
                </a:lnTo>
                <a:lnTo>
                  <a:pt x="4192" y="2645"/>
                </a:lnTo>
                <a:lnTo>
                  <a:pt x="4187" y="2637"/>
                </a:lnTo>
                <a:lnTo>
                  <a:pt x="4182" y="2627"/>
                </a:lnTo>
                <a:lnTo>
                  <a:pt x="4177" y="2621"/>
                </a:lnTo>
                <a:lnTo>
                  <a:pt x="4162" y="2612"/>
                </a:lnTo>
                <a:lnTo>
                  <a:pt x="4136" y="2595"/>
                </a:lnTo>
                <a:lnTo>
                  <a:pt x="4108" y="2577"/>
                </a:lnTo>
                <a:lnTo>
                  <a:pt x="4089" y="2564"/>
                </a:lnTo>
                <a:lnTo>
                  <a:pt x="4077" y="2550"/>
                </a:lnTo>
                <a:lnTo>
                  <a:pt x="4065" y="2531"/>
                </a:lnTo>
                <a:lnTo>
                  <a:pt x="4058" y="2523"/>
                </a:lnTo>
                <a:lnTo>
                  <a:pt x="4053" y="2516"/>
                </a:lnTo>
                <a:lnTo>
                  <a:pt x="4051" y="2513"/>
                </a:lnTo>
                <a:lnTo>
                  <a:pt x="4049" y="2512"/>
                </a:lnTo>
                <a:lnTo>
                  <a:pt x="4047" y="2512"/>
                </a:lnTo>
                <a:lnTo>
                  <a:pt x="4046" y="2512"/>
                </a:lnTo>
                <a:lnTo>
                  <a:pt x="4036" y="2526"/>
                </a:lnTo>
                <a:lnTo>
                  <a:pt x="4031" y="2534"/>
                </a:lnTo>
                <a:lnTo>
                  <a:pt x="4032" y="2537"/>
                </a:lnTo>
                <a:lnTo>
                  <a:pt x="4035" y="2544"/>
                </a:lnTo>
                <a:lnTo>
                  <a:pt x="4041" y="2551"/>
                </a:lnTo>
                <a:lnTo>
                  <a:pt x="4046" y="2557"/>
                </a:lnTo>
                <a:lnTo>
                  <a:pt x="4050" y="2562"/>
                </a:lnTo>
                <a:lnTo>
                  <a:pt x="4055" y="2572"/>
                </a:lnTo>
                <a:lnTo>
                  <a:pt x="4059" y="2578"/>
                </a:lnTo>
                <a:lnTo>
                  <a:pt x="4065" y="2584"/>
                </a:lnTo>
                <a:lnTo>
                  <a:pt x="4072" y="2591"/>
                </a:lnTo>
                <a:lnTo>
                  <a:pt x="4082" y="2598"/>
                </a:lnTo>
                <a:lnTo>
                  <a:pt x="4108" y="2615"/>
                </a:lnTo>
                <a:lnTo>
                  <a:pt x="4136" y="2634"/>
                </a:lnTo>
                <a:lnTo>
                  <a:pt x="4159" y="2650"/>
                </a:lnTo>
                <a:lnTo>
                  <a:pt x="4170" y="2659"/>
                </a:lnTo>
                <a:lnTo>
                  <a:pt x="4171" y="2662"/>
                </a:lnTo>
                <a:lnTo>
                  <a:pt x="4171" y="2666"/>
                </a:lnTo>
                <a:lnTo>
                  <a:pt x="4171" y="2670"/>
                </a:lnTo>
                <a:lnTo>
                  <a:pt x="4170" y="2676"/>
                </a:lnTo>
                <a:lnTo>
                  <a:pt x="4169" y="2684"/>
                </a:lnTo>
                <a:lnTo>
                  <a:pt x="4168" y="2688"/>
                </a:lnTo>
                <a:lnTo>
                  <a:pt x="4163" y="2684"/>
                </a:lnTo>
                <a:lnTo>
                  <a:pt x="4152" y="2677"/>
                </a:lnTo>
                <a:lnTo>
                  <a:pt x="4145" y="2674"/>
                </a:lnTo>
                <a:lnTo>
                  <a:pt x="4139" y="2671"/>
                </a:lnTo>
                <a:lnTo>
                  <a:pt x="4137" y="2670"/>
                </a:lnTo>
                <a:lnTo>
                  <a:pt x="4136" y="2670"/>
                </a:lnTo>
                <a:lnTo>
                  <a:pt x="4135" y="2671"/>
                </a:lnTo>
                <a:lnTo>
                  <a:pt x="4134" y="2672"/>
                </a:lnTo>
                <a:lnTo>
                  <a:pt x="4135" y="2677"/>
                </a:lnTo>
                <a:lnTo>
                  <a:pt x="4137" y="2681"/>
                </a:lnTo>
                <a:lnTo>
                  <a:pt x="4140" y="2685"/>
                </a:lnTo>
                <a:lnTo>
                  <a:pt x="4143" y="2690"/>
                </a:lnTo>
                <a:lnTo>
                  <a:pt x="4145" y="2694"/>
                </a:lnTo>
                <a:lnTo>
                  <a:pt x="4147" y="2699"/>
                </a:lnTo>
                <a:lnTo>
                  <a:pt x="4148" y="2702"/>
                </a:lnTo>
                <a:lnTo>
                  <a:pt x="4147" y="2704"/>
                </a:lnTo>
                <a:lnTo>
                  <a:pt x="4139" y="2712"/>
                </a:lnTo>
                <a:lnTo>
                  <a:pt x="4126" y="2725"/>
                </a:lnTo>
                <a:lnTo>
                  <a:pt x="4119" y="2731"/>
                </a:lnTo>
                <a:lnTo>
                  <a:pt x="4113" y="2735"/>
                </a:lnTo>
                <a:lnTo>
                  <a:pt x="4110" y="2737"/>
                </a:lnTo>
                <a:lnTo>
                  <a:pt x="4108" y="2739"/>
                </a:lnTo>
                <a:lnTo>
                  <a:pt x="4105" y="2739"/>
                </a:lnTo>
                <a:lnTo>
                  <a:pt x="4104" y="2739"/>
                </a:lnTo>
                <a:lnTo>
                  <a:pt x="4102" y="2736"/>
                </a:lnTo>
                <a:lnTo>
                  <a:pt x="4100" y="2736"/>
                </a:lnTo>
                <a:lnTo>
                  <a:pt x="4099" y="2736"/>
                </a:lnTo>
                <a:lnTo>
                  <a:pt x="4097" y="2737"/>
                </a:lnTo>
                <a:lnTo>
                  <a:pt x="4095" y="2741"/>
                </a:lnTo>
                <a:lnTo>
                  <a:pt x="4095" y="2744"/>
                </a:lnTo>
                <a:lnTo>
                  <a:pt x="4095" y="2748"/>
                </a:lnTo>
                <a:lnTo>
                  <a:pt x="4094" y="2753"/>
                </a:lnTo>
                <a:lnTo>
                  <a:pt x="4093" y="2756"/>
                </a:lnTo>
                <a:lnTo>
                  <a:pt x="4092" y="2758"/>
                </a:lnTo>
                <a:lnTo>
                  <a:pt x="4090" y="2761"/>
                </a:lnTo>
                <a:lnTo>
                  <a:pt x="4087" y="2762"/>
                </a:lnTo>
                <a:lnTo>
                  <a:pt x="4082" y="2762"/>
                </a:lnTo>
                <a:lnTo>
                  <a:pt x="4074" y="2758"/>
                </a:lnTo>
                <a:lnTo>
                  <a:pt x="4065" y="2754"/>
                </a:lnTo>
                <a:lnTo>
                  <a:pt x="4054" y="2750"/>
                </a:lnTo>
                <a:lnTo>
                  <a:pt x="4044" y="2745"/>
                </a:lnTo>
                <a:lnTo>
                  <a:pt x="4036" y="2740"/>
                </a:lnTo>
                <a:lnTo>
                  <a:pt x="4033" y="2737"/>
                </a:lnTo>
                <a:lnTo>
                  <a:pt x="4031" y="2736"/>
                </a:lnTo>
                <a:lnTo>
                  <a:pt x="4031" y="2734"/>
                </a:lnTo>
                <a:lnTo>
                  <a:pt x="4031" y="2733"/>
                </a:lnTo>
                <a:lnTo>
                  <a:pt x="4039" y="2730"/>
                </a:lnTo>
                <a:lnTo>
                  <a:pt x="4053" y="2727"/>
                </a:lnTo>
                <a:lnTo>
                  <a:pt x="4067" y="2725"/>
                </a:lnTo>
                <a:lnTo>
                  <a:pt x="4077" y="2724"/>
                </a:lnTo>
                <a:lnTo>
                  <a:pt x="4083" y="2725"/>
                </a:lnTo>
                <a:lnTo>
                  <a:pt x="4091" y="2729"/>
                </a:lnTo>
                <a:lnTo>
                  <a:pt x="4093" y="2731"/>
                </a:lnTo>
                <a:lnTo>
                  <a:pt x="4096" y="2732"/>
                </a:lnTo>
                <a:lnTo>
                  <a:pt x="4097" y="2731"/>
                </a:lnTo>
                <a:lnTo>
                  <a:pt x="4098" y="2729"/>
                </a:lnTo>
                <a:lnTo>
                  <a:pt x="4101" y="2715"/>
                </a:lnTo>
                <a:lnTo>
                  <a:pt x="4105" y="2705"/>
                </a:lnTo>
                <a:lnTo>
                  <a:pt x="4108" y="2701"/>
                </a:lnTo>
                <a:lnTo>
                  <a:pt x="4110" y="2697"/>
                </a:lnTo>
                <a:lnTo>
                  <a:pt x="4111" y="2694"/>
                </a:lnTo>
                <a:lnTo>
                  <a:pt x="4110" y="2691"/>
                </a:lnTo>
                <a:lnTo>
                  <a:pt x="4109" y="2688"/>
                </a:lnTo>
                <a:lnTo>
                  <a:pt x="4105" y="2685"/>
                </a:lnTo>
                <a:lnTo>
                  <a:pt x="4088" y="2672"/>
                </a:lnTo>
                <a:lnTo>
                  <a:pt x="4057" y="2652"/>
                </a:lnTo>
                <a:lnTo>
                  <a:pt x="4041" y="2640"/>
                </a:lnTo>
                <a:lnTo>
                  <a:pt x="4027" y="2630"/>
                </a:lnTo>
                <a:lnTo>
                  <a:pt x="4015" y="2620"/>
                </a:lnTo>
                <a:lnTo>
                  <a:pt x="4010" y="2615"/>
                </a:lnTo>
                <a:lnTo>
                  <a:pt x="4000" y="2600"/>
                </a:lnTo>
                <a:lnTo>
                  <a:pt x="3983" y="2578"/>
                </a:lnTo>
                <a:lnTo>
                  <a:pt x="3967" y="2558"/>
                </a:lnTo>
                <a:lnTo>
                  <a:pt x="3960" y="2550"/>
                </a:lnTo>
                <a:lnTo>
                  <a:pt x="3948" y="2555"/>
                </a:lnTo>
                <a:lnTo>
                  <a:pt x="3935" y="2565"/>
                </a:lnTo>
                <a:lnTo>
                  <a:pt x="3927" y="2572"/>
                </a:lnTo>
                <a:lnTo>
                  <a:pt x="3914" y="2583"/>
                </a:lnTo>
                <a:lnTo>
                  <a:pt x="3906" y="2589"/>
                </a:lnTo>
                <a:lnTo>
                  <a:pt x="3899" y="2593"/>
                </a:lnTo>
                <a:lnTo>
                  <a:pt x="3896" y="2595"/>
                </a:lnTo>
                <a:lnTo>
                  <a:pt x="3893" y="2595"/>
                </a:lnTo>
                <a:lnTo>
                  <a:pt x="3890" y="2595"/>
                </a:lnTo>
                <a:lnTo>
                  <a:pt x="3887" y="2595"/>
                </a:lnTo>
                <a:lnTo>
                  <a:pt x="3874" y="2588"/>
                </a:lnTo>
                <a:lnTo>
                  <a:pt x="3859" y="2580"/>
                </a:lnTo>
                <a:lnTo>
                  <a:pt x="3852" y="2578"/>
                </a:lnTo>
                <a:lnTo>
                  <a:pt x="3846" y="2577"/>
                </a:lnTo>
                <a:lnTo>
                  <a:pt x="3843" y="2577"/>
                </a:lnTo>
                <a:lnTo>
                  <a:pt x="3840" y="2578"/>
                </a:lnTo>
                <a:lnTo>
                  <a:pt x="3837" y="2580"/>
                </a:lnTo>
                <a:lnTo>
                  <a:pt x="3836" y="2582"/>
                </a:lnTo>
                <a:lnTo>
                  <a:pt x="3831" y="2591"/>
                </a:lnTo>
                <a:lnTo>
                  <a:pt x="3829" y="2597"/>
                </a:lnTo>
                <a:lnTo>
                  <a:pt x="3829" y="2600"/>
                </a:lnTo>
                <a:lnTo>
                  <a:pt x="3830" y="2602"/>
                </a:lnTo>
                <a:lnTo>
                  <a:pt x="3831" y="2604"/>
                </a:lnTo>
                <a:lnTo>
                  <a:pt x="3833" y="2606"/>
                </a:lnTo>
                <a:lnTo>
                  <a:pt x="3835" y="2609"/>
                </a:lnTo>
                <a:lnTo>
                  <a:pt x="3837" y="2611"/>
                </a:lnTo>
                <a:lnTo>
                  <a:pt x="3837" y="2614"/>
                </a:lnTo>
                <a:lnTo>
                  <a:pt x="3837" y="2616"/>
                </a:lnTo>
                <a:lnTo>
                  <a:pt x="3836" y="2620"/>
                </a:lnTo>
                <a:lnTo>
                  <a:pt x="3834" y="2623"/>
                </a:lnTo>
                <a:lnTo>
                  <a:pt x="3831" y="2625"/>
                </a:lnTo>
                <a:lnTo>
                  <a:pt x="3825" y="2627"/>
                </a:lnTo>
                <a:lnTo>
                  <a:pt x="3822" y="2630"/>
                </a:lnTo>
                <a:lnTo>
                  <a:pt x="3817" y="2632"/>
                </a:lnTo>
                <a:lnTo>
                  <a:pt x="3814" y="2635"/>
                </a:lnTo>
                <a:lnTo>
                  <a:pt x="3811" y="2639"/>
                </a:lnTo>
                <a:lnTo>
                  <a:pt x="3804" y="2647"/>
                </a:lnTo>
                <a:lnTo>
                  <a:pt x="3794" y="2654"/>
                </a:lnTo>
                <a:lnTo>
                  <a:pt x="3787" y="2659"/>
                </a:lnTo>
                <a:lnTo>
                  <a:pt x="3781" y="2662"/>
                </a:lnTo>
                <a:lnTo>
                  <a:pt x="3775" y="2667"/>
                </a:lnTo>
                <a:lnTo>
                  <a:pt x="3770" y="2675"/>
                </a:lnTo>
                <a:lnTo>
                  <a:pt x="3767" y="2679"/>
                </a:lnTo>
                <a:lnTo>
                  <a:pt x="3765" y="2684"/>
                </a:lnTo>
                <a:lnTo>
                  <a:pt x="3763" y="2690"/>
                </a:lnTo>
                <a:lnTo>
                  <a:pt x="3762" y="2697"/>
                </a:lnTo>
                <a:lnTo>
                  <a:pt x="3762" y="2705"/>
                </a:lnTo>
                <a:lnTo>
                  <a:pt x="3763" y="2708"/>
                </a:lnTo>
                <a:lnTo>
                  <a:pt x="3762" y="2711"/>
                </a:lnTo>
                <a:lnTo>
                  <a:pt x="3759" y="2716"/>
                </a:lnTo>
                <a:lnTo>
                  <a:pt x="3752" y="2727"/>
                </a:lnTo>
                <a:lnTo>
                  <a:pt x="3744" y="2740"/>
                </a:lnTo>
                <a:lnTo>
                  <a:pt x="3740" y="2746"/>
                </a:lnTo>
                <a:lnTo>
                  <a:pt x="3734" y="2751"/>
                </a:lnTo>
                <a:lnTo>
                  <a:pt x="3728" y="2755"/>
                </a:lnTo>
                <a:lnTo>
                  <a:pt x="3722" y="2758"/>
                </a:lnTo>
                <a:lnTo>
                  <a:pt x="3715" y="2761"/>
                </a:lnTo>
                <a:lnTo>
                  <a:pt x="3706" y="2763"/>
                </a:lnTo>
                <a:lnTo>
                  <a:pt x="3698" y="2763"/>
                </a:lnTo>
                <a:lnTo>
                  <a:pt x="3688" y="2764"/>
                </a:lnTo>
                <a:lnTo>
                  <a:pt x="3680" y="2764"/>
                </a:lnTo>
                <a:lnTo>
                  <a:pt x="3673" y="2765"/>
                </a:lnTo>
                <a:lnTo>
                  <a:pt x="3668" y="2766"/>
                </a:lnTo>
                <a:lnTo>
                  <a:pt x="3663" y="2767"/>
                </a:lnTo>
                <a:lnTo>
                  <a:pt x="3657" y="2771"/>
                </a:lnTo>
                <a:lnTo>
                  <a:pt x="3650" y="2776"/>
                </a:lnTo>
                <a:lnTo>
                  <a:pt x="3643" y="2779"/>
                </a:lnTo>
                <a:lnTo>
                  <a:pt x="3639" y="2779"/>
                </a:lnTo>
                <a:lnTo>
                  <a:pt x="3629" y="2770"/>
                </a:lnTo>
                <a:lnTo>
                  <a:pt x="3617" y="2759"/>
                </a:lnTo>
                <a:lnTo>
                  <a:pt x="3613" y="2756"/>
                </a:lnTo>
                <a:lnTo>
                  <a:pt x="3607" y="2753"/>
                </a:lnTo>
                <a:lnTo>
                  <a:pt x="3598" y="2751"/>
                </a:lnTo>
                <a:lnTo>
                  <a:pt x="3593" y="2751"/>
                </a:lnTo>
                <a:lnTo>
                  <a:pt x="3590" y="2752"/>
                </a:lnTo>
                <a:lnTo>
                  <a:pt x="3586" y="2750"/>
                </a:lnTo>
                <a:lnTo>
                  <a:pt x="3582" y="2749"/>
                </a:lnTo>
                <a:lnTo>
                  <a:pt x="3576" y="2746"/>
                </a:lnTo>
                <a:lnTo>
                  <a:pt x="3567" y="2741"/>
                </a:lnTo>
                <a:lnTo>
                  <a:pt x="3563" y="2735"/>
                </a:lnTo>
                <a:lnTo>
                  <a:pt x="3560" y="2726"/>
                </a:lnTo>
                <a:lnTo>
                  <a:pt x="3553" y="2707"/>
                </a:lnTo>
                <a:lnTo>
                  <a:pt x="3550" y="2697"/>
                </a:lnTo>
                <a:lnTo>
                  <a:pt x="3548" y="2686"/>
                </a:lnTo>
                <a:lnTo>
                  <a:pt x="3547" y="2678"/>
                </a:lnTo>
                <a:lnTo>
                  <a:pt x="3548" y="2671"/>
                </a:lnTo>
                <a:lnTo>
                  <a:pt x="3553" y="2659"/>
                </a:lnTo>
                <a:lnTo>
                  <a:pt x="3559" y="2645"/>
                </a:lnTo>
                <a:lnTo>
                  <a:pt x="3563" y="2632"/>
                </a:lnTo>
                <a:lnTo>
                  <a:pt x="3564" y="2621"/>
                </a:lnTo>
                <a:lnTo>
                  <a:pt x="3560" y="2605"/>
                </a:lnTo>
                <a:lnTo>
                  <a:pt x="3556" y="2596"/>
                </a:lnTo>
                <a:lnTo>
                  <a:pt x="3555" y="2593"/>
                </a:lnTo>
                <a:lnTo>
                  <a:pt x="3553" y="2588"/>
                </a:lnTo>
                <a:lnTo>
                  <a:pt x="3553" y="2584"/>
                </a:lnTo>
                <a:lnTo>
                  <a:pt x="3553" y="2580"/>
                </a:lnTo>
                <a:lnTo>
                  <a:pt x="3555" y="2577"/>
                </a:lnTo>
                <a:lnTo>
                  <a:pt x="3558" y="2575"/>
                </a:lnTo>
                <a:lnTo>
                  <a:pt x="3565" y="2570"/>
                </a:lnTo>
                <a:lnTo>
                  <a:pt x="3571" y="2566"/>
                </a:lnTo>
                <a:lnTo>
                  <a:pt x="3574" y="2564"/>
                </a:lnTo>
                <a:lnTo>
                  <a:pt x="3577" y="2561"/>
                </a:lnTo>
                <a:lnTo>
                  <a:pt x="3581" y="2561"/>
                </a:lnTo>
                <a:lnTo>
                  <a:pt x="3584" y="2561"/>
                </a:lnTo>
                <a:lnTo>
                  <a:pt x="3590" y="2564"/>
                </a:lnTo>
                <a:lnTo>
                  <a:pt x="3595" y="2565"/>
                </a:lnTo>
                <a:lnTo>
                  <a:pt x="3602" y="2565"/>
                </a:lnTo>
                <a:lnTo>
                  <a:pt x="3608" y="2565"/>
                </a:lnTo>
                <a:lnTo>
                  <a:pt x="3625" y="2562"/>
                </a:lnTo>
                <a:lnTo>
                  <a:pt x="3639" y="2562"/>
                </a:lnTo>
                <a:lnTo>
                  <a:pt x="3644" y="2565"/>
                </a:lnTo>
                <a:lnTo>
                  <a:pt x="3651" y="2567"/>
                </a:lnTo>
                <a:lnTo>
                  <a:pt x="3659" y="2569"/>
                </a:lnTo>
                <a:lnTo>
                  <a:pt x="3670" y="2569"/>
                </a:lnTo>
                <a:lnTo>
                  <a:pt x="3683" y="2569"/>
                </a:lnTo>
                <a:lnTo>
                  <a:pt x="3701" y="2568"/>
                </a:lnTo>
                <a:lnTo>
                  <a:pt x="3717" y="2568"/>
                </a:lnTo>
                <a:lnTo>
                  <a:pt x="3724" y="2566"/>
                </a:lnTo>
                <a:lnTo>
                  <a:pt x="3727" y="2558"/>
                </a:lnTo>
                <a:lnTo>
                  <a:pt x="3734" y="2543"/>
                </a:lnTo>
                <a:lnTo>
                  <a:pt x="3736" y="2534"/>
                </a:lnTo>
                <a:lnTo>
                  <a:pt x="3738" y="2525"/>
                </a:lnTo>
                <a:lnTo>
                  <a:pt x="3738" y="2516"/>
                </a:lnTo>
                <a:lnTo>
                  <a:pt x="3737" y="2510"/>
                </a:lnTo>
                <a:lnTo>
                  <a:pt x="3732" y="2496"/>
                </a:lnTo>
                <a:lnTo>
                  <a:pt x="3729" y="2485"/>
                </a:lnTo>
                <a:lnTo>
                  <a:pt x="3728" y="2479"/>
                </a:lnTo>
                <a:lnTo>
                  <a:pt x="3726" y="2474"/>
                </a:lnTo>
                <a:lnTo>
                  <a:pt x="3723" y="2470"/>
                </a:lnTo>
                <a:lnTo>
                  <a:pt x="3720" y="2468"/>
                </a:lnTo>
                <a:lnTo>
                  <a:pt x="3706" y="2457"/>
                </a:lnTo>
                <a:lnTo>
                  <a:pt x="3684" y="2436"/>
                </a:lnTo>
                <a:lnTo>
                  <a:pt x="3663" y="2417"/>
                </a:lnTo>
                <a:lnTo>
                  <a:pt x="3654" y="2408"/>
                </a:lnTo>
                <a:lnTo>
                  <a:pt x="3660" y="2404"/>
                </a:lnTo>
                <a:lnTo>
                  <a:pt x="3672" y="2400"/>
                </a:lnTo>
                <a:lnTo>
                  <a:pt x="3682" y="2402"/>
                </a:lnTo>
                <a:lnTo>
                  <a:pt x="3700" y="2408"/>
                </a:lnTo>
                <a:lnTo>
                  <a:pt x="3708" y="2411"/>
                </a:lnTo>
                <a:lnTo>
                  <a:pt x="3716" y="2413"/>
                </a:lnTo>
                <a:lnTo>
                  <a:pt x="3718" y="2413"/>
                </a:lnTo>
                <a:lnTo>
                  <a:pt x="3719" y="2413"/>
                </a:lnTo>
                <a:lnTo>
                  <a:pt x="3720" y="2413"/>
                </a:lnTo>
                <a:lnTo>
                  <a:pt x="3719" y="2412"/>
                </a:lnTo>
                <a:lnTo>
                  <a:pt x="3717" y="2408"/>
                </a:lnTo>
                <a:lnTo>
                  <a:pt x="3716" y="2403"/>
                </a:lnTo>
                <a:lnTo>
                  <a:pt x="3714" y="2399"/>
                </a:lnTo>
                <a:lnTo>
                  <a:pt x="3713" y="2394"/>
                </a:lnTo>
                <a:lnTo>
                  <a:pt x="3713" y="2389"/>
                </a:lnTo>
                <a:lnTo>
                  <a:pt x="3713" y="2385"/>
                </a:lnTo>
                <a:lnTo>
                  <a:pt x="3714" y="2382"/>
                </a:lnTo>
                <a:lnTo>
                  <a:pt x="3715" y="2381"/>
                </a:lnTo>
                <a:lnTo>
                  <a:pt x="3730" y="2379"/>
                </a:lnTo>
                <a:lnTo>
                  <a:pt x="3745" y="2379"/>
                </a:lnTo>
                <a:lnTo>
                  <a:pt x="3752" y="2378"/>
                </a:lnTo>
                <a:lnTo>
                  <a:pt x="3765" y="2374"/>
                </a:lnTo>
                <a:lnTo>
                  <a:pt x="3772" y="2372"/>
                </a:lnTo>
                <a:lnTo>
                  <a:pt x="3778" y="2369"/>
                </a:lnTo>
                <a:lnTo>
                  <a:pt x="3783" y="2366"/>
                </a:lnTo>
                <a:lnTo>
                  <a:pt x="3785" y="2363"/>
                </a:lnTo>
                <a:lnTo>
                  <a:pt x="3790" y="2356"/>
                </a:lnTo>
                <a:lnTo>
                  <a:pt x="3797" y="2345"/>
                </a:lnTo>
                <a:lnTo>
                  <a:pt x="3805" y="2334"/>
                </a:lnTo>
                <a:lnTo>
                  <a:pt x="3811" y="2328"/>
                </a:lnTo>
                <a:lnTo>
                  <a:pt x="3814" y="2324"/>
                </a:lnTo>
                <a:lnTo>
                  <a:pt x="3818" y="2317"/>
                </a:lnTo>
                <a:lnTo>
                  <a:pt x="3822" y="2314"/>
                </a:lnTo>
                <a:lnTo>
                  <a:pt x="3825" y="2310"/>
                </a:lnTo>
                <a:lnTo>
                  <a:pt x="3829" y="2307"/>
                </a:lnTo>
                <a:lnTo>
                  <a:pt x="3834" y="2303"/>
                </a:lnTo>
                <a:lnTo>
                  <a:pt x="3839" y="2297"/>
                </a:lnTo>
                <a:lnTo>
                  <a:pt x="3846" y="2288"/>
                </a:lnTo>
                <a:lnTo>
                  <a:pt x="3852" y="2277"/>
                </a:lnTo>
                <a:lnTo>
                  <a:pt x="3858" y="2265"/>
                </a:lnTo>
                <a:lnTo>
                  <a:pt x="3868" y="2244"/>
                </a:lnTo>
                <a:lnTo>
                  <a:pt x="3872" y="2233"/>
                </a:lnTo>
                <a:lnTo>
                  <a:pt x="3875" y="2227"/>
                </a:lnTo>
                <a:lnTo>
                  <a:pt x="3883" y="2215"/>
                </a:lnTo>
                <a:lnTo>
                  <a:pt x="3888" y="2207"/>
                </a:lnTo>
                <a:lnTo>
                  <a:pt x="3892" y="2201"/>
                </a:lnTo>
                <a:lnTo>
                  <a:pt x="3895" y="2198"/>
                </a:lnTo>
                <a:lnTo>
                  <a:pt x="3897" y="2198"/>
                </a:lnTo>
                <a:lnTo>
                  <a:pt x="3897" y="2205"/>
                </a:lnTo>
                <a:lnTo>
                  <a:pt x="3896" y="2219"/>
                </a:lnTo>
                <a:lnTo>
                  <a:pt x="3895" y="2224"/>
                </a:lnTo>
                <a:lnTo>
                  <a:pt x="3895" y="2229"/>
                </a:lnTo>
                <a:lnTo>
                  <a:pt x="3896" y="2231"/>
                </a:lnTo>
                <a:lnTo>
                  <a:pt x="3896" y="2232"/>
                </a:lnTo>
                <a:lnTo>
                  <a:pt x="3897" y="2232"/>
                </a:lnTo>
                <a:lnTo>
                  <a:pt x="3899" y="2232"/>
                </a:lnTo>
                <a:lnTo>
                  <a:pt x="3905" y="2228"/>
                </a:lnTo>
                <a:lnTo>
                  <a:pt x="3911" y="2223"/>
                </a:lnTo>
                <a:lnTo>
                  <a:pt x="3915" y="2218"/>
                </a:lnTo>
                <a:lnTo>
                  <a:pt x="3919" y="2213"/>
                </a:lnTo>
                <a:lnTo>
                  <a:pt x="3923" y="2205"/>
                </a:lnTo>
                <a:lnTo>
                  <a:pt x="3927" y="2191"/>
                </a:lnTo>
                <a:lnTo>
                  <a:pt x="3929" y="2183"/>
                </a:lnTo>
                <a:lnTo>
                  <a:pt x="3932" y="2175"/>
                </a:lnTo>
                <a:lnTo>
                  <a:pt x="3932" y="2166"/>
                </a:lnTo>
                <a:lnTo>
                  <a:pt x="3931" y="2160"/>
                </a:lnTo>
                <a:lnTo>
                  <a:pt x="3929" y="2153"/>
                </a:lnTo>
                <a:lnTo>
                  <a:pt x="3928" y="2144"/>
                </a:lnTo>
                <a:lnTo>
                  <a:pt x="3929" y="2135"/>
                </a:lnTo>
                <a:lnTo>
                  <a:pt x="3931" y="2127"/>
                </a:lnTo>
                <a:lnTo>
                  <a:pt x="3933" y="2118"/>
                </a:lnTo>
                <a:lnTo>
                  <a:pt x="3935" y="2111"/>
                </a:lnTo>
                <a:lnTo>
                  <a:pt x="3937" y="2106"/>
                </a:lnTo>
                <a:lnTo>
                  <a:pt x="3939" y="2103"/>
                </a:lnTo>
                <a:lnTo>
                  <a:pt x="3948" y="2094"/>
                </a:lnTo>
                <a:lnTo>
                  <a:pt x="3962" y="2083"/>
                </a:lnTo>
                <a:lnTo>
                  <a:pt x="3969" y="2076"/>
                </a:lnTo>
                <a:lnTo>
                  <a:pt x="3976" y="2072"/>
                </a:lnTo>
                <a:lnTo>
                  <a:pt x="3978" y="2071"/>
                </a:lnTo>
                <a:lnTo>
                  <a:pt x="3980" y="2071"/>
                </a:lnTo>
                <a:lnTo>
                  <a:pt x="3982" y="2071"/>
                </a:lnTo>
                <a:lnTo>
                  <a:pt x="3983" y="2073"/>
                </a:lnTo>
                <a:lnTo>
                  <a:pt x="3987" y="2086"/>
                </a:lnTo>
                <a:lnTo>
                  <a:pt x="3995" y="2103"/>
                </a:lnTo>
                <a:lnTo>
                  <a:pt x="4001" y="2111"/>
                </a:lnTo>
                <a:lnTo>
                  <a:pt x="4005" y="2117"/>
                </a:lnTo>
                <a:lnTo>
                  <a:pt x="4008" y="2119"/>
                </a:lnTo>
                <a:lnTo>
                  <a:pt x="4010" y="2120"/>
                </a:lnTo>
                <a:lnTo>
                  <a:pt x="4012" y="2120"/>
                </a:lnTo>
                <a:lnTo>
                  <a:pt x="4014" y="2119"/>
                </a:lnTo>
                <a:lnTo>
                  <a:pt x="4020" y="2114"/>
                </a:lnTo>
                <a:lnTo>
                  <a:pt x="4022" y="2111"/>
                </a:lnTo>
                <a:lnTo>
                  <a:pt x="4022" y="2108"/>
                </a:lnTo>
                <a:lnTo>
                  <a:pt x="4021" y="2105"/>
                </a:lnTo>
                <a:lnTo>
                  <a:pt x="4014" y="2091"/>
                </a:lnTo>
                <a:lnTo>
                  <a:pt x="4007" y="2074"/>
                </a:lnTo>
                <a:lnTo>
                  <a:pt x="4005" y="2062"/>
                </a:lnTo>
                <a:lnTo>
                  <a:pt x="4002" y="2044"/>
                </a:lnTo>
                <a:lnTo>
                  <a:pt x="3999" y="2027"/>
                </a:lnTo>
                <a:lnTo>
                  <a:pt x="3998" y="2019"/>
                </a:lnTo>
                <a:lnTo>
                  <a:pt x="3994" y="2018"/>
                </a:lnTo>
                <a:lnTo>
                  <a:pt x="3991" y="2017"/>
                </a:lnTo>
                <a:lnTo>
                  <a:pt x="3988" y="2017"/>
                </a:lnTo>
                <a:lnTo>
                  <a:pt x="3986" y="2018"/>
                </a:lnTo>
                <a:lnTo>
                  <a:pt x="3983" y="2019"/>
                </a:lnTo>
                <a:lnTo>
                  <a:pt x="3981" y="2021"/>
                </a:lnTo>
                <a:lnTo>
                  <a:pt x="3975" y="2027"/>
                </a:lnTo>
                <a:lnTo>
                  <a:pt x="3966" y="2038"/>
                </a:lnTo>
                <a:lnTo>
                  <a:pt x="3956" y="2048"/>
                </a:lnTo>
                <a:lnTo>
                  <a:pt x="3945" y="2056"/>
                </a:lnTo>
                <a:lnTo>
                  <a:pt x="3940" y="2060"/>
                </a:lnTo>
                <a:lnTo>
                  <a:pt x="3934" y="2062"/>
                </a:lnTo>
                <a:lnTo>
                  <a:pt x="3928" y="2063"/>
                </a:lnTo>
                <a:lnTo>
                  <a:pt x="3923" y="2064"/>
                </a:lnTo>
                <a:lnTo>
                  <a:pt x="3915" y="2064"/>
                </a:lnTo>
                <a:lnTo>
                  <a:pt x="3910" y="2064"/>
                </a:lnTo>
                <a:lnTo>
                  <a:pt x="3905" y="2061"/>
                </a:lnTo>
                <a:lnTo>
                  <a:pt x="3899" y="2053"/>
                </a:lnTo>
                <a:lnTo>
                  <a:pt x="3890" y="2042"/>
                </a:lnTo>
                <a:lnTo>
                  <a:pt x="3880" y="2029"/>
                </a:lnTo>
                <a:lnTo>
                  <a:pt x="3871" y="2016"/>
                </a:lnTo>
                <a:lnTo>
                  <a:pt x="3863" y="2003"/>
                </a:lnTo>
                <a:lnTo>
                  <a:pt x="3860" y="1998"/>
                </a:lnTo>
                <a:lnTo>
                  <a:pt x="3857" y="1993"/>
                </a:lnTo>
                <a:lnTo>
                  <a:pt x="3856" y="1988"/>
                </a:lnTo>
                <a:lnTo>
                  <a:pt x="3856" y="1985"/>
                </a:lnTo>
                <a:lnTo>
                  <a:pt x="3859" y="1979"/>
                </a:lnTo>
                <a:lnTo>
                  <a:pt x="3862" y="1975"/>
                </a:lnTo>
                <a:lnTo>
                  <a:pt x="3865" y="1973"/>
                </a:lnTo>
                <a:lnTo>
                  <a:pt x="3865" y="1972"/>
                </a:lnTo>
                <a:lnTo>
                  <a:pt x="3865" y="1969"/>
                </a:lnTo>
                <a:lnTo>
                  <a:pt x="3863" y="1968"/>
                </a:lnTo>
                <a:lnTo>
                  <a:pt x="3859" y="1963"/>
                </a:lnTo>
                <a:lnTo>
                  <a:pt x="3857" y="1957"/>
                </a:lnTo>
                <a:lnTo>
                  <a:pt x="3855" y="1951"/>
                </a:lnTo>
                <a:lnTo>
                  <a:pt x="3854" y="1945"/>
                </a:lnTo>
                <a:lnTo>
                  <a:pt x="3854" y="1939"/>
                </a:lnTo>
                <a:lnTo>
                  <a:pt x="3854" y="1930"/>
                </a:lnTo>
                <a:lnTo>
                  <a:pt x="3855" y="1921"/>
                </a:lnTo>
                <a:lnTo>
                  <a:pt x="3857" y="1917"/>
                </a:lnTo>
                <a:lnTo>
                  <a:pt x="3860" y="1910"/>
                </a:lnTo>
                <a:lnTo>
                  <a:pt x="3866" y="1896"/>
                </a:lnTo>
                <a:lnTo>
                  <a:pt x="3872" y="1882"/>
                </a:lnTo>
                <a:lnTo>
                  <a:pt x="3877" y="1873"/>
                </a:lnTo>
                <a:lnTo>
                  <a:pt x="3884" y="1862"/>
                </a:lnTo>
                <a:lnTo>
                  <a:pt x="3897" y="1844"/>
                </a:lnTo>
                <a:lnTo>
                  <a:pt x="3911" y="1825"/>
                </a:lnTo>
                <a:lnTo>
                  <a:pt x="3922" y="1812"/>
                </a:lnTo>
                <a:lnTo>
                  <a:pt x="3934" y="1802"/>
                </a:lnTo>
                <a:lnTo>
                  <a:pt x="3948" y="1788"/>
                </a:lnTo>
                <a:lnTo>
                  <a:pt x="3955" y="1782"/>
                </a:lnTo>
                <a:lnTo>
                  <a:pt x="3961" y="1777"/>
                </a:lnTo>
                <a:lnTo>
                  <a:pt x="3966" y="1774"/>
                </a:lnTo>
                <a:lnTo>
                  <a:pt x="3970" y="1772"/>
                </a:lnTo>
                <a:lnTo>
                  <a:pt x="3975" y="1771"/>
                </a:lnTo>
                <a:lnTo>
                  <a:pt x="3979" y="1769"/>
                </a:lnTo>
                <a:lnTo>
                  <a:pt x="3983" y="1763"/>
                </a:lnTo>
                <a:lnTo>
                  <a:pt x="3987" y="1753"/>
                </a:lnTo>
                <a:lnTo>
                  <a:pt x="3990" y="1747"/>
                </a:lnTo>
                <a:lnTo>
                  <a:pt x="3994" y="1744"/>
                </a:lnTo>
                <a:lnTo>
                  <a:pt x="3998" y="1742"/>
                </a:lnTo>
                <a:lnTo>
                  <a:pt x="4002" y="1741"/>
                </a:lnTo>
                <a:lnTo>
                  <a:pt x="4005" y="1740"/>
                </a:lnTo>
                <a:lnTo>
                  <a:pt x="4008" y="1738"/>
                </a:lnTo>
                <a:lnTo>
                  <a:pt x="4009" y="1735"/>
                </a:lnTo>
                <a:lnTo>
                  <a:pt x="4010" y="1730"/>
                </a:lnTo>
                <a:lnTo>
                  <a:pt x="4010" y="1714"/>
                </a:lnTo>
                <a:lnTo>
                  <a:pt x="4011" y="1698"/>
                </a:lnTo>
                <a:lnTo>
                  <a:pt x="4011" y="1691"/>
                </a:lnTo>
                <a:lnTo>
                  <a:pt x="4012" y="1686"/>
                </a:lnTo>
                <a:lnTo>
                  <a:pt x="4013" y="1681"/>
                </a:lnTo>
                <a:lnTo>
                  <a:pt x="4015" y="1679"/>
                </a:lnTo>
                <a:lnTo>
                  <a:pt x="4020" y="1672"/>
                </a:lnTo>
                <a:lnTo>
                  <a:pt x="4025" y="1660"/>
                </a:lnTo>
                <a:lnTo>
                  <a:pt x="4028" y="1654"/>
                </a:lnTo>
                <a:lnTo>
                  <a:pt x="4031" y="1648"/>
                </a:lnTo>
                <a:lnTo>
                  <a:pt x="4035" y="1643"/>
                </a:lnTo>
                <a:lnTo>
                  <a:pt x="4038" y="1638"/>
                </a:lnTo>
                <a:lnTo>
                  <a:pt x="4048" y="1631"/>
                </a:lnTo>
                <a:lnTo>
                  <a:pt x="4056" y="1620"/>
                </a:lnTo>
                <a:lnTo>
                  <a:pt x="4064" y="1609"/>
                </a:lnTo>
                <a:lnTo>
                  <a:pt x="4069" y="1603"/>
                </a:lnTo>
                <a:lnTo>
                  <a:pt x="4072" y="1596"/>
                </a:lnTo>
                <a:lnTo>
                  <a:pt x="4077" y="1588"/>
                </a:lnTo>
                <a:lnTo>
                  <a:pt x="4081" y="1580"/>
                </a:lnTo>
                <a:lnTo>
                  <a:pt x="4082" y="1574"/>
                </a:lnTo>
                <a:lnTo>
                  <a:pt x="4080" y="1571"/>
                </a:lnTo>
                <a:lnTo>
                  <a:pt x="4078" y="1566"/>
                </a:lnTo>
                <a:lnTo>
                  <a:pt x="4076" y="1564"/>
                </a:lnTo>
                <a:lnTo>
                  <a:pt x="4075" y="1563"/>
                </a:lnTo>
                <a:lnTo>
                  <a:pt x="4073" y="1563"/>
                </a:lnTo>
                <a:lnTo>
                  <a:pt x="4071" y="1564"/>
                </a:lnTo>
                <a:lnTo>
                  <a:pt x="4061" y="1570"/>
                </a:lnTo>
                <a:lnTo>
                  <a:pt x="4053" y="1576"/>
                </a:lnTo>
                <a:lnTo>
                  <a:pt x="4050" y="1577"/>
                </a:lnTo>
                <a:lnTo>
                  <a:pt x="4046" y="1577"/>
                </a:lnTo>
                <a:lnTo>
                  <a:pt x="4044" y="1578"/>
                </a:lnTo>
                <a:lnTo>
                  <a:pt x="4042" y="1579"/>
                </a:lnTo>
                <a:lnTo>
                  <a:pt x="4041" y="1581"/>
                </a:lnTo>
                <a:lnTo>
                  <a:pt x="4039" y="1584"/>
                </a:lnTo>
                <a:lnTo>
                  <a:pt x="4042" y="1595"/>
                </a:lnTo>
                <a:lnTo>
                  <a:pt x="4043" y="1600"/>
                </a:lnTo>
                <a:lnTo>
                  <a:pt x="4041" y="1600"/>
                </a:lnTo>
                <a:lnTo>
                  <a:pt x="4036" y="1600"/>
                </a:lnTo>
                <a:lnTo>
                  <a:pt x="4032" y="1600"/>
                </a:lnTo>
                <a:lnTo>
                  <a:pt x="4029" y="1598"/>
                </a:lnTo>
                <a:lnTo>
                  <a:pt x="4026" y="1593"/>
                </a:lnTo>
                <a:lnTo>
                  <a:pt x="4025" y="1587"/>
                </a:lnTo>
                <a:lnTo>
                  <a:pt x="4024" y="1583"/>
                </a:lnTo>
                <a:lnTo>
                  <a:pt x="4025" y="1579"/>
                </a:lnTo>
                <a:lnTo>
                  <a:pt x="4027" y="1574"/>
                </a:lnTo>
                <a:lnTo>
                  <a:pt x="4029" y="1570"/>
                </a:lnTo>
                <a:lnTo>
                  <a:pt x="4047" y="1555"/>
                </a:lnTo>
                <a:lnTo>
                  <a:pt x="4060" y="1542"/>
                </a:lnTo>
                <a:lnTo>
                  <a:pt x="4063" y="1537"/>
                </a:lnTo>
                <a:lnTo>
                  <a:pt x="4066" y="1528"/>
                </a:lnTo>
                <a:lnTo>
                  <a:pt x="4068" y="1524"/>
                </a:lnTo>
                <a:lnTo>
                  <a:pt x="4070" y="1519"/>
                </a:lnTo>
                <a:lnTo>
                  <a:pt x="4073" y="1515"/>
                </a:lnTo>
                <a:lnTo>
                  <a:pt x="4077" y="1511"/>
                </a:lnTo>
                <a:lnTo>
                  <a:pt x="4094" y="1495"/>
                </a:lnTo>
                <a:lnTo>
                  <a:pt x="4104" y="1486"/>
                </a:lnTo>
                <a:lnTo>
                  <a:pt x="4108" y="1486"/>
                </a:lnTo>
                <a:lnTo>
                  <a:pt x="4113" y="1486"/>
                </a:lnTo>
                <a:lnTo>
                  <a:pt x="4118" y="1485"/>
                </a:lnTo>
                <a:lnTo>
                  <a:pt x="4124" y="1482"/>
                </a:lnTo>
                <a:lnTo>
                  <a:pt x="4141" y="1469"/>
                </a:lnTo>
                <a:lnTo>
                  <a:pt x="4156" y="1456"/>
                </a:lnTo>
                <a:lnTo>
                  <a:pt x="4160" y="1449"/>
                </a:lnTo>
                <a:lnTo>
                  <a:pt x="4164" y="1438"/>
                </a:lnTo>
                <a:lnTo>
                  <a:pt x="4169" y="1431"/>
                </a:lnTo>
                <a:lnTo>
                  <a:pt x="4175" y="1425"/>
                </a:lnTo>
                <a:lnTo>
                  <a:pt x="4178" y="1423"/>
                </a:lnTo>
                <a:lnTo>
                  <a:pt x="4180" y="1420"/>
                </a:lnTo>
                <a:lnTo>
                  <a:pt x="4183" y="1420"/>
                </a:lnTo>
                <a:lnTo>
                  <a:pt x="4185" y="1420"/>
                </a:lnTo>
                <a:lnTo>
                  <a:pt x="4200" y="1421"/>
                </a:lnTo>
                <a:lnTo>
                  <a:pt x="4213" y="1424"/>
                </a:lnTo>
                <a:lnTo>
                  <a:pt x="4216" y="1425"/>
                </a:lnTo>
                <a:lnTo>
                  <a:pt x="4218" y="1426"/>
                </a:lnTo>
                <a:lnTo>
                  <a:pt x="4219" y="1426"/>
                </a:lnTo>
                <a:lnTo>
                  <a:pt x="4221" y="1426"/>
                </a:lnTo>
                <a:lnTo>
                  <a:pt x="4224" y="1424"/>
                </a:lnTo>
                <a:lnTo>
                  <a:pt x="4228" y="1419"/>
                </a:lnTo>
                <a:lnTo>
                  <a:pt x="4238" y="1409"/>
                </a:lnTo>
                <a:lnTo>
                  <a:pt x="4248" y="1399"/>
                </a:lnTo>
                <a:lnTo>
                  <a:pt x="4263" y="1395"/>
                </a:lnTo>
                <a:lnTo>
                  <a:pt x="4289" y="1388"/>
                </a:lnTo>
                <a:lnTo>
                  <a:pt x="4304" y="1385"/>
                </a:lnTo>
                <a:lnTo>
                  <a:pt x="4316" y="1383"/>
                </a:lnTo>
                <a:lnTo>
                  <a:pt x="4321" y="1382"/>
                </a:lnTo>
                <a:lnTo>
                  <a:pt x="4326" y="1382"/>
                </a:lnTo>
                <a:lnTo>
                  <a:pt x="4329" y="1383"/>
                </a:lnTo>
                <a:lnTo>
                  <a:pt x="4331" y="1384"/>
                </a:lnTo>
                <a:lnTo>
                  <a:pt x="4335" y="1386"/>
                </a:lnTo>
                <a:lnTo>
                  <a:pt x="4342" y="1387"/>
                </a:lnTo>
                <a:lnTo>
                  <a:pt x="4351" y="1387"/>
                </a:lnTo>
                <a:lnTo>
                  <a:pt x="4359" y="1387"/>
                </a:lnTo>
                <a:lnTo>
                  <a:pt x="4375" y="1386"/>
                </a:lnTo>
                <a:lnTo>
                  <a:pt x="4381" y="1386"/>
                </a:lnTo>
                <a:lnTo>
                  <a:pt x="4384" y="1386"/>
                </a:lnTo>
                <a:lnTo>
                  <a:pt x="4389" y="1387"/>
                </a:lnTo>
                <a:lnTo>
                  <a:pt x="4394" y="1388"/>
                </a:lnTo>
                <a:lnTo>
                  <a:pt x="4397" y="1389"/>
                </a:lnTo>
                <a:lnTo>
                  <a:pt x="4401" y="1391"/>
                </a:lnTo>
                <a:lnTo>
                  <a:pt x="4404" y="1394"/>
                </a:lnTo>
                <a:lnTo>
                  <a:pt x="4416" y="1401"/>
                </a:lnTo>
                <a:lnTo>
                  <a:pt x="4431" y="1408"/>
                </a:lnTo>
                <a:lnTo>
                  <a:pt x="4436" y="1411"/>
                </a:lnTo>
                <a:lnTo>
                  <a:pt x="4439" y="1413"/>
                </a:lnTo>
                <a:lnTo>
                  <a:pt x="4441" y="1415"/>
                </a:lnTo>
                <a:lnTo>
                  <a:pt x="4442" y="1418"/>
                </a:lnTo>
                <a:lnTo>
                  <a:pt x="4442" y="1421"/>
                </a:lnTo>
                <a:lnTo>
                  <a:pt x="4442" y="1424"/>
                </a:lnTo>
                <a:lnTo>
                  <a:pt x="4440" y="1428"/>
                </a:lnTo>
                <a:lnTo>
                  <a:pt x="4436" y="1431"/>
                </a:lnTo>
                <a:lnTo>
                  <a:pt x="4428" y="1437"/>
                </a:lnTo>
                <a:lnTo>
                  <a:pt x="4423" y="1442"/>
                </a:lnTo>
                <a:lnTo>
                  <a:pt x="4420" y="1447"/>
                </a:lnTo>
                <a:lnTo>
                  <a:pt x="4418" y="1451"/>
                </a:lnTo>
                <a:lnTo>
                  <a:pt x="4417" y="1455"/>
                </a:lnTo>
                <a:lnTo>
                  <a:pt x="4418" y="1456"/>
                </a:lnTo>
                <a:lnTo>
                  <a:pt x="4419" y="1459"/>
                </a:lnTo>
                <a:lnTo>
                  <a:pt x="4424" y="1463"/>
                </a:lnTo>
                <a:lnTo>
                  <a:pt x="4427" y="1465"/>
                </a:lnTo>
                <a:lnTo>
                  <a:pt x="4432" y="1467"/>
                </a:lnTo>
                <a:lnTo>
                  <a:pt x="4438" y="1465"/>
                </a:lnTo>
                <a:lnTo>
                  <a:pt x="4443" y="1461"/>
                </a:lnTo>
                <a:lnTo>
                  <a:pt x="4449" y="1457"/>
                </a:lnTo>
                <a:lnTo>
                  <a:pt x="4454" y="1455"/>
                </a:lnTo>
                <a:lnTo>
                  <a:pt x="4459" y="1454"/>
                </a:lnTo>
                <a:lnTo>
                  <a:pt x="4463" y="1454"/>
                </a:lnTo>
                <a:lnTo>
                  <a:pt x="4471" y="1456"/>
                </a:lnTo>
                <a:lnTo>
                  <a:pt x="4478" y="1461"/>
                </a:lnTo>
                <a:lnTo>
                  <a:pt x="4491" y="1467"/>
                </a:lnTo>
                <a:lnTo>
                  <a:pt x="4508" y="1470"/>
                </a:lnTo>
                <a:lnTo>
                  <a:pt x="4517" y="1473"/>
                </a:lnTo>
                <a:lnTo>
                  <a:pt x="4526" y="1475"/>
                </a:lnTo>
                <a:lnTo>
                  <a:pt x="4533" y="1478"/>
                </a:lnTo>
                <a:lnTo>
                  <a:pt x="4538" y="1482"/>
                </a:lnTo>
                <a:lnTo>
                  <a:pt x="4551" y="1492"/>
                </a:lnTo>
                <a:lnTo>
                  <a:pt x="4568" y="1502"/>
                </a:lnTo>
                <a:lnTo>
                  <a:pt x="4585" y="1514"/>
                </a:lnTo>
                <a:lnTo>
                  <a:pt x="4600" y="1525"/>
                </a:lnTo>
                <a:lnTo>
                  <a:pt x="4611" y="1538"/>
                </a:lnTo>
                <a:lnTo>
                  <a:pt x="4621" y="1551"/>
                </a:lnTo>
                <a:lnTo>
                  <a:pt x="4629" y="1564"/>
                </a:lnTo>
                <a:lnTo>
                  <a:pt x="4637" y="1572"/>
                </a:lnTo>
                <a:lnTo>
                  <a:pt x="4644" y="1577"/>
                </a:lnTo>
                <a:lnTo>
                  <a:pt x="4652" y="1582"/>
                </a:lnTo>
                <a:lnTo>
                  <a:pt x="4657" y="1584"/>
                </a:lnTo>
                <a:lnTo>
                  <a:pt x="4660" y="1587"/>
                </a:lnTo>
                <a:lnTo>
                  <a:pt x="4664" y="1591"/>
                </a:lnTo>
                <a:lnTo>
                  <a:pt x="4666" y="1595"/>
                </a:lnTo>
                <a:lnTo>
                  <a:pt x="4668" y="1601"/>
                </a:lnTo>
                <a:lnTo>
                  <a:pt x="4669" y="1606"/>
                </a:lnTo>
                <a:lnTo>
                  <a:pt x="4668" y="1611"/>
                </a:lnTo>
                <a:lnTo>
                  <a:pt x="4667" y="1616"/>
                </a:lnTo>
                <a:lnTo>
                  <a:pt x="4664" y="1626"/>
                </a:lnTo>
                <a:lnTo>
                  <a:pt x="4661" y="1635"/>
                </a:lnTo>
                <a:lnTo>
                  <a:pt x="4659" y="1639"/>
                </a:lnTo>
                <a:lnTo>
                  <a:pt x="4655" y="1645"/>
                </a:lnTo>
                <a:lnTo>
                  <a:pt x="4650" y="1651"/>
                </a:lnTo>
                <a:lnTo>
                  <a:pt x="4645" y="1656"/>
                </a:lnTo>
                <a:lnTo>
                  <a:pt x="4634" y="1667"/>
                </a:lnTo>
                <a:lnTo>
                  <a:pt x="4626" y="1672"/>
                </a:lnTo>
                <a:lnTo>
                  <a:pt x="4621" y="1675"/>
                </a:lnTo>
                <a:lnTo>
                  <a:pt x="4614" y="1678"/>
                </a:lnTo>
                <a:lnTo>
                  <a:pt x="4606" y="1680"/>
                </a:lnTo>
                <a:lnTo>
                  <a:pt x="4601" y="1680"/>
                </a:lnTo>
                <a:lnTo>
                  <a:pt x="4595" y="1678"/>
                </a:lnTo>
                <a:lnTo>
                  <a:pt x="4585" y="1676"/>
                </a:lnTo>
                <a:lnTo>
                  <a:pt x="4575" y="1673"/>
                </a:lnTo>
                <a:lnTo>
                  <a:pt x="4565" y="1669"/>
                </a:lnTo>
                <a:lnTo>
                  <a:pt x="4550" y="1662"/>
                </a:lnTo>
                <a:lnTo>
                  <a:pt x="4527" y="1655"/>
                </a:lnTo>
                <a:lnTo>
                  <a:pt x="4506" y="1650"/>
                </a:lnTo>
                <a:lnTo>
                  <a:pt x="4496" y="1647"/>
                </a:lnTo>
                <a:lnTo>
                  <a:pt x="4493" y="1647"/>
                </a:lnTo>
                <a:lnTo>
                  <a:pt x="4488" y="1648"/>
                </a:lnTo>
                <a:lnTo>
                  <a:pt x="4486" y="1649"/>
                </a:lnTo>
                <a:lnTo>
                  <a:pt x="4484" y="1651"/>
                </a:lnTo>
                <a:lnTo>
                  <a:pt x="4484" y="1654"/>
                </a:lnTo>
                <a:lnTo>
                  <a:pt x="4486" y="1658"/>
                </a:lnTo>
                <a:lnTo>
                  <a:pt x="4490" y="1664"/>
                </a:lnTo>
                <a:lnTo>
                  <a:pt x="4494" y="1668"/>
                </a:lnTo>
                <a:lnTo>
                  <a:pt x="4499" y="1672"/>
                </a:lnTo>
                <a:lnTo>
                  <a:pt x="4504" y="1674"/>
                </a:lnTo>
                <a:lnTo>
                  <a:pt x="4512" y="1678"/>
                </a:lnTo>
                <a:lnTo>
                  <a:pt x="4516" y="1680"/>
                </a:lnTo>
                <a:lnTo>
                  <a:pt x="4519" y="1679"/>
                </a:lnTo>
                <a:lnTo>
                  <a:pt x="4527" y="1680"/>
                </a:lnTo>
                <a:lnTo>
                  <a:pt x="4530" y="1681"/>
                </a:lnTo>
                <a:lnTo>
                  <a:pt x="4531" y="1684"/>
                </a:lnTo>
                <a:lnTo>
                  <a:pt x="4532" y="1689"/>
                </a:lnTo>
                <a:lnTo>
                  <a:pt x="4529" y="1694"/>
                </a:lnTo>
                <a:lnTo>
                  <a:pt x="4522" y="1704"/>
                </a:lnTo>
                <a:lnTo>
                  <a:pt x="4519" y="1711"/>
                </a:lnTo>
                <a:lnTo>
                  <a:pt x="4518" y="1713"/>
                </a:lnTo>
                <a:lnTo>
                  <a:pt x="4518" y="1716"/>
                </a:lnTo>
                <a:lnTo>
                  <a:pt x="4519" y="1718"/>
                </a:lnTo>
                <a:lnTo>
                  <a:pt x="4520" y="1721"/>
                </a:lnTo>
                <a:lnTo>
                  <a:pt x="4525" y="1736"/>
                </a:lnTo>
                <a:lnTo>
                  <a:pt x="4527" y="1749"/>
                </a:lnTo>
                <a:lnTo>
                  <a:pt x="4529" y="1754"/>
                </a:lnTo>
                <a:lnTo>
                  <a:pt x="4532" y="1758"/>
                </a:lnTo>
                <a:lnTo>
                  <a:pt x="4536" y="1762"/>
                </a:lnTo>
                <a:lnTo>
                  <a:pt x="4542" y="1767"/>
                </a:lnTo>
                <a:lnTo>
                  <a:pt x="4550" y="1771"/>
                </a:lnTo>
                <a:lnTo>
                  <a:pt x="4556" y="1775"/>
                </a:lnTo>
                <a:lnTo>
                  <a:pt x="4559" y="1776"/>
                </a:lnTo>
                <a:lnTo>
                  <a:pt x="4561" y="1778"/>
                </a:lnTo>
                <a:lnTo>
                  <a:pt x="4563" y="1780"/>
                </a:lnTo>
                <a:lnTo>
                  <a:pt x="4563" y="1783"/>
                </a:lnTo>
                <a:lnTo>
                  <a:pt x="4563" y="1786"/>
                </a:lnTo>
                <a:lnTo>
                  <a:pt x="4564" y="1788"/>
                </a:lnTo>
                <a:lnTo>
                  <a:pt x="4566" y="1790"/>
                </a:lnTo>
                <a:lnTo>
                  <a:pt x="4568" y="1791"/>
                </a:lnTo>
                <a:lnTo>
                  <a:pt x="4572" y="1793"/>
                </a:lnTo>
                <a:lnTo>
                  <a:pt x="4575" y="1793"/>
                </a:lnTo>
                <a:lnTo>
                  <a:pt x="4579" y="1789"/>
                </a:lnTo>
                <a:lnTo>
                  <a:pt x="4584" y="1781"/>
                </a:lnTo>
                <a:lnTo>
                  <a:pt x="4586" y="1776"/>
                </a:lnTo>
                <a:lnTo>
                  <a:pt x="4587" y="1771"/>
                </a:lnTo>
                <a:lnTo>
                  <a:pt x="4589" y="1768"/>
                </a:lnTo>
                <a:lnTo>
                  <a:pt x="4587" y="1766"/>
                </a:lnTo>
                <a:lnTo>
                  <a:pt x="4576" y="1761"/>
                </a:lnTo>
                <a:lnTo>
                  <a:pt x="4560" y="1754"/>
                </a:lnTo>
                <a:lnTo>
                  <a:pt x="4556" y="1752"/>
                </a:lnTo>
                <a:lnTo>
                  <a:pt x="4554" y="1748"/>
                </a:lnTo>
                <a:lnTo>
                  <a:pt x="4553" y="1746"/>
                </a:lnTo>
                <a:lnTo>
                  <a:pt x="4552" y="1744"/>
                </a:lnTo>
                <a:lnTo>
                  <a:pt x="4552" y="1738"/>
                </a:lnTo>
                <a:lnTo>
                  <a:pt x="4553" y="1733"/>
                </a:lnTo>
                <a:lnTo>
                  <a:pt x="4554" y="1730"/>
                </a:lnTo>
                <a:lnTo>
                  <a:pt x="4555" y="1725"/>
                </a:lnTo>
                <a:lnTo>
                  <a:pt x="4556" y="1722"/>
                </a:lnTo>
                <a:lnTo>
                  <a:pt x="4558" y="1719"/>
                </a:lnTo>
                <a:lnTo>
                  <a:pt x="4561" y="1718"/>
                </a:lnTo>
                <a:lnTo>
                  <a:pt x="4564" y="1717"/>
                </a:lnTo>
                <a:lnTo>
                  <a:pt x="4570" y="1719"/>
                </a:lnTo>
                <a:lnTo>
                  <a:pt x="4576" y="1723"/>
                </a:lnTo>
                <a:lnTo>
                  <a:pt x="4597" y="1738"/>
                </a:lnTo>
                <a:lnTo>
                  <a:pt x="4607" y="1745"/>
                </a:lnTo>
                <a:lnTo>
                  <a:pt x="4611" y="1753"/>
                </a:lnTo>
                <a:lnTo>
                  <a:pt x="4614" y="1761"/>
                </a:lnTo>
                <a:lnTo>
                  <a:pt x="4616" y="1764"/>
                </a:lnTo>
                <a:lnTo>
                  <a:pt x="4618" y="1766"/>
                </a:lnTo>
                <a:lnTo>
                  <a:pt x="4621" y="1766"/>
                </a:lnTo>
                <a:lnTo>
                  <a:pt x="4624" y="1763"/>
                </a:lnTo>
                <a:lnTo>
                  <a:pt x="4629" y="1756"/>
                </a:lnTo>
                <a:lnTo>
                  <a:pt x="4634" y="1748"/>
                </a:lnTo>
                <a:lnTo>
                  <a:pt x="4636" y="1744"/>
                </a:lnTo>
                <a:lnTo>
                  <a:pt x="4636" y="1741"/>
                </a:lnTo>
                <a:lnTo>
                  <a:pt x="4637" y="1737"/>
                </a:lnTo>
                <a:lnTo>
                  <a:pt x="4636" y="1734"/>
                </a:lnTo>
                <a:lnTo>
                  <a:pt x="4635" y="1730"/>
                </a:lnTo>
                <a:lnTo>
                  <a:pt x="4634" y="1727"/>
                </a:lnTo>
                <a:lnTo>
                  <a:pt x="4630" y="1724"/>
                </a:lnTo>
                <a:lnTo>
                  <a:pt x="4628" y="1722"/>
                </a:lnTo>
                <a:lnTo>
                  <a:pt x="4625" y="1720"/>
                </a:lnTo>
                <a:lnTo>
                  <a:pt x="4624" y="1717"/>
                </a:lnTo>
                <a:lnTo>
                  <a:pt x="4623" y="1715"/>
                </a:lnTo>
                <a:lnTo>
                  <a:pt x="4623" y="1712"/>
                </a:lnTo>
                <a:lnTo>
                  <a:pt x="4625" y="1708"/>
                </a:lnTo>
                <a:lnTo>
                  <a:pt x="4629" y="1702"/>
                </a:lnTo>
                <a:lnTo>
                  <a:pt x="4635" y="1697"/>
                </a:lnTo>
                <a:lnTo>
                  <a:pt x="4641" y="1691"/>
                </a:lnTo>
                <a:lnTo>
                  <a:pt x="4655" y="1679"/>
                </a:lnTo>
                <a:lnTo>
                  <a:pt x="4664" y="1672"/>
                </a:lnTo>
                <a:lnTo>
                  <a:pt x="4671" y="1664"/>
                </a:lnTo>
                <a:lnTo>
                  <a:pt x="4681" y="1649"/>
                </a:lnTo>
                <a:lnTo>
                  <a:pt x="4689" y="1635"/>
                </a:lnTo>
                <a:lnTo>
                  <a:pt x="4693" y="1628"/>
                </a:lnTo>
                <a:lnTo>
                  <a:pt x="4694" y="1626"/>
                </a:lnTo>
                <a:lnTo>
                  <a:pt x="4695" y="1625"/>
                </a:lnTo>
                <a:lnTo>
                  <a:pt x="4699" y="1624"/>
                </a:lnTo>
                <a:lnTo>
                  <a:pt x="4701" y="1623"/>
                </a:lnTo>
                <a:lnTo>
                  <a:pt x="4703" y="1624"/>
                </a:lnTo>
                <a:lnTo>
                  <a:pt x="4705" y="1627"/>
                </a:lnTo>
                <a:lnTo>
                  <a:pt x="4706" y="1631"/>
                </a:lnTo>
                <a:lnTo>
                  <a:pt x="4706" y="1637"/>
                </a:lnTo>
                <a:lnTo>
                  <a:pt x="4705" y="1649"/>
                </a:lnTo>
                <a:lnTo>
                  <a:pt x="4704" y="1655"/>
                </a:lnTo>
                <a:lnTo>
                  <a:pt x="4705" y="1657"/>
                </a:lnTo>
                <a:lnTo>
                  <a:pt x="4705" y="1658"/>
                </a:lnTo>
                <a:lnTo>
                  <a:pt x="4707" y="1660"/>
                </a:lnTo>
                <a:lnTo>
                  <a:pt x="4709" y="1661"/>
                </a:lnTo>
                <a:lnTo>
                  <a:pt x="4716" y="1672"/>
                </a:lnTo>
                <a:lnTo>
                  <a:pt x="4722" y="1679"/>
                </a:lnTo>
                <a:lnTo>
                  <a:pt x="4725" y="1675"/>
                </a:lnTo>
                <a:lnTo>
                  <a:pt x="4729" y="1666"/>
                </a:lnTo>
                <a:lnTo>
                  <a:pt x="4731" y="1659"/>
                </a:lnTo>
                <a:lnTo>
                  <a:pt x="4733" y="1654"/>
                </a:lnTo>
                <a:lnTo>
                  <a:pt x="4733" y="1649"/>
                </a:lnTo>
                <a:lnTo>
                  <a:pt x="4733" y="1645"/>
                </a:lnTo>
                <a:lnTo>
                  <a:pt x="4732" y="1638"/>
                </a:lnTo>
                <a:lnTo>
                  <a:pt x="4730" y="1632"/>
                </a:lnTo>
                <a:lnTo>
                  <a:pt x="4727" y="1628"/>
                </a:lnTo>
                <a:lnTo>
                  <a:pt x="4722" y="1623"/>
                </a:lnTo>
                <a:lnTo>
                  <a:pt x="4716" y="1620"/>
                </a:lnTo>
                <a:lnTo>
                  <a:pt x="4711" y="1616"/>
                </a:lnTo>
                <a:lnTo>
                  <a:pt x="4710" y="1614"/>
                </a:lnTo>
                <a:lnTo>
                  <a:pt x="4709" y="1611"/>
                </a:lnTo>
                <a:lnTo>
                  <a:pt x="4710" y="1608"/>
                </a:lnTo>
                <a:lnTo>
                  <a:pt x="4712" y="1603"/>
                </a:lnTo>
                <a:lnTo>
                  <a:pt x="4722" y="1586"/>
                </a:lnTo>
                <a:lnTo>
                  <a:pt x="4726" y="1579"/>
                </a:lnTo>
                <a:lnTo>
                  <a:pt x="4725" y="1572"/>
                </a:lnTo>
                <a:lnTo>
                  <a:pt x="4721" y="1557"/>
                </a:lnTo>
                <a:lnTo>
                  <a:pt x="4717" y="1548"/>
                </a:lnTo>
                <a:lnTo>
                  <a:pt x="4715" y="1542"/>
                </a:lnTo>
                <a:lnTo>
                  <a:pt x="4712" y="1537"/>
                </a:lnTo>
                <a:lnTo>
                  <a:pt x="4709" y="1531"/>
                </a:lnTo>
                <a:lnTo>
                  <a:pt x="4708" y="1530"/>
                </a:lnTo>
                <a:lnTo>
                  <a:pt x="4708" y="1529"/>
                </a:lnTo>
                <a:lnTo>
                  <a:pt x="4709" y="1528"/>
                </a:lnTo>
                <a:lnTo>
                  <a:pt x="4710" y="1528"/>
                </a:lnTo>
                <a:lnTo>
                  <a:pt x="4713" y="1527"/>
                </a:lnTo>
                <a:lnTo>
                  <a:pt x="4717" y="1526"/>
                </a:lnTo>
                <a:lnTo>
                  <a:pt x="4723" y="1527"/>
                </a:lnTo>
                <a:lnTo>
                  <a:pt x="4728" y="1527"/>
                </a:lnTo>
                <a:lnTo>
                  <a:pt x="4732" y="1528"/>
                </a:lnTo>
                <a:lnTo>
                  <a:pt x="4736" y="1530"/>
                </a:lnTo>
                <a:lnTo>
                  <a:pt x="4744" y="1534"/>
                </a:lnTo>
                <a:lnTo>
                  <a:pt x="4753" y="1538"/>
                </a:lnTo>
                <a:lnTo>
                  <a:pt x="4758" y="1539"/>
                </a:lnTo>
                <a:lnTo>
                  <a:pt x="4763" y="1541"/>
                </a:lnTo>
                <a:lnTo>
                  <a:pt x="4768" y="1544"/>
                </a:lnTo>
                <a:lnTo>
                  <a:pt x="4771" y="1547"/>
                </a:lnTo>
                <a:lnTo>
                  <a:pt x="4776" y="1553"/>
                </a:lnTo>
                <a:lnTo>
                  <a:pt x="4780" y="1560"/>
                </a:lnTo>
                <a:lnTo>
                  <a:pt x="4782" y="1563"/>
                </a:lnTo>
                <a:lnTo>
                  <a:pt x="4783" y="1567"/>
                </a:lnTo>
                <a:lnTo>
                  <a:pt x="4783" y="1570"/>
                </a:lnTo>
                <a:lnTo>
                  <a:pt x="4783" y="1572"/>
                </a:lnTo>
                <a:lnTo>
                  <a:pt x="4780" y="1578"/>
                </a:lnTo>
                <a:lnTo>
                  <a:pt x="4777" y="1582"/>
                </a:lnTo>
                <a:lnTo>
                  <a:pt x="4773" y="1586"/>
                </a:lnTo>
                <a:lnTo>
                  <a:pt x="4765" y="1591"/>
                </a:lnTo>
                <a:lnTo>
                  <a:pt x="4757" y="1595"/>
                </a:lnTo>
                <a:lnTo>
                  <a:pt x="4751" y="1598"/>
                </a:lnTo>
                <a:lnTo>
                  <a:pt x="4750" y="1599"/>
                </a:lnTo>
                <a:lnTo>
                  <a:pt x="4749" y="1600"/>
                </a:lnTo>
                <a:lnTo>
                  <a:pt x="4749" y="1602"/>
                </a:lnTo>
                <a:lnTo>
                  <a:pt x="4750" y="1604"/>
                </a:lnTo>
                <a:lnTo>
                  <a:pt x="4757" y="1611"/>
                </a:lnTo>
                <a:lnTo>
                  <a:pt x="4766" y="1621"/>
                </a:lnTo>
                <a:lnTo>
                  <a:pt x="4768" y="1623"/>
                </a:lnTo>
                <a:lnTo>
                  <a:pt x="4770" y="1624"/>
                </a:lnTo>
                <a:lnTo>
                  <a:pt x="4772" y="1625"/>
                </a:lnTo>
                <a:lnTo>
                  <a:pt x="4774" y="1626"/>
                </a:lnTo>
                <a:lnTo>
                  <a:pt x="4780" y="1626"/>
                </a:lnTo>
                <a:lnTo>
                  <a:pt x="4785" y="1625"/>
                </a:lnTo>
                <a:lnTo>
                  <a:pt x="4792" y="1622"/>
                </a:lnTo>
                <a:lnTo>
                  <a:pt x="4798" y="1617"/>
                </a:lnTo>
                <a:lnTo>
                  <a:pt x="4803" y="1611"/>
                </a:lnTo>
                <a:lnTo>
                  <a:pt x="4807" y="1605"/>
                </a:lnTo>
                <a:lnTo>
                  <a:pt x="4813" y="1594"/>
                </a:lnTo>
                <a:lnTo>
                  <a:pt x="4815" y="1588"/>
                </a:lnTo>
                <a:lnTo>
                  <a:pt x="4817" y="1585"/>
                </a:lnTo>
                <a:lnTo>
                  <a:pt x="4819" y="1582"/>
                </a:lnTo>
                <a:lnTo>
                  <a:pt x="4824" y="1579"/>
                </a:lnTo>
                <a:lnTo>
                  <a:pt x="4831" y="1574"/>
                </a:lnTo>
                <a:lnTo>
                  <a:pt x="4839" y="1569"/>
                </a:lnTo>
                <a:lnTo>
                  <a:pt x="4849" y="1561"/>
                </a:lnTo>
                <a:lnTo>
                  <a:pt x="4860" y="1551"/>
                </a:lnTo>
                <a:lnTo>
                  <a:pt x="4871" y="1541"/>
                </a:lnTo>
                <a:lnTo>
                  <a:pt x="4890" y="1523"/>
                </a:lnTo>
                <a:lnTo>
                  <a:pt x="4901" y="1514"/>
                </a:lnTo>
                <a:lnTo>
                  <a:pt x="4909" y="1511"/>
                </a:lnTo>
                <a:lnTo>
                  <a:pt x="4920" y="1508"/>
                </a:lnTo>
                <a:lnTo>
                  <a:pt x="4931" y="1506"/>
                </a:lnTo>
                <a:lnTo>
                  <a:pt x="4939" y="1506"/>
                </a:lnTo>
                <a:lnTo>
                  <a:pt x="4942" y="1516"/>
                </a:lnTo>
                <a:lnTo>
                  <a:pt x="4942" y="1528"/>
                </a:lnTo>
                <a:lnTo>
                  <a:pt x="4944" y="1530"/>
                </a:lnTo>
                <a:lnTo>
                  <a:pt x="4944" y="1534"/>
                </a:lnTo>
                <a:lnTo>
                  <a:pt x="4943" y="1536"/>
                </a:lnTo>
                <a:lnTo>
                  <a:pt x="4941" y="1539"/>
                </a:lnTo>
                <a:lnTo>
                  <a:pt x="4935" y="1544"/>
                </a:lnTo>
                <a:lnTo>
                  <a:pt x="4930" y="1548"/>
                </a:lnTo>
                <a:lnTo>
                  <a:pt x="4925" y="1551"/>
                </a:lnTo>
                <a:lnTo>
                  <a:pt x="4922" y="1552"/>
                </a:lnTo>
                <a:lnTo>
                  <a:pt x="4920" y="1555"/>
                </a:lnTo>
                <a:lnTo>
                  <a:pt x="4919" y="1558"/>
                </a:lnTo>
                <a:lnTo>
                  <a:pt x="4920" y="1560"/>
                </a:lnTo>
                <a:lnTo>
                  <a:pt x="4923" y="1561"/>
                </a:lnTo>
                <a:lnTo>
                  <a:pt x="4927" y="1562"/>
                </a:lnTo>
                <a:lnTo>
                  <a:pt x="4931" y="1562"/>
                </a:lnTo>
                <a:lnTo>
                  <a:pt x="4936" y="1562"/>
                </a:lnTo>
                <a:lnTo>
                  <a:pt x="4941" y="1561"/>
                </a:lnTo>
                <a:lnTo>
                  <a:pt x="4944" y="1560"/>
                </a:lnTo>
                <a:lnTo>
                  <a:pt x="4946" y="1558"/>
                </a:lnTo>
                <a:lnTo>
                  <a:pt x="4947" y="1555"/>
                </a:lnTo>
                <a:lnTo>
                  <a:pt x="4948" y="1551"/>
                </a:lnTo>
                <a:lnTo>
                  <a:pt x="4951" y="1547"/>
                </a:lnTo>
                <a:lnTo>
                  <a:pt x="4956" y="1542"/>
                </a:lnTo>
                <a:lnTo>
                  <a:pt x="4967" y="1531"/>
                </a:lnTo>
                <a:lnTo>
                  <a:pt x="4972" y="1528"/>
                </a:lnTo>
                <a:lnTo>
                  <a:pt x="4957" y="1514"/>
                </a:lnTo>
                <a:lnTo>
                  <a:pt x="4959" y="1512"/>
                </a:lnTo>
                <a:lnTo>
                  <a:pt x="4965" y="1506"/>
                </a:lnTo>
                <a:lnTo>
                  <a:pt x="4968" y="1504"/>
                </a:lnTo>
                <a:lnTo>
                  <a:pt x="4972" y="1502"/>
                </a:lnTo>
                <a:lnTo>
                  <a:pt x="4976" y="1502"/>
                </a:lnTo>
                <a:lnTo>
                  <a:pt x="4980" y="1504"/>
                </a:lnTo>
                <a:lnTo>
                  <a:pt x="4994" y="1514"/>
                </a:lnTo>
                <a:lnTo>
                  <a:pt x="5003" y="1519"/>
                </a:lnTo>
                <a:lnTo>
                  <a:pt x="5015" y="1520"/>
                </a:lnTo>
                <a:lnTo>
                  <a:pt x="5031" y="1520"/>
                </a:lnTo>
                <a:lnTo>
                  <a:pt x="5034" y="1520"/>
                </a:lnTo>
                <a:lnTo>
                  <a:pt x="5037" y="1520"/>
                </a:lnTo>
                <a:lnTo>
                  <a:pt x="5039" y="1520"/>
                </a:lnTo>
                <a:lnTo>
                  <a:pt x="5041" y="1518"/>
                </a:lnTo>
                <a:lnTo>
                  <a:pt x="5043" y="1515"/>
                </a:lnTo>
                <a:lnTo>
                  <a:pt x="5044" y="1511"/>
                </a:lnTo>
                <a:lnTo>
                  <a:pt x="5046" y="1505"/>
                </a:lnTo>
                <a:lnTo>
                  <a:pt x="5051" y="1500"/>
                </a:lnTo>
                <a:lnTo>
                  <a:pt x="5055" y="1495"/>
                </a:lnTo>
                <a:lnTo>
                  <a:pt x="5056" y="1493"/>
                </a:lnTo>
                <a:lnTo>
                  <a:pt x="5059" y="1513"/>
                </a:lnTo>
                <a:lnTo>
                  <a:pt x="5060" y="1515"/>
                </a:lnTo>
                <a:lnTo>
                  <a:pt x="5063" y="1519"/>
                </a:lnTo>
                <a:lnTo>
                  <a:pt x="5065" y="1521"/>
                </a:lnTo>
                <a:lnTo>
                  <a:pt x="5068" y="1523"/>
                </a:lnTo>
                <a:lnTo>
                  <a:pt x="5070" y="1524"/>
                </a:lnTo>
                <a:lnTo>
                  <a:pt x="5074" y="1525"/>
                </a:lnTo>
                <a:lnTo>
                  <a:pt x="5080" y="1527"/>
                </a:lnTo>
                <a:lnTo>
                  <a:pt x="5086" y="1528"/>
                </a:lnTo>
                <a:lnTo>
                  <a:pt x="5088" y="1528"/>
                </a:lnTo>
                <a:lnTo>
                  <a:pt x="5090" y="1525"/>
                </a:lnTo>
                <a:lnTo>
                  <a:pt x="5090" y="1521"/>
                </a:lnTo>
                <a:lnTo>
                  <a:pt x="5089" y="1513"/>
                </a:lnTo>
                <a:lnTo>
                  <a:pt x="5086" y="1499"/>
                </a:lnTo>
                <a:lnTo>
                  <a:pt x="5084" y="1491"/>
                </a:lnTo>
                <a:lnTo>
                  <a:pt x="5079" y="1484"/>
                </a:lnTo>
                <a:lnTo>
                  <a:pt x="5069" y="1474"/>
                </a:lnTo>
                <a:lnTo>
                  <a:pt x="5060" y="1462"/>
                </a:lnTo>
                <a:lnTo>
                  <a:pt x="5055" y="1455"/>
                </a:lnTo>
                <a:lnTo>
                  <a:pt x="5051" y="1450"/>
                </a:lnTo>
                <a:lnTo>
                  <a:pt x="5042" y="1443"/>
                </a:lnTo>
                <a:lnTo>
                  <a:pt x="5039" y="1442"/>
                </a:lnTo>
                <a:lnTo>
                  <a:pt x="5038" y="1439"/>
                </a:lnTo>
                <a:lnTo>
                  <a:pt x="5037" y="1437"/>
                </a:lnTo>
                <a:lnTo>
                  <a:pt x="5037" y="1435"/>
                </a:lnTo>
                <a:lnTo>
                  <a:pt x="5038" y="1430"/>
                </a:lnTo>
                <a:lnTo>
                  <a:pt x="5041" y="1425"/>
                </a:lnTo>
                <a:lnTo>
                  <a:pt x="5048" y="1415"/>
                </a:lnTo>
                <a:lnTo>
                  <a:pt x="5053" y="1412"/>
                </a:lnTo>
                <a:lnTo>
                  <a:pt x="5054" y="1416"/>
                </a:lnTo>
                <a:lnTo>
                  <a:pt x="5058" y="1425"/>
                </a:lnTo>
                <a:lnTo>
                  <a:pt x="5061" y="1430"/>
                </a:lnTo>
                <a:lnTo>
                  <a:pt x="5065" y="1435"/>
                </a:lnTo>
                <a:lnTo>
                  <a:pt x="5069" y="1439"/>
                </a:lnTo>
                <a:lnTo>
                  <a:pt x="5074" y="1442"/>
                </a:lnTo>
                <a:lnTo>
                  <a:pt x="5079" y="1446"/>
                </a:lnTo>
                <a:lnTo>
                  <a:pt x="5086" y="1448"/>
                </a:lnTo>
                <a:lnTo>
                  <a:pt x="5094" y="1450"/>
                </a:lnTo>
                <a:lnTo>
                  <a:pt x="5103" y="1451"/>
                </a:lnTo>
                <a:lnTo>
                  <a:pt x="5122" y="1455"/>
                </a:lnTo>
                <a:lnTo>
                  <a:pt x="5142" y="1459"/>
                </a:lnTo>
                <a:lnTo>
                  <a:pt x="5150" y="1462"/>
                </a:lnTo>
                <a:lnTo>
                  <a:pt x="5156" y="1465"/>
                </a:lnTo>
                <a:lnTo>
                  <a:pt x="5162" y="1469"/>
                </a:lnTo>
                <a:lnTo>
                  <a:pt x="5166" y="1472"/>
                </a:lnTo>
                <a:lnTo>
                  <a:pt x="5174" y="1480"/>
                </a:lnTo>
                <a:lnTo>
                  <a:pt x="5184" y="1491"/>
                </a:lnTo>
                <a:lnTo>
                  <a:pt x="5189" y="1500"/>
                </a:lnTo>
                <a:lnTo>
                  <a:pt x="5191" y="1505"/>
                </a:lnTo>
                <a:lnTo>
                  <a:pt x="5193" y="1507"/>
                </a:lnTo>
                <a:lnTo>
                  <a:pt x="5197" y="1511"/>
                </a:lnTo>
                <a:lnTo>
                  <a:pt x="5206" y="1516"/>
                </a:lnTo>
                <a:lnTo>
                  <a:pt x="5217" y="1522"/>
                </a:lnTo>
                <a:lnTo>
                  <a:pt x="5241" y="1534"/>
                </a:lnTo>
                <a:lnTo>
                  <a:pt x="5256" y="1541"/>
                </a:lnTo>
                <a:lnTo>
                  <a:pt x="5261" y="1543"/>
                </a:lnTo>
                <a:lnTo>
                  <a:pt x="5264" y="1546"/>
                </a:lnTo>
                <a:lnTo>
                  <a:pt x="5266" y="1549"/>
                </a:lnTo>
                <a:lnTo>
                  <a:pt x="5268" y="1552"/>
                </a:lnTo>
                <a:lnTo>
                  <a:pt x="5270" y="1556"/>
                </a:lnTo>
                <a:lnTo>
                  <a:pt x="5271" y="1556"/>
                </a:lnTo>
                <a:lnTo>
                  <a:pt x="5272" y="1553"/>
                </a:lnTo>
                <a:lnTo>
                  <a:pt x="5272" y="1550"/>
                </a:lnTo>
                <a:lnTo>
                  <a:pt x="5273" y="1541"/>
                </a:lnTo>
                <a:lnTo>
                  <a:pt x="5274" y="1530"/>
                </a:lnTo>
                <a:lnTo>
                  <a:pt x="5275" y="1523"/>
                </a:lnTo>
                <a:lnTo>
                  <a:pt x="5275" y="1518"/>
                </a:lnTo>
                <a:lnTo>
                  <a:pt x="5272" y="1514"/>
                </a:lnTo>
                <a:lnTo>
                  <a:pt x="5262" y="1505"/>
                </a:lnTo>
                <a:lnTo>
                  <a:pt x="5254" y="1497"/>
                </a:lnTo>
                <a:lnTo>
                  <a:pt x="5249" y="1493"/>
                </a:lnTo>
                <a:lnTo>
                  <a:pt x="5243" y="1487"/>
                </a:lnTo>
                <a:lnTo>
                  <a:pt x="5234" y="1478"/>
                </a:lnTo>
                <a:lnTo>
                  <a:pt x="5228" y="1472"/>
                </a:lnTo>
                <a:lnTo>
                  <a:pt x="5224" y="1467"/>
                </a:lnTo>
                <a:lnTo>
                  <a:pt x="5222" y="1462"/>
                </a:lnTo>
                <a:lnTo>
                  <a:pt x="5221" y="1457"/>
                </a:lnTo>
                <a:lnTo>
                  <a:pt x="5220" y="1446"/>
                </a:lnTo>
                <a:lnTo>
                  <a:pt x="5220" y="1432"/>
                </a:lnTo>
                <a:lnTo>
                  <a:pt x="5219" y="1425"/>
                </a:lnTo>
                <a:lnTo>
                  <a:pt x="5218" y="1418"/>
                </a:lnTo>
                <a:lnTo>
                  <a:pt x="5216" y="1413"/>
                </a:lnTo>
                <a:lnTo>
                  <a:pt x="5215" y="1410"/>
                </a:lnTo>
                <a:lnTo>
                  <a:pt x="5211" y="1405"/>
                </a:lnTo>
                <a:lnTo>
                  <a:pt x="5208" y="1399"/>
                </a:lnTo>
                <a:lnTo>
                  <a:pt x="5207" y="1397"/>
                </a:lnTo>
                <a:lnTo>
                  <a:pt x="5207" y="1395"/>
                </a:lnTo>
                <a:lnTo>
                  <a:pt x="5207" y="1394"/>
                </a:lnTo>
                <a:lnTo>
                  <a:pt x="5208" y="1392"/>
                </a:lnTo>
                <a:lnTo>
                  <a:pt x="5213" y="1386"/>
                </a:lnTo>
                <a:lnTo>
                  <a:pt x="5221" y="1376"/>
                </a:lnTo>
                <a:lnTo>
                  <a:pt x="5232" y="1365"/>
                </a:lnTo>
                <a:lnTo>
                  <a:pt x="5241" y="1354"/>
                </a:lnTo>
                <a:lnTo>
                  <a:pt x="5245" y="1350"/>
                </a:lnTo>
                <a:lnTo>
                  <a:pt x="5249" y="1346"/>
                </a:lnTo>
                <a:lnTo>
                  <a:pt x="5252" y="1342"/>
                </a:lnTo>
                <a:lnTo>
                  <a:pt x="5253" y="1338"/>
                </a:lnTo>
                <a:lnTo>
                  <a:pt x="5256" y="1325"/>
                </a:lnTo>
                <a:lnTo>
                  <a:pt x="5259" y="1307"/>
                </a:lnTo>
                <a:lnTo>
                  <a:pt x="5263" y="1289"/>
                </a:lnTo>
                <a:lnTo>
                  <a:pt x="5266" y="1273"/>
                </a:lnTo>
                <a:lnTo>
                  <a:pt x="5268" y="1260"/>
                </a:lnTo>
                <a:lnTo>
                  <a:pt x="5271" y="1252"/>
                </a:lnTo>
                <a:lnTo>
                  <a:pt x="5273" y="1248"/>
                </a:lnTo>
                <a:lnTo>
                  <a:pt x="5275" y="1244"/>
                </a:lnTo>
                <a:lnTo>
                  <a:pt x="5279" y="1241"/>
                </a:lnTo>
                <a:lnTo>
                  <a:pt x="5284" y="1238"/>
                </a:lnTo>
                <a:lnTo>
                  <a:pt x="5294" y="1232"/>
                </a:lnTo>
                <a:lnTo>
                  <a:pt x="5301" y="1227"/>
                </a:lnTo>
                <a:lnTo>
                  <a:pt x="5304" y="1225"/>
                </a:lnTo>
                <a:lnTo>
                  <a:pt x="5305" y="1222"/>
                </a:lnTo>
                <a:lnTo>
                  <a:pt x="5306" y="1219"/>
                </a:lnTo>
                <a:lnTo>
                  <a:pt x="5306" y="1217"/>
                </a:lnTo>
                <a:lnTo>
                  <a:pt x="5306" y="1215"/>
                </a:lnTo>
                <a:lnTo>
                  <a:pt x="5307" y="1212"/>
                </a:lnTo>
                <a:lnTo>
                  <a:pt x="5309" y="1210"/>
                </a:lnTo>
                <a:lnTo>
                  <a:pt x="5311" y="1208"/>
                </a:lnTo>
                <a:lnTo>
                  <a:pt x="5315" y="1208"/>
                </a:lnTo>
                <a:lnTo>
                  <a:pt x="5317" y="1208"/>
                </a:lnTo>
                <a:lnTo>
                  <a:pt x="5320" y="1210"/>
                </a:lnTo>
                <a:lnTo>
                  <a:pt x="5323" y="1214"/>
                </a:lnTo>
                <a:lnTo>
                  <a:pt x="5328" y="1223"/>
                </a:lnTo>
                <a:lnTo>
                  <a:pt x="5333" y="1230"/>
                </a:lnTo>
                <a:lnTo>
                  <a:pt x="5336" y="1233"/>
                </a:lnTo>
                <a:lnTo>
                  <a:pt x="5337" y="1235"/>
                </a:lnTo>
                <a:lnTo>
                  <a:pt x="5337" y="1237"/>
                </a:lnTo>
                <a:lnTo>
                  <a:pt x="5336" y="1239"/>
                </a:lnTo>
                <a:lnTo>
                  <a:pt x="5332" y="1243"/>
                </a:lnTo>
                <a:lnTo>
                  <a:pt x="5330" y="1248"/>
                </a:lnTo>
                <a:lnTo>
                  <a:pt x="5330" y="1249"/>
                </a:lnTo>
                <a:lnTo>
                  <a:pt x="5331" y="1251"/>
                </a:lnTo>
                <a:lnTo>
                  <a:pt x="5332" y="1252"/>
                </a:lnTo>
                <a:lnTo>
                  <a:pt x="5334" y="1253"/>
                </a:lnTo>
                <a:lnTo>
                  <a:pt x="5340" y="1254"/>
                </a:lnTo>
                <a:lnTo>
                  <a:pt x="5347" y="1253"/>
                </a:lnTo>
                <a:lnTo>
                  <a:pt x="5350" y="1253"/>
                </a:lnTo>
                <a:lnTo>
                  <a:pt x="5352" y="1254"/>
                </a:lnTo>
                <a:lnTo>
                  <a:pt x="5354" y="1256"/>
                </a:lnTo>
                <a:lnTo>
                  <a:pt x="5354" y="1259"/>
                </a:lnTo>
                <a:lnTo>
                  <a:pt x="5355" y="1269"/>
                </a:lnTo>
                <a:lnTo>
                  <a:pt x="5355" y="1278"/>
                </a:lnTo>
                <a:lnTo>
                  <a:pt x="5355" y="1289"/>
                </a:lnTo>
                <a:lnTo>
                  <a:pt x="5354" y="1300"/>
                </a:lnTo>
                <a:lnTo>
                  <a:pt x="5352" y="1314"/>
                </a:lnTo>
                <a:lnTo>
                  <a:pt x="5349" y="1326"/>
                </a:lnTo>
                <a:lnTo>
                  <a:pt x="5346" y="1337"/>
                </a:lnTo>
                <a:lnTo>
                  <a:pt x="5344" y="1341"/>
                </a:lnTo>
                <a:lnTo>
                  <a:pt x="5343" y="1342"/>
                </a:lnTo>
                <a:lnTo>
                  <a:pt x="5341" y="1345"/>
                </a:lnTo>
                <a:lnTo>
                  <a:pt x="5340" y="1348"/>
                </a:lnTo>
                <a:lnTo>
                  <a:pt x="5340" y="1352"/>
                </a:lnTo>
                <a:lnTo>
                  <a:pt x="5341" y="1357"/>
                </a:lnTo>
                <a:lnTo>
                  <a:pt x="5343" y="1363"/>
                </a:lnTo>
                <a:lnTo>
                  <a:pt x="5346" y="1374"/>
                </a:lnTo>
                <a:lnTo>
                  <a:pt x="5348" y="1382"/>
                </a:lnTo>
                <a:lnTo>
                  <a:pt x="5349" y="1390"/>
                </a:lnTo>
                <a:lnTo>
                  <a:pt x="5351" y="1402"/>
                </a:lnTo>
                <a:lnTo>
                  <a:pt x="5354" y="1413"/>
                </a:lnTo>
                <a:lnTo>
                  <a:pt x="5354" y="1421"/>
                </a:lnTo>
                <a:lnTo>
                  <a:pt x="5352" y="1429"/>
                </a:lnTo>
                <a:lnTo>
                  <a:pt x="5349" y="1437"/>
                </a:lnTo>
                <a:lnTo>
                  <a:pt x="5348" y="1442"/>
                </a:lnTo>
                <a:lnTo>
                  <a:pt x="5348" y="1449"/>
                </a:lnTo>
                <a:lnTo>
                  <a:pt x="5348" y="1455"/>
                </a:lnTo>
                <a:lnTo>
                  <a:pt x="5349" y="1461"/>
                </a:lnTo>
                <a:lnTo>
                  <a:pt x="5351" y="1473"/>
                </a:lnTo>
                <a:lnTo>
                  <a:pt x="5352" y="1480"/>
                </a:lnTo>
                <a:lnTo>
                  <a:pt x="5355" y="1484"/>
                </a:lnTo>
                <a:lnTo>
                  <a:pt x="5360" y="1489"/>
                </a:lnTo>
                <a:lnTo>
                  <a:pt x="5362" y="1491"/>
                </a:lnTo>
                <a:lnTo>
                  <a:pt x="5363" y="1494"/>
                </a:lnTo>
                <a:lnTo>
                  <a:pt x="5362" y="1497"/>
                </a:lnTo>
                <a:lnTo>
                  <a:pt x="5359" y="1501"/>
                </a:lnTo>
                <a:lnTo>
                  <a:pt x="5355" y="1506"/>
                </a:lnTo>
                <a:lnTo>
                  <a:pt x="5354" y="1511"/>
                </a:lnTo>
                <a:lnTo>
                  <a:pt x="5353" y="1515"/>
                </a:lnTo>
                <a:lnTo>
                  <a:pt x="5354" y="1519"/>
                </a:lnTo>
                <a:lnTo>
                  <a:pt x="5357" y="1526"/>
                </a:lnTo>
                <a:lnTo>
                  <a:pt x="5360" y="1534"/>
                </a:lnTo>
                <a:lnTo>
                  <a:pt x="5362" y="1540"/>
                </a:lnTo>
                <a:lnTo>
                  <a:pt x="5364" y="1547"/>
                </a:lnTo>
                <a:lnTo>
                  <a:pt x="5365" y="1551"/>
                </a:lnTo>
                <a:lnTo>
                  <a:pt x="5365" y="1555"/>
                </a:lnTo>
                <a:lnTo>
                  <a:pt x="5364" y="1559"/>
                </a:lnTo>
                <a:lnTo>
                  <a:pt x="5363" y="1562"/>
                </a:lnTo>
                <a:lnTo>
                  <a:pt x="5362" y="1569"/>
                </a:lnTo>
                <a:lnTo>
                  <a:pt x="5362" y="1578"/>
                </a:lnTo>
                <a:lnTo>
                  <a:pt x="5362" y="1582"/>
                </a:lnTo>
                <a:lnTo>
                  <a:pt x="5362" y="1587"/>
                </a:lnTo>
                <a:lnTo>
                  <a:pt x="5361" y="1591"/>
                </a:lnTo>
                <a:lnTo>
                  <a:pt x="5359" y="1596"/>
                </a:lnTo>
                <a:lnTo>
                  <a:pt x="5354" y="1608"/>
                </a:lnTo>
                <a:lnTo>
                  <a:pt x="5351" y="1618"/>
                </a:lnTo>
                <a:lnTo>
                  <a:pt x="5349" y="1623"/>
                </a:lnTo>
                <a:lnTo>
                  <a:pt x="5347" y="1627"/>
                </a:lnTo>
                <a:lnTo>
                  <a:pt x="5345" y="1630"/>
                </a:lnTo>
                <a:lnTo>
                  <a:pt x="5342" y="1633"/>
                </a:lnTo>
                <a:lnTo>
                  <a:pt x="5328" y="1636"/>
                </a:lnTo>
                <a:lnTo>
                  <a:pt x="5309" y="1640"/>
                </a:lnTo>
                <a:lnTo>
                  <a:pt x="5293" y="1643"/>
                </a:lnTo>
                <a:lnTo>
                  <a:pt x="5285" y="1644"/>
                </a:lnTo>
                <a:lnTo>
                  <a:pt x="5282" y="1644"/>
                </a:lnTo>
                <a:lnTo>
                  <a:pt x="5277" y="1643"/>
                </a:lnTo>
                <a:lnTo>
                  <a:pt x="5275" y="1642"/>
                </a:lnTo>
                <a:lnTo>
                  <a:pt x="5273" y="1643"/>
                </a:lnTo>
                <a:lnTo>
                  <a:pt x="5271" y="1645"/>
                </a:lnTo>
                <a:lnTo>
                  <a:pt x="5271" y="1647"/>
                </a:lnTo>
                <a:lnTo>
                  <a:pt x="5272" y="1651"/>
                </a:lnTo>
                <a:lnTo>
                  <a:pt x="5275" y="1654"/>
                </a:lnTo>
                <a:lnTo>
                  <a:pt x="5279" y="1657"/>
                </a:lnTo>
                <a:lnTo>
                  <a:pt x="5283" y="1659"/>
                </a:lnTo>
                <a:lnTo>
                  <a:pt x="5290" y="1664"/>
                </a:lnTo>
                <a:lnTo>
                  <a:pt x="5295" y="1666"/>
                </a:lnTo>
                <a:lnTo>
                  <a:pt x="5301" y="1666"/>
                </a:lnTo>
                <a:lnTo>
                  <a:pt x="5315" y="1666"/>
                </a:lnTo>
                <a:lnTo>
                  <a:pt x="5323" y="1666"/>
                </a:lnTo>
                <a:lnTo>
                  <a:pt x="5329" y="1665"/>
                </a:lnTo>
                <a:lnTo>
                  <a:pt x="5336" y="1664"/>
                </a:lnTo>
                <a:lnTo>
                  <a:pt x="5339" y="1662"/>
                </a:lnTo>
                <a:lnTo>
                  <a:pt x="5349" y="1651"/>
                </a:lnTo>
                <a:lnTo>
                  <a:pt x="5360" y="1640"/>
                </a:lnTo>
                <a:lnTo>
                  <a:pt x="5365" y="1638"/>
                </a:lnTo>
                <a:lnTo>
                  <a:pt x="5372" y="1637"/>
                </a:lnTo>
                <a:lnTo>
                  <a:pt x="5376" y="1636"/>
                </a:lnTo>
                <a:lnTo>
                  <a:pt x="5380" y="1634"/>
                </a:lnTo>
                <a:lnTo>
                  <a:pt x="5382" y="1632"/>
                </a:lnTo>
                <a:lnTo>
                  <a:pt x="5384" y="1629"/>
                </a:lnTo>
                <a:lnTo>
                  <a:pt x="5385" y="1618"/>
                </a:lnTo>
                <a:lnTo>
                  <a:pt x="5387" y="1605"/>
                </a:lnTo>
                <a:lnTo>
                  <a:pt x="5389" y="1593"/>
                </a:lnTo>
                <a:lnTo>
                  <a:pt x="5392" y="1585"/>
                </a:lnTo>
                <a:lnTo>
                  <a:pt x="5397" y="1581"/>
                </a:lnTo>
                <a:lnTo>
                  <a:pt x="5404" y="1577"/>
                </a:lnTo>
                <a:lnTo>
                  <a:pt x="5407" y="1574"/>
                </a:lnTo>
                <a:lnTo>
                  <a:pt x="5408" y="1571"/>
                </a:lnTo>
                <a:lnTo>
                  <a:pt x="5407" y="1567"/>
                </a:lnTo>
                <a:lnTo>
                  <a:pt x="5404" y="1562"/>
                </a:lnTo>
                <a:lnTo>
                  <a:pt x="5395" y="1550"/>
                </a:lnTo>
                <a:lnTo>
                  <a:pt x="5387" y="1542"/>
                </a:lnTo>
                <a:lnTo>
                  <a:pt x="5384" y="1539"/>
                </a:lnTo>
                <a:lnTo>
                  <a:pt x="5382" y="1537"/>
                </a:lnTo>
                <a:lnTo>
                  <a:pt x="5381" y="1535"/>
                </a:lnTo>
                <a:lnTo>
                  <a:pt x="5382" y="1533"/>
                </a:lnTo>
                <a:lnTo>
                  <a:pt x="5384" y="1530"/>
                </a:lnTo>
                <a:lnTo>
                  <a:pt x="5390" y="1527"/>
                </a:lnTo>
                <a:lnTo>
                  <a:pt x="5396" y="1525"/>
                </a:lnTo>
                <a:lnTo>
                  <a:pt x="5405" y="1522"/>
                </a:lnTo>
                <a:lnTo>
                  <a:pt x="5419" y="1518"/>
                </a:lnTo>
                <a:lnTo>
                  <a:pt x="5426" y="1516"/>
                </a:lnTo>
                <a:lnTo>
                  <a:pt x="5424" y="1515"/>
                </a:lnTo>
                <a:lnTo>
                  <a:pt x="5419" y="1511"/>
                </a:lnTo>
                <a:lnTo>
                  <a:pt x="5415" y="1509"/>
                </a:lnTo>
                <a:lnTo>
                  <a:pt x="5410" y="1507"/>
                </a:lnTo>
                <a:lnTo>
                  <a:pt x="5404" y="1506"/>
                </a:lnTo>
                <a:lnTo>
                  <a:pt x="5395" y="1505"/>
                </a:lnTo>
                <a:lnTo>
                  <a:pt x="5384" y="1504"/>
                </a:lnTo>
                <a:lnTo>
                  <a:pt x="5379" y="1503"/>
                </a:lnTo>
                <a:lnTo>
                  <a:pt x="5377" y="1500"/>
                </a:lnTo>
                <a:lnTo>
                  <a:pt x="5377" y="1494"/>
                </a:lnTo>
                <a:lnTo>
                  <a:pt x="5375" y="1481"/>
                </a:lnTo>
                <a:lnTo>
                  <a:pt x="5372" y="1460"/>
                </a:lnTo>
                <a:lnTo>
                  <a:pt x="5370" y="1450"/>
                </a:lnTo>
                <a:lnTo>
                  <a:pt x="5369" y="1440"/>
                </a:lnTo>
                <a:lnTo>
                  <a:pt x="5369" y="1433"/>
                </a:lnTo>
                <a:lnTo>
                  <a:pt x="5370" y="1429"/>
                </a:lnTo>
                <a:lnTo>
                  <a:pt x="5375" y="1425"/>
                </a:lnTo>
                <a:lnTo>
                  <a:pt x="5381" y="1423"/>
                </a:lnTo>
                <a:lnTo>
                  <a:pt x="5383" y="1420"/>
                </a:lnTo>
                <a:lnTo>
                  <a:pt x="5383" y="1417"/>
                </a:lnTo>
                <a:lnTo>
                  <a:pt x="5382" y="1413"/>
                </a:lnTo>
                <a:lnTo>
                  <a:pt x="5379" y="1407"/>
                </a:lnTo>
                <a:lnTo>
                  <a:pt x="5370" y="1395"/>
                </a:lnTo>
                <a:lnTo>
                  <a:pt x="5366" y="1386"/>
                </a:lnTo>
                <a:lnTo>
                  <a:pt x="5365" y="1381"/>
                </a:lnTo>
                <a:lnTo>
                  <a:pt x="5364" y="1374"/>
                </a:lnTo>
                <a:lnTo>
                  <a:pt x="5365" y="1367"/>
                </a:lnTo>
                <a:lnTo>
                  <a:pt x="5365" y="1358"/>
                </a:lnTo>
                <a:lnTo>
                  <a:pt x="5366" y="1348"/>
                </a:lnTo>
                <a:lnTo>
                  <a:pt x="5369" y="1339"/>
                </a:lnTo>
                <a:lnTo>
                  <a:pt x="5372" y="1330"/>
                </a:lnTo>
                <a:lnTo>
                  <a:pt x="5375" y="1323"/>
                </a:lnTo>
                <a:lnTo>
                  <a:pt x="5382" y="1314"/>
                </a:lnTo>
                <a:lnTo>
                  <a:pt x="5385" y="1309"/>
                </a:lnTo>
                <a:lnTo>
                  <a:pt x="5386" y="1307"/>
                </a:lnTo>
                <a:lnTo>
                  <a:pt x="5390" y="1300"/>
                </a:lnTo>
                <a:lnTo>
                  <a:pt x="5394" y="1292"/>
                </a:lnTo>
                <a:lnTo>
                  <a:pt x="5395" y="1283"/>
                </a:lnTo>
                <a:lnTo>
                  <a:pt x="5398" y="1270"/>
                </a:lnTo>
                <a:lnTo>
                  <a:pt x="5403" y="1252"/>
                </a:lnTo>
                <a:lnTo>
                  <a:pt x="5406" y="1243"/>
                </a:lnTo>
                <a:lnTo>
                  <a:pt x="5408" y="1238"/>
                </a:lnTo>
                <a:lnTo>
                  <a:pt x="5409" y="1236"/>
                </a:lnTo>
                <a:lnTo>
                  <a:pt x="5410" y="1235"/>
                </a:lnTo>
                <a:lnTo>
                  <a:pt x="5411" y="1235"/>
                </a:lnTo>
                <a:lnTo>
                  <a:pt x="5411" y="1237"/>
                </a:lnTo>
                <a:lnTo>
                  <a:pt x="5414" y="1248"/>
                </a:lnTo>
                <a:lnTo>
                  <a:pt x="5418" y="1261"/>
                </a:lnTo>
                <a:lnTo>
                  <a:pt x="5420" y="1267"/>
                </a:lnTo>
                <a:lnTo>
                  <a:pt x="5423" y="1275"/>
                </a:lnTo>
                <a:lnTo>
                  <a:pt x="5423" y="1281"/>
                </a:lnTo>
                <a:lnTo>
                  <a:pt x="5421" y="1287"/>
                </a:lnTo>
                <a:lnTo>
                  <a:pt x="5418" y="1298"/>
                </a:lnTo>
                <a:lnTo>
                  <a:pt x="5416" y="1308"/>
                </a:lnTo>
                <a:lnTo>
                  <a:pt x="5415" y="1320"/>
                </a:lnTo>
                <a:lnTo>
                  <a:pt x="5413" y="1331"/>
                </a:lnTo>
                <a:lnTo>
                  <a:pt x="5413" y="1336"/>
                </a:lnTo>
                <a:lnTo>
                  <a:pt x="5414" y="1338"/>
                </a:lnTo>
                <a:lnTo>
                  <a:pt x="5416" y="1339"/>
                </a:lnTo>
                <a:lnTo>
                  <a:pt x="5418" y="1338"/>
                </a:lnTo>
                <a:lnTo>
                  <a:pt x="5424" y="1335"/>
                </a:lnTo>
                <a:lnTo>
                  <a:pt x="5427" y="1332"/>
                </a:lnTo>
                <a:lnTo>
                  <a:pt x="5434" y="1293"/>
                </a:lnTo>
                <a:lnTo>
                  <a:pt x="5436" y="1287"/>
                </a:lnTo>
                <a:lnTo>
                  <a:pt x="5442" y="1278"/>
                </a:lnTo>
                <a:lnTo>
                  <a:pt x="5447" y="1273"/>
                </a:lnTo>
                <a:lnTo>
                  <a:pt x="5450" y="1270"/>
                </a:lnTo>
                <a:lnTo>
                  <a:pt x="5452" y="1267"/>
                </a:lnTo>
                <a:lnTo>
                  <a:pt x="5453" y="1267"/>
                </a:lnTo>
                <a:lnTo>
                  <a:pt x="5454" y="1267"/>
                </a:lnTo>
                <a:lnTo>
                  <a:pt x="5455" y="1267"/>
                </a:lnTo>
                <a:lnTo>
                  <a:pt x="5463" y="1273"/>
                </a:lnTo>
                <a:lnTo>
                  <a:pt x="5477" y="1281"/>
                </a:lnTo>
                <a:lnTo>
                  <a:pt x="5491" y="1289"/>
                </a:lnTo>
                <a:lnTo>
                  <a:pt x="5501" y="1297"/>
                </a:lnTo>
                <a:lnTo>
                  <a:pt x="5511" y="1304"/>
                </a:lnTo>
                <a:lnTo>
                  <a:pt x="5523" y="1310"/>
                </a:lnTo>
                <a:lnTo>
                  <a:pt x="5529" y="1315"/>
                </a:lnTo>
                <a:lnTo>
                  <a:pt x="5536" y="1318"/>
                </a:lnTo>
                <a:lnTo>
                  <a:pt x="5540" y="1322"/>
                </a:lnTo>
                <a:lnTo>
                  <a:pt x="5544" y="1326"/>
                </a:lnTo>
                <a:lnTo>
                  <a:pt x="5547" y="1329"/>
                </a:lnTo>
                <a:lnTo>
                  <a:pt x="5551" y="1331"/>
                </a:lnTo>
                <a:lnTo>
                  <a:pt x="5557" y="1332"/>
                </a:lnTo>
                <a:lnTo>
                  <a:pt x="5562" y="1333"/>
                </a:lnTo>
                <a:lnTo>
                  <a:pt x="5566" y="1335"/>
                </a:lnTo>
                <a:lnTo>
                  <a:pt x="5570" y="1337"/>
                </a:lnTo>
                <a:lnTo>
                  <a:pt x="5573" y="1339"/>
                </a:lnTo>
                <a:lnTo>
                  <a:pt x="5574" y="1343"/>
                </a:lnTo>
                <a:lnTo>
                  <a:pt x="5574" y="1351"/>
                </a:lnTo>
                <a:lnTo>
                  <a:pt x="5575" y="1358"/>
                </a:lnTo>
                <a:lnTo>
                  <a:pt x="5574" y="1364"/>
                </a:lnTo>
                <a:lnTo>
                  <a:pt x="5571" y="1372"/>
                </a:lnTo>
                <a:lnTo>
                  <a:pt x="5569" y="1377"/>
                </a:lnTo>
                <a:lnTo>
                  <a:pt x="5567" y="1382"/>
                </a:lnTo>
                <a:lnTo>
                  <a:pt x="5567" y="1387"/>
                </a:lnTo>
                <a:lnTo>
                  <a:pt x="5566" y="1391"/>
                </a:lnTo>
                <a:lnTo>
                  <a:pt x="5567" y="1396"/>
                </a:lnTo>
                <a:lnTo>
                  <a:pt x="5568" y="1402"/>
                </a:lnTo>
                <a:lnTo>
                  <a:pt x="5570" y="1408"/>
                </a:lnTo>
                <a:lnTo>
                  <a:pt x="5573" y="1414"/>
                </a:lnTo>
                <a:lnTo>
                  <a:pt x="5578" y="1420"/>
                </a:lnTo>
                <a:lnTo>
                  <a:pt x="5582" y="1425"/>
                </a:lnTo>
                <a:lnTo>
                  <a:pt x="5586" y="1428"/>
                </a:lnTo>
                <a:lnTo>
                  <a:pt x="5590" y="1428"/>
                </a:lnTo>
                <a:lnTo>
                  <a:pt x="5594" y="1428"/>
                </a:lnTo>
                <a:lnTo>
                  <a:pt x="5597" y="1425"/>
                </a:lnTo>
                <a:lnTo>
                  <a:pt x="5599" y="1420"/>
                </a:lnTo>
                <a:lnTo>
                  <a:pt x="5600" y="1415"/>
                </a:lnTo>
                <a:lnTo>
                  <a:pt x="5597" y="1399"/>
                </a:lnTo>
                <a:lnTo>
                  <a:pt x="5596" y="1383"/>
                </a:lnTo>
                <a:lnTo>
                  <a:pt x="5595" y="1368"/>
                </a:lnTo>
                <a:lnTo>
                  <a:pt x="5593" y="1359"/>
                </a:lnTo>
                <a:lnTo>
                  <a:pt x="5584" y="1348"/>
                </a:lnTo>
                <a:lnTo>
                  <a:pt x="5574" y="1336"/>
                </a:lnTo>
                <a:lnTo>
                  <a:pt x="5571" y="1326"/>
                </a:lnTo>
                <a:lnTo>
                  <a:pt x="5566" y="1315"/>
                </a:lnTo>
                <a:lnTo>
                  <a:pt x="5564" y="1311"/>
                </a:lnTo>
                <a:lnTo>
                  <a:pt x="5560" y="1308"/>
                </a:lnTo>
                <a:lnTo>
                  <a:pt x="5557" y="1305"/>
                </a:lnTo>
                <a:lnTo>
                  <a:pt x="5551" y="1302"/>
                </a:lnTo>
                <a:lnTo>
                  <a:pt x="5543" y="1296"/>
                </a:lnTo>
                <a:lnTo>
                  <a:pt x="5535" y="1288"/>
                </a:lnTo>
                <a:lnTo>
                  <a:pt x="5533" y="1282"/>
                </a:lnTo>
                <a:lnTo>
                  <a:pt x="5531" y="1276"/>
                </a:lnTo>
                <a:lnTo>
                  <a:pt x="5531" y="1267"/>
                </a:lnTo>
                <a:lnTo>
                  <a:pt x="5533" y="1260"/>
                </a:lnTo>
                <a:lnTo>
                  <a:pt x="5534" y="1253"/>
                </a:lnTo>
                <a:lnTo>
                  <a:pt x="5535" y="1247"/>
                </a:lnTo>
                <a:lnTo>
                  <a:pt x="5535" y="1241"/>
                </a:lnTo>
                <a:lnTo>
                  <a:pt x="5534" y="1237"/>
                </a:lnTo>
                <a:lnTo>
                  <a:pt x="5529" y="1232"/>
                </a:lnTo>
                <a:lnTo>
                  <a:pt x="5526" y="1227"/>
                </a:lnTo>
                <a:lnTo>
                  <a:pt x="5524" y="1221"/>
                </a:lnTo>
                <a:lnTo>
                  <a:pt x="5524" y="1218"/>
                </a:lnTo>
                <a:lnTo>
                  <a:pt x="5541" y="1212"/>
                </a:lnTo>
                <a:lnTo>
                  <a:pt x="5578" y="1201"/>
                </a:lnTo>
                <a:lnTo>
                  <a:pt x="5597" y="1196"/>
                </a:lnTo>
                <a:lnTo>
                  <a:pt x="5615" y="1193"/>
                </a:lnTo>
                <a:lnTo>
                  <a:pt x="5622" y="1192"/>
                </a:lnTo>
                <a:lnTo>
                  <a:pt x="5628" y="1191"/>
                </a:lnTo>
                <a:lnTo>
                  <a:pt x="5631" y="1191"/>
                </a:lnTo>
                <a:lnTo>
                  <a:pt x="5633" y="1192"/>
                </a:lnTo>
                <a:lnTo>
                  <a:pt x="5634" y="1194"/>
                </a:lnTo>
                <a:lnTo>
                  <a:pt x="5638" y="1197"/>
                </a:lnTo>
                <a:lnTo>
                  <a:pt x="5643" y="1199"/>
                </a:lnTo>
                <a:lnTo>
                  <a:pt x="5648" y="1201"/>
                </a:lnTo>
                <a:lnTo>
                  <a:pt x="5653" y="1204"/>
                </a:lnTo>
                <a:lnTo>
                  <a:pt x="5658" y="1205"/>
                </a:lnTo>
                <a:lnTo>
                  <a:pt x="5662" y="1205"/>
                </a:lnTo>
                <a:lnTo>
                  <a:pt x="5665" y="1203"/>
                </a:lnTo>
                <a:lnTo>
                  <a:pt x="5669" y="1198"/>
                </a:lnTo>
                <a:lnTo>
                  <a:pt x="5675" y="1192"/>
                </a:lnTo>
                <a:lnTo>
                  <a:pt x="5676" y="1187"/>
                </a:lnTo>
                <a:lnTo>
                  <a:pt x="5676" y="1180"/>
                </a:lnTo>
                <a:lnTo>
                  <a:pt x="5674" y="1172"/>
                </a:lnTo>
                <a:lnTo>
                  <a:pt x="5669" y="1161"/>
                </a:lnTo>
                <a:lnTo>
                  <a:pt x="5656" y="1141"/>
                </a:lnTo>
                <a:lnTo>
                  <a:pt x="5647" y="1127"/>
                </a:lnTo>
                <a:lnTo>
                  <a:pt x="5646" y="1124"/>
                </a:lnTo>
                <a:lnTo>
                  <a:pt x="5646" y="1121"/>
                </a:lnTo>
                <a:lnTo>
                  <a:pt x="5646" y="1119"/>
                </a:lnTo>
                <a:lnTo>
                  <a:pt x="5646" y="1116"/>
                </a:lnTo>
                <a:lnTo>
                  <a:pt x="5648" y="1112"/>
                </a:lnTo>
                <a:lnTo>
                  <a:pt x="5650" y="1108"/>
                </a:lnTo>
                <a:lnTo>
                  <a:pt x="5654" y="1105"/>
                </a:lnTo>
                <a:lnTo>
                  <a:pt x="5658" y="1101"/>
                </a:lnTo>
                <a:lnTo>
                  <a:pt x="5679" y="1082"/>
                </a:lnTo>
                <a:lnTo>
                  <a:pt x="5700" y="1062"/>
                </a:lnTo>
                <a:lnTo>
                  <a:pt x="5719" y="1044"/>
                </a:lnTo>
                <a:lnTo>
                  <a:pt x="5735" y="1030"/>
                </a:lnTo>
                <a:lnTo>
                  <a:pt x="5739" y="1026"/>
                </a:lnTo>
                <a:lnTo>
                  <a:pt x="5744" y="1024"/>
                </a:lnTo>
                <a:lnTo>
                  <a:pt x="5750" y="1022"/>
                </a:lnTo>
                <a:lnTo>
                  <a:pt x="5758" y="1021"/>
                </a:lnTo>
                <a:lnTo>
                  <a:pt x="5772" y="1018"/>
                </a:lnTo>
                <a:lnTo>
                  <a:pt x="5788" y="1016"/>
                </a:lnTo>
                <a:lnTo>
                  <a:pt x="5804" y="1014"/>
                </a:lnTo>
                <a:lnTo>
                  <a:pt x="5818" y="1011"/>
                </a:lnTo>
                <a:lnTo>
                  <a:pt x="5824" y="1010"/>
                </a:lnTo>
                <a:lnTo>
                  <a:pt x="5828" y="1008"/>
                </a:lnTo>
                <a:lnTo>
                  <a:pt x="5831" y="1004"/>
                </a:lnTo>
                <a:lnTo>
                  <a:pt x="5833" y="1002"/>
                </a:lnTo>
                <a:lnTo>
                  <a:pt x="5836" y="995"/>
                </a:lnTo>
                <a:lnTo>
                  <a:pt x="5837" y="988"/>
                </a:lnTo>
                <a:lnTo>
                  <a:pt x="5838" y="980"/>
                </a:lnTo>
                <a:lnTo>
                  <a:pt x="5838" y="973"/>
                </a:lnTo>
                <a:lnTo>
                  <a:pt x="5838" y="960"/>
                </a:lnTo>
                <a:lnTo>
                  <a:pt x="5837" y="956"/>
                </a:lnTo>
                <a:lnTo>
                  <a:pt x="5837" y="951"/>
                </a:lnTo>
                <a:lnTo>
                  <a:pt x="5836" y="940"/>
                </a:lnTo>
                <a:lnTo>
                  <a:pt x="5836" y="933"/>
                </a:lnTo>
                <a:lnTo>
                  <a:pt x="5836" y="928"/>
                </a:lnTo>
                <a:lnTo>
                  <a:pt x="5837" y="926"/>
                </a:lnTo>
                <a:lnTo>
                  <a:pt x="5838" y="925"/>
                </a:lnTo>
                <a:lnTo>
                  <a:pt x="5841" y="924"/>
                </a:lnTo>
                <a:lnTo>
                  <a:pt x="5842" y="923"/>
                </a:lnTo>
                <a:lnTo>
                  <a:pt x="5850" y="922"/>
                </a:lnTo>
                <a:lnTo>
                  <a:pt x="5859" y="919"/>
                </a:lnTo>
                <a:lnTo>
                  <a:pt x="5863" y="916"/>
                </a:lnTo>
                <a:lnTo>
                  <a:pt x="5865" y="914"/>
                </a:lnTo>
                <a:lnTo>
                  <a:pt x="5866" y="912"/>
                </a:lnTo>
                <a:lnTo>
                  <a:pt x="5866" y="910"/>
                </a:lnTo>
                <a:lnTo>
                  <a:pt x="5865" y="908"/>
                </a:lnTo>
                <a:lnTo>
                  <a:pt x="5865" y="904"/>
                </a:lnTo>
                <a:lnTo>
                  <a:pt x="5866" y="899"/>
                </a:lnTo>
                <a:lnTo>
                  <a:pt x="5868" y="894"/>
                </a:lnTo>
                <a:lnTo>
                  <a:pt x="5870" y="891"/>
                </a:lnTo>
                <a:lnTo>
                  <a:pt x="5873" y="889"/>
                </a:lnTo>
                <a:lnTo>
                  <a:pt x="5874" y="889"/>
                </a:lnTo>
                <a:lnTo>
                  <a:pt x="5875" y="890"/>
                </a:lnTo>
                <a:lnTo>
                  <a:pt x="5876" y="891"/>
                </a:lnTo>
                <a:lnTo>
                  <a:pt x="5877" y="894"/>
                </a:lnTo>
                <a:lnTo>
                  <a:pt x="5881" y="904"/>
                </a:lnTo>
                <a:lnTo>
                  <a:pt x="5882" y="910"/>
                </a:lnTo>
                <a:lnTo>
                  <a:pt x="5882" y="915"/>
                </a:lnTo>
                <a:lnTo>
                  <a:pt x="5880" y="921"/>
                </a:lnTo>
                <a:lnTo>
                  <a:pt x="5887" y="929"/>
                </a:lnTo>
                <a:lnTo>
                  <a:pt x="5894" y="941"/>
                </a:lnTo>
                <a:lnTo>
                  <a:pt x="5894" y="944"/>
                </a:lnTo>
                <a:lnTo>
                  <a:pt x="5892" y="947"/>
                </a:lnTo>
                <a:lnTo>
                  <a:pt x="5889" y="948"/>
                </a:lnTo>
                <a:lnTo>
                  <a:pt x="5885" y="949"/>
                </a:lnTo>
                <a:lnTo>
                  <a:pt x="5880" y="948"/>
                </a:lnTo>
                <a:lnTo>
                  <a:pt x="5876" y="947"/>
                </a:lnTo>
                <a:lnTo>
                  <a:pt x="5872" y="945"/>
                </a:lnTo>
                <a:lnTo>
                  <a:pt x="5868" y="942"/>
                </a:lnTo>
                <a:lnTo>
                  <a:pt x="5864" y="938"/>
                </a:lnTo>
                <a:lnTo>
                  <a:pt x="5858" y="935"/>
                </a:lnTo>
                <a:lnTo>
                  <a:pt x="5854" y="934"/>
                </a:lnTo>
                <a:lnTo>
                  <a:pt x="5850" y="932"/>
                </a:lnTo>
                <a:lnTo>
                  <a:pt x="5846" y="932"/>
                </a:lnTo>
                <a:lnTo>
                  <a:pt x="5843" y="932"/>
                </a:lnTo>
                <a:lnTo>
                  <a:pt x="5842" y="933"/>
                </a:lnTo>
                <a:lnTo>
                  <a:pt x="5842" y="935"/>
                </a:lnTo>
                <a:lnTo>
                  <a:pt x="5847" y="940"/>
                </a:lnTo>
                <a:lnTo>
                  <a:pt x="5853" y="944"/>
                </a:lnTo>
                <a:lnTo>
                  <a:pt x="5859" y="947"/>
                </a:lnTo>
                <a:lnTo>
                  <a:pt x="5863" y="948"/>
                </a:lnTo>
                <a:lnTo>
                  <a:pt x="5860" y="951"/>
                </a:lnTo>
                <a:lnTo>
                  <a:pt x="5857" y="962"/>
                </a:lnTo>
                <a:lnTo>
                  <a:pt x="5857" y="965"/>
                </a:lnTo>
                <a:lnTo>
                  <a:pt x="5857" y="967"/>
                </a:lnTo>
                <a:lnTo>
                  <a:pt x="5859" y="968"/>
                </a:lnTo>
                <a:lnTo>
                  <a:pt x="5863" y="968"/>
                </a:lnTo>
                <a:lnTo>
                  <a:pt x="5869" y="966"/>
                </a:lnTo>
                <a:lnTo>
                  <a:pt x="5875" y="962"/>
                </a:lnTo>
                <a:lnTo>
                  <a:pt x="5877" y="960"/>
                </a:lnTo>
                <a:lnTo>
                  <a:pt x="5880" y="960"/>
                </a:lnTo>
                <a:lnTo>
                  <a:pt x="5885" y="962"/>
                </a:lnTo>
                <a:lnTo>
                  <a:pt x="5888" y="964"/>
                </a:lnTo>
                <a:lnTo>
                  <a:pt x="5891" y="966"/>
                </a:lnTo>
                <a:lnTo>
                  <a:pt x="5892" y="969"/>
                </a:lnTo>
                <a:lnTo>
                  <a:pt x="5893" y="973"/>
                </a:lnTo>
                <a:lnTo>
                  <a:pt x="5892" y="977"/>
                </a:lnTo>
                <a:lnTo>
                  <a:pt x="5889" y="987"/>
                </a:lnTo>
                <a:lnTo>
                  <a:pt x="5886" y="995"/>
                </a:lnTo>
                <a:lnTo>
                  <a:pt x="5886" y="997"/>
                </a:lnTo>
                <a:lnTo>
                  <a:pt x="5887" y="999"/>
                </a:lnTo>
                <a:lnTo>
                  <a:pt x="5890" y="999"/>
                </a:lnTo>
                <a:lnTo>
                  <a:pt x="5893" y="997"/>
                </a:lnTo>
                <a:lnTo>
                  <a:pt x="5902" y="993"/>
                </a:lnTo>
                <a:lnTo>
                  <a:pt x="5912" y="991"/>
                </a:lnTo>
                <a:lnTo>
                  <a:pt x="5915" y="990"/>
                </a:lnTo>
                <a:lnTo>
                  <a:pt x="5918" y="988"/>
                </a:lnTo>
                <a:lnTo>
                  <a:pt x="5920" y="984"/>
                </a:lnTo>
                <a:lnTo>
                  <a:pt x="5922" y="978"/>
                </a:lnTo>
                <a:lnTo>
                  <a:pt x="5921" y="972"/>
                </a:lnTo>
                <a:lnTo>
                  <a:pt x="5920" y="966"/>
                </a:lnTo>
                <a:lnTo>
                  <a:pt x="5918" y="960"/>
                </a:lnTo>
                <a:lnTo>
                  <a:pt x="5916" y="955"/>
                </a:lnTo>
                <a:lnTo>
                  <a:pt x="5916" y="953"/>
                </a:lnTo>
                <a:lnTo>
                  <a:pt x="5916" y="951"/>
                </a:lnTo>
                <a:lnTo>
                  <a:pt x="5916" y="950"/>
                </a:lnTo>
                <a:lnTo>
                  <a:pt x="5917" y="948"/>
                </a:lnTo>
                <a:lnTo>
                  <a:pt x="5922" y="946"/>
                </a:lnTo>
                <a:lnTo>
                  <a:pt x="5930" y="946"/>
                </a:lnTo>
                <a:lnTo>
                  <a:pt x="5953" y="948"/>
                </a:lnTo>
                <a:lnTo>
                  <a:pt x="5974" y="950"/>
                </a:lnTo>
                <a:lnTo>
                  <a:pt x="5983" y="950"/>
                </a:lnTo>
                <a:lnTo>
                  <a:pt x="5989" y="949"/>
                </a:lnTo>
                <a:lnTo>
                  <a:pt x="5991" y="947"/>
                </a:lnTo>
                <a:lnTo>
                  <a:pt x="5992" y="945"/>
                </a:lnTo>
                <a:lnTo>
                  <a:pt x="5994" y="942"/>
                </a:lnTo>
                <a:lnTo>
                  <a:pt x="5992" y="938"/>
                </a:lnTo>
                <a:lnTo>
                  <a:pt x="5986" y="922"/>
                </a:lnTo>
                <a:lnTo>
                  <a:pt x="5980" y="905"/>
                </a:lnTo>
                <a:lnTo>
                  <a:pt x="5977" y="897"/>
                </a:lnTo>
                <a:lnTo>
                  <a:pt x="5976" y="890"/>
                </a:lnTo>
                <a:lnTo>
                  <a:pt x="5975" y="887"/>
                </a:lnTo>
                <a:lnTo>
                  <a:pt x="5976" y="884"/>
                </a:lnTo>
                <a:lnTo>
                  <a:pt x="5976" y="881"/>
                </a:lnTo>
                <a:lnTo>
                  <a:pt x="5977" y="879"/>
                </a:lnTo>
                <a:lnTo>
                  <a:pt x="5986" y="870"/>
                </a:lnTo>
                <a:lnTo>
                  <a:pt x="5998" y="862"/>
                </a:lnTo>
                <a:lnTo>
                  <a:pt x="6009" y="854"/>
                </a:lnTo>
                <a:lnTo>
                  <a:pt x="6021" y="848"/>
                </a:lnTo>
                <a:lnTo>
                  <a:pt x="6027" y="846"/>
                </a:lnTo>
                <a:lnTo>
                  <a:pt x="6035" y="845"/>
                </a:lnTo>
                <a:lnTo>
                  <a:pt x="6047" y="844"/>
                </a:lnTo>
                <a:lnTo>
                  <a:pt x="6058" y="844"/>
                </a:lnTo>
                <a:lnTo>
                  <a:pt x="6080" y="845"/>
                </a:lnTo>
                <a:lnTo>
                  <a:pt x="6092" y="847"/>
                </a:lnTo>
                <a:lnTo>
                  <a:pt x="6094" y="849"/>
                </a:lnTo>
                <a:lnTo>
                  <a:pt x="6095" y="853"/>
                </a:lnTo>
                <a:lnTo>
                  <a:pt x="6095" y="857"/>
                </a:lnTo>
                <a:lnTo>
                  <a:pt x="6095" y="862"/>
                </a:lnTo>
                <a:lnTo>
                  <a:pt x="6094" y="866"/>
                </a:lnTo>
                <a:lnTo>
                  <a:pt x="6092" y="871"/>
                </a:lnTo>
                <a:lnTo>
                  <a:pt x="6091" y="876"/>
                </a:lnTo>
                <a:lnTo>
                  <a:pt x="6088" y="878"/>
                </a:lnTo>
                <a:lnTo>
                  <a:pt x="6086" y="880"/>
                </a:lnTo>
                <a:lnTo>
                  <a:pt x="6085" y="882"/>
                </a:lnTo>
                <a:lnTo>
                  <a:pt x="6085" y="885"/>
                </a:lnTo>
                <a:lnTo>
                  <a:pt x="6086" y="887"/>
                </a:lnTo>
                <a:lnTo>
                  <a:pt x="6091" y="893"/>
                </a:lnTo>
                <a:lnTo>
                  <a:pt x="6099" y="901"/>
                </a:lnTo>
                <a:lnTo>
                  <a:pt x="6105" y="904"/>
                </a:lnTo>
                <a:lnTo>
                  <a:pt x="6110" y="905"/>
                </a:lnTo>
                <a:lnTo>
                  <a:pt x="6114" y="906"/>
                </a:lnTo>
                <a:lnTo>
                  <a:pt x="6117" y="907"/>
                </a:lnTo>
                <a:lnTo>
                  <a:pt x="6120" y="908"/>
                </a:lnTo>
                <a:lnTo>
                  <a:pt x="6122" y="909"/>
                </a:lnTo>
                <a:lnTo>
                  <a:pt x="6123" y="913"/>
                </a:lnTo>
                <a:lnTo>
                  <a:pt x="6122" y="919"/>
                </a:lnTo>
                <a:lnTo>
                  <a:pt x="6120" y="931"/>
                </a:lnTo>
                <a:lnTo>
                  <a:pt x="6118" y="941"/>
                </a:lnTo>
                <a:lnTo>
                  <a:pt x="6117" y="944"/>
                </a:lnTo>
                <a:lnTo>
                  <a:pt x="6118" y="947"/>
                </a:lnTo>
                <a:lnTo>
                  <a:pt x="6119" y="949"/>
                </a:lnTo>
                <a:lnTo>
                  <a:pt x="6121" y="950"/>
                </a:lnTo>
                <a:lnTo>
                  <a:pt x="6126" y="950"/>
                </a:lnTo>
                <a:lnTo>
                  <a:pt x="6129" y="948"/>
                </a:lnTo>
                <a:lnTo>
                  <a:pt x="6132" y="946"/>
                </a:lnTo>
                <a:lnTo>
                  <a:pt x="6135" y="942"/>
                </a:lnTo>
                <a:lnTo>
                  <a:pt x="6141" y="934"/>
                </a:lnTo>
                <a:lnTo>
                  <a:pt x="6150" y="929"/>
                </a:lnTo>
                <a:lnTo>
                  <a:pt x="6155" y="928"/>
                </a:lnTo>
                <a:lnTo>
                  <a:pt x="6160" y="927"/>
                </a:lnTo>
                <a:lnTo>
                  <a:pt x="6167" y="926"/>
                </a:lnTo>
                <a:lnTo>
                  <a:pt x="6174" y="927"/>
                </a:lnTo>
                <a:lnTo>
                  <a:pt x="6181" y="927"/>
                </a:lnTo>
                <a:lnTo>
                  <a:pt x="6187" y="928"/>
                </a:lnTo>
                <a:lnTo>
                  <a:pt x="6194" y="930"/>
                </a:lnTo>
                <a:lnTo>
                  <a:pt x="6198" y="932"/>
                </a:lnTo>
                <a:lnTo>
                  <a:pt x="6204" y="934"/>
                </a:lnTo>
                <a:lnTo>
                  <a:pt x="6209" y="934"/>
                </a:lnTo>
                <a:lnTo>
                  <a:pt x="6211" y="935"/>
                </a:lnTo>
                <a:lnTo>
                  <a:pt x="6216" y="937"/>
                </a:lnTo>
                <a:lnTo>
                  <a:pt x="6219" y="943"/>
                </a:lnTo>
                <a:lnTo>
                  <a:pt x="6224" y="950"/>
                </a:lnTo>
                <a:lnTo>
                  <a:pt x="6229" y="957"/>
                </a:lnTo>
                <a:lnTo>
                  <a:pt x="6235" y="962"/>
                </a:lnTo>
                <a:lnTo>
                  <a:pt x="6238" y="965"/>
                </a:lnTo>
                <a:lnTo>
                  <a:pt x="6242" y="967"/>
                </a:lnTo>
                <a:lnTo>
                  <a:pt x="6244" y="969"/>
                </a:lnTo>
                <a:lnTo>
                  <a:pt x="6247" y="970"/>
                </a:lnTo>
                <a:lnTo>
                  <a:pt x="6249" y="973"/>
                </a:lnTo>
                <a:lnTo>
                  <a:pt x="6252" y="977"/>
                </a:lnTo>
                <a:lnTo>
                  <a:pt x="6257" y="988"/>
                </a:lnTo>
                <a:lnTo>
                  <a:pt x="6259" y="999"/>
                </a:lnTo>
                <a:lnTo>
                  <a:pt x="6260" y="1009"/>
                </a:lnTo>
                <a:lnTo>
                  <a:pt x="6259" y="1016"/>
                </a:lnTo>
                <a:lnTo>
                  <a:pt x="6259" y="1024"/>
                </a:lnTo>
                <a:lnTo>
                  <a:pt x="6260" y="1034"/>
                </a:lnTo>
                <a:lnTo>
                  <a:pt x="6261" y="1039"/>
                </a:lnTo>
                <a:lnTo>
                  <a:pt x="6261" y="1045"/>
                </a:lnTo>
                <a:lnTo>
                  <a:pt x="6260" y="1051"/>
                </a:lnTo>
                <a:lnTo>
                  <a:pt x="6259" y="1057"/>
                </a:lnTo>
                <a:lnTo>
                  <a:pt x="6254" y="1068"/>
                </a:lnTo>
                <a:lnTo>
                  <a:pt x="6249" y="1078"/>
                </a:lnTo>
                <a:lnTo>
                  <a:pt x="6247" y="1082"/>
                </a:lnTo>
                <a:lnTo>
                  <a:pt x="6243" y="1085"/>
                </a:lnTo>
                <a:lnTo>
                  <a:pt x="6239" y="1088"/>
                </a:lnTo>
                <a:lnTo>
                  <a:pt x="6233" y="1092"/>
                </a:lnTo>
                <a:lnTo>
                  <a:pt x="6219" y="1102"/>
                </a:lnTo>
                <a:lnTo>
                  <a:pt x="6205" y="1112"/>
                </a:lnTo>
                <a:lnTo>
                  <a:pt x="6201" y="1116"/>
                </a:lnTo>
                <a:lnTo>
                  <a:pt x="6199" y="1117"/>
                </a:lnTo>
                <a:lnTo>
                  <a:pt x="6198" y="1116"/>
                </a:lnTo>
                <a:lnTo>
                  <a:pt x="6198" y="1114"/>
                </a:lnTo>
                <a:lnTo>
                  <a:pt x="6196" y="1116"/>
                </a:lnTo>
                <a:lnTo>
                  <a:pt x="6188" y="1124"/>
                </a:lnTo>
                <a:lnTo>
                  <a:pt x="6182" y="1133"/>
                </a:lnTo>
                <a:lnTo>
                  <a:pt x="6181" y="1135"/>
                </a:lnTo>
                <a:lnTo>
                  <a:pt x="6177" y="1141"/>
                </a:lnTo>
                <a:lnTo>
                  <a:pt x="6162" y="1155"/>
                </a:lnTo>
                <a:lnTo>
                  <a:pt x="6144" y="1174"/>
                </a:lnTo>
                <a:lnTo>
                  <a:pt x="6134" y="1186"/>
                </a:lnTo>
                <a:lnTo>
                  <a:pt x="6128" y="1193"/>
                </a:lnTo>
                <a:lnTo>
                  <a:pt x="6122" y="1200"/>
                </a:lnTo>
                <a:lnTo>
                  <a:pt x="6117" y="1209"/>
                </a:lnTo>
                <a:lnTo>
                  <a:pt x="6111" y="1216"/>
                </a:lnTo>
                <a:lnTo>
                  <a:pt x="6105" y="1225"/>
                </a:lnTo>
                <a:lnTo>
                  <a:pt x="6095" y="1238"/>
                </a:lnTo>
                <a:lnTo>
                  <a:pt x="6090" y="1245"/>
                </a:lnTo>
                <a:lnTo>
                  <a:pt x="6087" y="1252"/>
                </a:lnTo>
                <a:lnTo>
                  <a:pt x="6085" y="1258"/>
                </a:lnTo>
                <a:lnTo>
                  <a:pt x="6083" y="1262"/>
                </a:lnTo>
                <a:lnTo>
                  <a:pt x="6083" y="1265"/>
                </a:lnTo>
                <a:lnTo>
                  <a:pt x="6084" y="1267"/>
                </a:lnTo>
                <a:lnTo>
                  <a:pt x="6085" y="1267"/>
                </a:lnTo>
                <a:lnTo>
                  <a:pt x="6088" y="1265"/>
                </a:lnTo>
                <a:lnTo>
                  <a:pt x="6104" y="1254"/>
                </a:lnTo>
                <a:lnTo>
                  <a:pt x="6129" y="1236"/>
                </a:lnTo>
                <a:lnTo>
                  <a:pt x="6153" y="1219"/>
                </a:lnTo>
                <a:lnTo>
                  <a:pt x="6163" y="1212"/>
                </a:lnTo>
                <a:lnTo>
                  <a:pt x="6165" y="1211"/>
                </a:lnTo>
                <a:lnTo>
                  <a:pt x="6172" y="1208"/>
                </a:lnTo>
                <a:lnTo>
                  <a:pt x="6175" y="1205"/>
                </a:lnTo>
                <a:lnTo>
                  <a:pt x="6178" y="1201"/>
                </a:lnTo>
                <a:lnTo>
                  <a:pt x="6180" y="1195"/>
                </a:lnTo>
                <a:lnTo>
                  <a:pt x="6181" y="1189"/>
                </a:lnTo>
                <a:lnTo>
                  <a:pt x="6182" y="1182"/>
                </a:lnTo>
                <a:lnTo>
                  <a:pt x="6185" y="1174"/>
                </a:lnTo>
                <a:lnTo>
                  <a:pt x="6188" y="1167"/>
                </a:lnTo>
                <a:lnTo>
                  <a:pt x="6193" y="1162"/>
                </a:lnTo>
                <a:lnTo>
                  <a:pt x="6200" y="1153"/>
                </a:lnTo>
                <a:lnTo>
                  <a:pt x="6203" y="1150"/>
                </a:lnTo>
                <a:lnTo>
                  <a:pt x="6202" y="1154"/>
                </a:lnTo>
                <a:lnTo>
                  <a:pt x="6201" y="1165"/>
                </a:lnTo>
                <a:lnTo>
                  <a:pt x="6200" y="1171"/>
                </a:lnTo>
                <a:lnTo>
                  <a:pt x="6200" y="1176"/>
                </a:lnTo>
                <a:lnTo>
                  <a:pt x="6201" y="1180"/>
                </a:lnTo>
                <a:lnTo>
                  <a:pt x="6203" y="1183"/>
                </a:lnTo>
                <a:lnTo>
                  <a:pt x="6214" y="1185"/>
                </a:lnTo>
                <a:lnTo>
                  <a:pt x="6220" y="1186"/>
                </a:lnTo>
                <a:lnTo>
                  <a:pt x="6221" y="1182"/>
                </a:lnTo>
                <a:lnTo>
                  <a:pt x="6224" y="1173"/>
                </a:lnTo>
                <a:lnTo>
                  <a:pt x="6225" y="1163"/>
                </a:lnTo>
                <a:lnTo>
                  <a:pt x="6224" y="1155"/>
                </a:lnTo>
                <a:lnTo>
                  <a:pt x="6224" y="1152"/>
                </a:lnTo>
                <a:lnTo>
                  <a:pt x="6225" y="1148"/>
                </a:lnTo>
                <a:lnTo>
                  <a:pt x="6226" y="1142"/>
                </a:lnTo>
                <a:lnTo>
                  <a:pt x="6229" y="1136"/>
                </a:lnTo>
                <a:lnTo>
                  <a:pt x="6232" y="1132"/>
                </a:lnTo>
                <a:lnTo>
                  <a:pt x="6237" y="1129"/>
                </a:lnTo>
                <a:lnTo>
                  <a:pt x="6239" y="1128"/>
                </a:lnTo>
                <a:lnTo>
                  <a:pt x="6242" y="1128"/>
                </a:lnTo>
                <a:lnTo>
                  <a:pt x="6244" y="1129"/>
                </a:lnTo>
                <a:lnTo>
                  <a:pt x="6246" y="1131"/>
                </a:lnTo>
                <a:lnTo>
                  <a:pt x="6255" y="1139"/>
                </a:lnTo>
                <a:lnTo>
                  <a:pt x="6263" y="1143"/>
                </a:lnTo>
                <a:lnTo>
                  <a:pt x="6265" y="1146"/>
                </a:lnTo>
                <a:lnTo>
                  <a:pt x="6266" y="1148"/>
                </a:lnTo>
                <a:lnTo>
                  <a:pt x="6265" y="1152"/>
                </a:lnTo>
                <a:lnTo>
                  <a:pt x="6263" y="1157"/>
                </a:lnTo>
                <a:lnTo>
                  <a:pt x="6261" y="1161"/>
                </a:lnTo>
                <a:lnTo>
                  <a:pt x="6260" y="1164"/>
                </a:lnTo>
                <a:lnTo>
                  <a:pt x="6259" y="1167"/>
                </a:lnTo>
                <a:lnTo>
                  <a:pt x="6259" y="1170"/>
                </a:lnTo>
                <a:lnTo>
                  <a:pt x="6261" y="1175"/>
                </a:lnTo>
                <a:lnTo>
                  <a:pt x="6263" y="1179"/>
                </a:lnTo>
                <a:lnTo>
                  <a:pt x="6268" y="1186"/>
                </a:lnTo>
                <a:lnTo>
                  <a:pt x="6271" y="1189"/>
                </a:lnTo>
                <a:lnTo>
                  <a:pt x="6272" y="1188"/>
                </a:lnTo>
                <a:lnTo>
                  <a:pt x="6276" y="1188"/>
                </a:lnTo>
                <a:lnTo>
                  <a:pt x="6282" y="1188"/>
                </a:lnTo>
                <a:lnTo>
                  <a:pt x="6291" y="1191"/>
                </a:lnTo>
                <a:lnTo>
                  <a:pt x="6301" y="1194"/>
                </a:lnTo>
                <a:lnTo>
                  <a:pt x="6309" y="1196"/>
                </a:lnTo>
                <a:lnTo>
                  <a:pt x="6317" y="1197"/>
                </a:lnTo>
                <a:lnTo>
                  <a:pt x="6327" y="1198"/>
                </a:lnTo>
                <a:lnTo>
                  <a:pt x="6338" y="1198"/>
                </a:lnTo>
                <a:lnTo>
                  <a:pt x="6347" y="1199"/>
                </a:lnTo>
                <a:lnTo>
                  <a:pt x="6351" y="1200"/>
                </a:lnTo>
                <a:lnTo>
                  <a:pt x="6354" y="1203"/>
                </a:lnTo>
                <a:lnTo>
                  <a:pt x="6357" y="1205"/>
                </a:lnTo>
                <a:lnTo>
                  <a:pt x="6360" y="1207"/>
                </a:lnTo>
                <a:lnTo>
                  <a:pt x="6372" y="1217"/>
                </a:lnTo>
                <a:lnTo>
                  <a:pt x="6380" y="1225"/>
                </a:lnTo>
                <a:lnTo>
                  <a:pt x="6383" y="1227"/>
                </a:lnTo>
                <a:lnTo>
                  <a:pt x="6392" y="1230"/>
                </a:lnTo>
                <a:lnTo>
                  <a:pt x="6402" y="1232"/>
                </a:lnTo>
                <a:lnTo>
                  <a:pt x="6415" y="1235"/>
                </a:lnTo>
                <a:lnTo>
                  <a:pt x="6438" y="1239"/>
                </a:lnTo>
                <a:lnTo>
                  <a:pt x="6448" y="1241"/>
                </a:lnTo>
                <a:lnTo>
                  <a:pt x="6455" y="1241"/>
                </a:lnTo>
                <a:lnTo>
                  <a:pt x="6467" y="1241"/>
                </a:lnTo>
                <a:lnTo>
                  <a:pt x="6474" y="1240"/>
                </a:lnTo>
                <a:lnTo>
                  <a:pt x="6479" y="1238"/>
                </a:lnTo>
                <a:lnTo>
                  <a:pt x="6480" y="1237"/>
                </a:lnTo>
                <a:lnTo>
                  <a:pt x="6481" y="1235"/>
                </a:lnTo>
                <a:lnTo>
                  <a:pt x="6481" y="1233"/>
                </a:lnTo>
                <a:lnTo>
                  <a:pt x="6479" y="1230"/>
                </a:lnTo>
                <a:lnTo>
                  <a:pt x="6474" y="1223"/>
                </a:lnTo>
                <a:lnTo>
                  <a:pt x="6471" y="1217"/>
                </a:lnTo>
                <a:lnTo>
                  <a:pt x="6468" y="1211"/>
                </a:lnTo>
                <a:lnTo>
                  <a:pt x="6466" y="1205"/>
                </a:lnTo>
                <a:lnTo>
                  <a:pt x="6465" y="1199"/>
                </a:lnTo>
                <a:lnTo>
                  <a:pt x="6466" y="1195"/>
                </a:lnTo>
                <a:lnTo>
                  <a:pt x="6467" y="1194"/>
                </a:lnTo>
                <a:lnTo>
                  <a:pt x="6468" y="1193"/>
                </a:lnTo>
                <a:lnTo>
                  <a:pt x="6469" y="1192"/>
                </a:lnTo>
                <a:lnTo>
                  <a:pt x="6471" y="1192"/>
                </a:lnTo>
                <a:lnTo>
                  <a:pt x="6480" y="1191"/>
                </a:lnTo>
                <a:lnTo>
                  <a:pt x="6486" y="1192"/>
                </a:lnTo>
                <a:lnTo>
                  <a:pt x="6490" y="1192"/>
                </a:lnTo>
                <a:lnTo>
                  <a:pt x="6494" y="1194"/>
                </a:lnTo>
                <a:lnTo>
                  <a:pt x="6499" y="1196"/>
                </a:lnTo>
                <a:lnTo>
                  <a:pt x="6505" y="1200"/>
                </a:lnTo>
                <a:lnTo>
                  <a:pt x="6511" y="1204"/>
                </a:lnTo>
                <a:lnTo>
                  <a:pt x="6517" y="1206"/>
                </a:lnTo>
                <a:lnTo>
                  <a:pt x="6525" y="1208"/>
                </a:lnTo>
                <a:lnTo>
                  <a:pt x="6532" y="1208"/>
                </a:lnTo>
                <a:lnTo>
                  <a:pt x="6547" y="1209"/>
                </a:lnTo>
                <a:lnTo>
                  <a:pt x="6559" y="1209"/>
                </a:lnTo>
                <a:lnTo>
                  <a:pt x="6572" y="1211"/>
                </a:lnTo>
                <a:lnTo>
                  <a:pt x="6583" y="1213"/>
                </a:lnTo>
                <a:lnTo>
                  <a:pt x="6588" y="1216"/>
                </a:lnTo>
                <a:lnTo>
                  <a:pt x="6593" y="1219"/>
                </a:lnTo>
                <a:lnTo>
                  <a:pt x="6596" y="1225"/>
                </a:lnTo>
                <a:lnTo>
                  <a:pt x="6599" y="1232"/>
                </a:lnTo>
                <a:lnTo>
                  <a:pt x="6603" y="1247"/>
                </a:lnTo>
                <a:lnTo>
                  <a:pt x="6605" y="1260"/>
                </a:lnTo>
                <a:lnTo>
                  <a:pt x="6605" y="1266"/>
                </a:lnTo>
                <a:lnTo>
                  <a:pt x="6604" y="1271"/>
                </a:lnTo>
                <a:lnTo>
                  <a:pt x="6603" y="1276"/>
                </a:lnTo>
                <a:lnTo>
                  <a:pt x="6601" y="1279"/>
                </a:lnTo>
                <a:lnTo>
                  <a:pt x="6593" y="1283"/>
                </a:lnTo>
                <a:lnTo>
                  <a:pt x="6586" y="1287"/>
                </a:lnTo>
                <a:lnTo>
                  <a:pt x="6582" y="1291"/>
                </a:lnTo>
                <a:lnTo>
                  <a:pt x="6581" y="1294"/>
                </a:lnTo>
                <a:lnTo>
                  <a:pt x="6582" y="1299"/>
                </a:lnTo>
                <a:lnTo>
                  <a:pt x="6586" y="1305"/>
                </a:lnTo>
                <a:lnTo>
                  <a:pt x="6591" y="1311"/>
                </a:lnTo>
                <a:lnTo>
                  <a:pt x="6595" y="1317"/>
                </a:lnTo>
                <a:lnTo>
                  <a:pt x="6599" y="1320"/>
                </a:lnTo>
                <a:lnTo>
                  <a:pt x="6603" y="1322"/>
                </a:lnTo>
                <a:lnTo>
                  <a:pt x="6606" y="1324"/>
                </a:lnTo>
                <a:lnTo>
                  <a:pt x="6610" y="1327"/>
                </a:lnTo>
                <a:lnTo>
                  <a:pt x="6612" y="1331"/>
                </a:lnTo>
                <a:lnTo>
                  <a:pt x="6613" y="1339"/>
                </a:lnTo>
                <a:lnTo>
                  <a:pt x="6615" y="1346"/>
                </a:lnTo>
                <a:lnTo>
                  <a:pt x="6617" y="1354"/>
                </a:lnTo>
                <a:lnTo>
                  <a:pt x="6620" y="1364"/>
                </a:lnTo>
                <a:lnTo>
                  <a:pt x="6624" y="1371"/>
                </a:lnTo>
                <a:lnTo>
                  <a:pt x="6628" y="1380"/>
                </a:lnTo>
                <a:lnTo>
                  <a:pt x="6633" y="1386"/>
                </a:lnTo>
                <a:lnTo>
                  <a:pt x="6638" y="1392"/>
                </a:lnTo>
                <a:lnTo>
                  <a:pt x="6643" y="1395"/>
                </a:lnTo>
                <a:lnTo>
                  <a:pt x="6647" y="1398"/>
                </a:lnTo>
                <a:lnTo>
                  <a:pt x="6653" y="1399"/>
                </a:lnTo>
                <a:lnTo>
                  <a:pt x="6657" y="1401"/>
                </a:lnTo>
                <a:lnTo>
                  <a:pt x="6660" y="1399"/>
                </a:lnTo>
                <a:lnTo>
                  <a:pt x="6663" y="1396"/>
                </a:lnTo>
                <a:lnTo>
                  <a:pt x="6666" y="1392"/>
                </a:lnTo>
                <a:lnTo>
                  <a:pt x="6667" y="1387"/>
                </a:lnTo>
                <a:lnTo>
                  <a:pt x="6668" y="1380"/>
                </a:lnTo>
                <a:lnTo>
                  <a:pt x="6669" y="1361"/>
                </a:lnTo>
                <a:lnTo>
                  <a:pt x="6670" y="1343"/>
                </a:lnTo>
                <a:lnTo>
                  <a:pt x="6671" y="1335"/>
                </a:lnTo>
                <a:lnTo>
                  <a:pt x="6672" y="1328"/>
                </a:lnTo>
                <a:lnTo>
                  <a:pt x="6674" y="1324"/>
                </a:lnTo>
                <a:lnTo>
                  <a:pt x="6676" y="1323"/>
                </a:lnTo>
                <a:lnTo>
                  <a:pt x="6679" y="1324"/>
                </a:lnTo>
                <a:lnTo>
                  <a:pt x="6682" y="1326"/>
                </a:lnTo>
                <a:lnTo>
                  <a:pt x="6685" y="1329"/>
                </a:lnTo>
                <a:lnTo>
                  <a:pt x="6689" y="1333"/>
                </a:lnTo>
                <a:lnTo>
                  <a:pt x="6696" y="1341"/>
                </a:lnTo>
                <a:lnTo>
                  <a:pt x="6700" y="1347"/>
                </a:lnTo>
                <a:lnTo>
                  <a:pt x="6701" y="1350"/>
                </a:lnTo>
                <a:lnTo>
                  <a:pt x="6702" y="1352"/>
                </a:lnTo>
                <a:lnTo>
                  <a:pt x="6705" y="1354"/>
                </a:lnTo>
                <a:lnTo>
                  <a:pt x="6708" y="1357"/>
                </a:lnTo>
                <a:lnTo>
                  <a:pt x="6712" y="1358"/>
                </a:lnTo>
                <a:lnTo>
                  <a:pt x="6719" y="1358"/>
                </a:lnTo>
                <a:lnTo>
                  <a:pt x="6725" y="1358"/>
                </a:lnTo>
                <a:lnTo>
                  <a:pt x="6732" y="1357"/>
                </a:lnTo>
                <a:lnTo>
                  <a:pt x="6738" y="1354"/>
                </a:lnTo>
                <a:lnTo>
                  <a:pt x="6744" y="1352"/>
                </a:lnTo>
                <a:lnTo>
                  <a:pt x="6747" y="1350"/>
                </a:lnTo>
                <a:lnTo>
                  <a:pt x="6749" y="1348"/>
                </a:lnTo>
                <a:lnTo>
                  <a:pt x="6751" y="1347"/>
                </a:lnTo>
                <a:lnTo>
                  <a:pt x="6754" y="1347"/>
                </a:lnTo>
                <a:lnTo>
                  <a:pt x="6758" y="1348"/>
                </a:lnTo>
                <a:lnTo>
                  <a:pt x="6764" y="1351"/>
                </a:lnTo>
                <a:lnTo>
                  <a:pt x="6775" y="1362"/>
                </a:lnTo>
                <a:lnTo>
                  <a:pt x="6782" y="1370"/>
                </a:lnTo>
                <a:lnTo>
                  <a:pt x="6786" y="1373"/>
                </a:lnTo>
                <a:lnTo>
                  <a:pt x="6789" y="1374"/>
                </a:lnTo>
                <a:lnTo>
                  <a:pt x="6793" y="1375"/>
                </a:lnTo>
                <a:lnTo>
                  <a:pt x="6797" y="1373"/>
                </a:lnTo>
                <a:lnTo>
                  <a:pt x="6806" y="1369"/>
                </a:lnTo>
                <a:lnTo>
                  <a:pt x="6812" y="1365"/>
                </a:lnTo>
                <a:lnTo>
                  <a:pt x="6815" y="1363"/>
                </a:lnTo>
                <a:lnTo>
                  <a:pt x="6818" y="1359"/>
                </a:lnTo>
                <a:lnTo>
                  <a:pt x="6821" y="1353"/>
                </a:lnTo>
                <a:lnTo>
                  <a:pt x="6823" y="1346"/>
                </a:lnTo>
                <a:lnTo>
                  <a:pt x="6824" y="1339"/>
                </a:lnTo>
                <a:lnTo>
                  <a:pt x="6824" y="1330"/>
                </a:lnTo>
                <a:lnTo>
                  <a:pt x="6823" y="1322"/>
                </a:lnTo>
                <a:lnTo>
                  <a:pt x="6821" y="1314"/>
                </a:lnTo>
                <a:lnTo>
                  <a:pt x="6820" y="1305"/>
                </a:lnTo>
                <a:lnTo>
                  <a:pt x="6819" y="1298"/>
                </a:lnTo>
                <a:lnTo>
                  <a:pt x="6819" y="1292"/>
                </a:lnTo>
                <a:lnTo>
                  <a:pt x="6821" y="1286"/>
                </a:lnTo>
                <a:lnTo>
                  <a:pt x="6826" y="1281"/>
                </a:lnTo>
                <a:lnTo>
                  <a:pt x="6834" y="1275"/>
                </a:lnTo>
                <a:lnTo>
                  <a:pt x="6842" y="1270"/>
                </a:lnTo>
                <a:lnTo>
                  <a:pt x="6852" y="1264"/>
                </a:lnTo>
                <a:lnTo>
                  <a:pt x="6869" y="1256"/>
                </a:lnTo>
                <a:lnTo>
                  <a:pt x="6877" y="1252"/>
                </a:lnTo>
                <a:lnTo>
                  <a:pt x="6887" y="1253"/>
                </a:lnTo>
                <a:lnTo>
                  <a:pt x="6909" y="1257"/>
                </a:lnTo>
                <a:lnTo>
                  <a:pt x="6921" y="1260"/>
                </a:lnTo>
                <a:lnTo>
                  <a:pt x="6931" y="1265"/>
                </a:lnTo>
                <a:lnTo>
                  <a:pt x="6935" y="1267"/>
                </a:lnTo>
                <a:lnTo>
                  <a:pt x="6938" y="1271"/>
                </a:lnTo>
                <a:lnTo>
                  <a:pt x="6940" y="1275"/>
                </a:lnTo>
                <a:lnTo>
                  <a:pt x="6940" y="1278"/>
                </a:lnTo>
                <a:lnTo>
                  <a:pt x="6939" y="1285"/>
                </a:lnTo>
                <a:lnTo>
                  <a:pt x="6937" y="1289"/>
                </a:lnTo>
                <a:lnTo>
                  <a:pt x="6933" y="1293"/>
                </a:lnTo>
                <a:lnTo>
                  <a:pt x="6931" y="1296"/>
                </a:lnTo>
                <a:lnTo>
                  <a:pt x="6929" y="1298"/>
                </a:lnTo>
                <a:lnTo>
                  <a:pt x="6928" y="1301"/>
                </a:lnTo>
                <a:lnTo>
                  <a:pt x="6929" y="1304"/>
                </a:lnTo>
                <a:lnTo>
                  <a:pt x="6932" y="1309"/>
                </a:lnTo>
                <a:lnTo>
                  <a:pt x="6940" y="1320"/>
                </a:lnTo>
                <a:lnTo>
                  <a:pt x="6945" y="1327"/>
                </a:lnTo>
                <a:lnTo>
                  <a:pt x="6946" y="1332"/>
                </a:lnTo>
                <a:lnTo>
                  <a:pt x="6947" y="1337"/>
                </a:lnTo>
                <a:lnTo>
                  <a:pt x="6947" y="1339"/>
                </a:lnTo>
                <a:lnTo>
                  <a:pt x="6948" y="1341"/>
                </a:lnTo>
                <a:lnTo>
                  <a:pt x="6950" y="1344"/>
                </a:lnTo>
                <a:lnTo>
                  <a:pt x="6952" y="1346"/>
                </a:lnTo>
                <a:lnTo>
                  <a:pt x="6956" y="1346"/>
                </a:lnTo>
                <a:lnTo>
                  <a:pt x="6961" y="1346"/>
                </a:lnTo>
                <a:lnTo>
                  <a:pt x="6965" y="1343"/>
                </a:lnTo>
                <a:lnTo>
                  <a:pt x="6971" y="1337"/>
                </a:lnTo>
                <a:lnTo>
                  <a:pt x="6982" y="1321"/>
                </a:lnTo>
                <a:lnTo>
                  <a:pt x="6993" y="1303"/>
                </a:lnTo>
                <a:lnTo>
                  <a:pt x="6998" y="1296"/>
                </a:lnTo>
                <a:lnTo>
                  <a:pt x="7004" y="1291"/>
                </a:lnTo>
                <a:lnTo>
                  <a:pt x="7007" y="1289"/>
                </a:lnTo>
                <a:lnTo>
                  <a:pt x="7009" y="1288"/>
                </a:lnTo>
                <a:lnTo>
                  <a:pt x="7012" y="1288"/>
                </a:lnTo>
                <a:lnTo>
                  <a:pt x="7015" y="1289"/>
                </a:lnTo>
                <a:lnTo>
                  <a:pt x="7031" y="1299"/>
                </a:lnTo>
                <a:lnTo>
                  <a:pt x="7049" y="1310"/>
                </a:lnTo>
                <a:lnTo>
                  <a:pt x="7056" y="1317"/>
                </a:lnTo>
                <a:lnTo>
                  <a:pt x="7062" y="1323"/>
                </a:lnTo>
                <a:lnTo>
                  <a:pt x="7065" y="1326"/>
                </a:lnTo>
                <a:lnTo>
                  <a:pt x="7066" y="1329"/>
                </a:lnTo>
                <a:lnTo>
                  <a:pt x="7067" y="1331"/>
                </a:lnTo>
                <a:lnTo>
                  <a:pt x="7067" y="1335"/>
                </a:lnTo>
                <a:lnTo>
                  <a:pt x="7067" y="1337"/>
                </a:lnTo>
                <a:lnTo>
                  <a:pt x="7067" y="1339"/>
                </a:lnTo>
                <a:lnTo>
                  <a:pt x="7070" y="1341"/>
                </a:lnTo>
                <a:lnTo>
                  <a:pt x="7072" y="1344"/>
                </a:lnTo>
                <a:lnTo>
                  <a:pt x="7077" y="1349"/>
                </a:lnTo>
                <a:lnTo>
                  <a:pt x="7084" y="1354"/>
                </a:lnTo>
                <a:lnTo>
                  <a:pt x="7100" y="1365"/>
                </a:lnTo>
                <a:lnTo>
                  <a:pt x="7110" y="1374"/>
                </a:lnTo>
                <a:lnTo>
                  <a:pt x="7116" y="1383"/>
                </a:lnTo>
                <a:lnTo>
                  <a:pt x="7119" y="1392"/>
                </a:lnTo>
                <a:lnTo>
                  <a:pt x="7121" y="1396"/>
                </a:lnTo>
                <a:lnTo>
                  <a:pt x="7123" y="1399"/>
                </a:lnTo>
                <a:lnTo>
                  <a:pt x="7126" y="1401"/>
                </a:lnTo>
                <a:lnTo>
                  <a:pt x="7129" y="1401"/>
                </a:lnTo>
                <a:lnTo>
                  <a:pt x="7139" y="1398"/>
                </a:lnTo>
                <a:lnTo>
                  <a:pt x="7151" y="1393"/>
                </a:lnTo>
                <a:lnTo>
                  <a:pt x="7163" y="1389"/>
                </a:lnTo>
                <a:lnTo>
                  <a:pt x="7169" y="1386"/>
                </a:lnTo>
                <a:lnTo>
                  <a:pt x="7184" y="1388"/>
                </a:lnTo>
                <a:lnTo>
                  <a:pt x="7211" y="1394"/>
                </a:lnTo>
                <a:lnTo>
                  <a:pt x="7225" y="1398"/>
                </a:lnTo>
                <a:lnTo>
                  <a:pt x="7237" y="1403"/>
                </a:lnTo>
                <a:lnTo>
                  <a:pt x="7247" y="1406"/>
                </a:lnTo>
                <a:lnTo>
                  <a:pt x="7251" y="1408"/>
                </a:lnTo>
                <a:lnTo>
                  <a:pt x="7259" y="1409"/>
                </a:lnTo>
                <a:lnTo>
                  <a:pt x="7273" y="1409"/>
                </a:lnTo>
                <a:lnTo>
                  <a:pt x="7279" y="1409"/>
                </a:lnTo>
                <a:lnTo>
                  <a:pt x="7285" y="1411"/>
                </a:lnTo>
                <a:lnTo>
                  <a:pt x="7288" y="1413"/>
                </a:lnTo>
                <a:lnTo>
                  <a:pt x="7290" y="1416"/>
                </a:lnTo>
                <a:lnTo>
                  <a:pt x="7291" y="1419"/>
                </a:lnTo>
                <a:lnTo>
                  <a:pt x="7291" y="1424"/>
                </a:lnTo>
                <a:lnTo>
                  <a:pt x="7291" y="1432"/>
                </a:lnTo>
                <a:lnTo>
                  <a:pt x="7290" y="1439"/>
                </a:lnTo>
                <a:lnTo>
                  <a:pt x="7288" y="1446"/>
                </a:lnTo>
                <a:lnTo>
                  <a:pt x="7285" y="1451"/>
                </a:lnTo>
                <a:lnTo>
                  <a:pt x="7282" y="1459"/>
                </a:lnTo>
                <a:lnTo>
                  <a:pt x="7281" y="1467"/>
                </a:lnTo>
                <a:lnTo>
                  <a:pt x="7292" y="1481"/>
                </a:lnTo>
                <a:lnTo>
                  <a:pt x="7302" y="1495"/>
                </a:lnTo>
                <a:lnTo>
                  <a:pt x="7301" y="1505"/>
                </a:lnTo>
                <a:lnTo>
                  <a:pt x="7299" y="1518"/>
                </a:lnTo>
                <a:lnTo>
                  <a:pt x="7297" y="1528"/>
                </a:lnTo>
                <a:lnTo>
                  <a:pt x="7296" y="1533"/>
                </a:lnTo>
                <a:lnTo>
                  <a:pt x="7299" y="1530"/>
                </a:lnTo>
                <a:lnTo>
                  <a:pt x="7306" y="1525"/>
                </a:lnTo>
                <a:lnTo>
                  <a:pt x="7311" y="1521"/>
                </a:lnTo>
                <a:lnTo>
                  <a:pt x="7315" y="1516"/>
                </a:lnTo>
                <a:lnTo>
                  <a:pt x="7318" y="1508"/>
                </a:lnTo>
                <a:lnTo>
                  <a:pt x="7320" y="1500"/>
                </a:lnTo>
                <a:lnTo>
                  <a:pt x="7321" y="1492"/>
                </a:lnTo>
                <a:lnTo>
                  <a:pt x="7324" y="1484"/>
                </a:lnTo>
                <a:lnTo>
                  <a:pt x="7327" y="1479"/>
                </a:lnTo>
                <a:lnTo>
                  <a:pt x="7330" y="1474"/>
                </a:lnTo>
                <a:lnTo>
                  <a:pt x="7335" y="1471"/>
                </a:lnTo>
                <a:lnTo>
                  <a:pt x="7339" y="1468"/>
                </a:lnTo>
                <a:lnTo>
                  <a:pt x="7342" y="1467"/>
                </a:lnTo>
                <a:lnTo>
                  <a:pt x="7344" y="1465"/>
                </a:lnTo>
                <a:lnTo>
                  <a:pt x="7349" y="1463"/>
                </a:lnTo>
                <a:lnTo>
                  <a:pt x="7359" y="1462"/>
                </a:lnTo>
                <a:lnTo>
                  <a:pt x="7365" y="1462"/>
                </a:lnTo>
                <a:lnTo>
                  <a:pt x="7373" y="1463"/>
                </a:lnTo>
                <a:lnTo>
                  <a:pt x="7383" y="1467"/>
                </a:lnTo>
                <a:lnTo>
                  <a:pt x="7395" y="1472"/>
                </a:lnTo>
                <a:lnTo>
                  <a:pt x="7403" y="1474"/>
                </a:lnTo>
                <a:lnTo>
                  <a:pt x="7408" y="1476"/>
                </a:lnTo>
                <a:lnTo>
                  <a:pt x="7414" y="1476"/>
                </a:lnTo>
                <a:lnTo>
                  <a:pt x="7418" y="1476"/>
                </a:lnTo>
                <a:lnTo>
                  <a:pt x="7428" y="1473"/>
                </a:lnTo>
                <a:lnTo>
                  <a:pt x="7435" y="1469"/>
                </a:lnTo>
                <a:lnTo>
                  <a:pt x="7442" y="1465"/>
                </a:lnTo>
                <a:lnTo>
                  <a:pt x="7447" y="1462"/>
                </a:lnTo>
                <a:lnTo>
                  <a:pt x="7449" y="1461"/>
                </a:lnTo>
                <a:lnTo>
                  <a:pt x="7451" y="1462"/>
                </a:lnTo>
                <a:lnTo>
                  <a:pt x="7453" y="1463"/>
                </a:lnTo>
                <a:lnTo>
                  <a:pt x="7455" y="1465"/>
                </a:lnTo>
                <a:lnTo>
                  <a:pt x="7464" y="1476"/>
                </a:lnTo>
                <a:lnTo>
                  <a:pt x="7471" y="1486"/>
                </a:lnTo>
                <a:lnTo>
                  <a:pt x="7476" y="1496"/>
                </a:lnTo>
                <a:lnTo>
                  <a:pt x="7479" y="1505"/>
                </a:lnTo>
                <a:lnTo>
                  <a:pt x="7482" y="1511"/>
                </a:lnTo>
                <a:lnTo>
                  <a:pt x="7487" y="1516"/>
                </a:lnTo>
                <a:lnTo>
                  <a:pt x="7493" y="1520"/>
                </a:lnTo>
                <a:lnTo>
                  <a:pt x="7499" y="1523"/>
                </a:lnTo>
                <a:lnTo>
                  <a:pt x="7505" y="1524"/>
                </a:lnTo>
                <a:lnTo>
                  <a:pt x="7512" y="1525"/>
                </a:lnTo>
                <a:lnTo>
                  <a:pt x="7514" y="1524"/>
                </a:lnTo>
                <a:lnTo>
                  <a:pt x="7516" y="1522"/>
                </a:lnTo>
                <a:lnTo>
                  <a:pt x="7518" y="1521"/>
                </a:lnTo>
                <a:lnTo>
                  <a:pt x="7519" y="1518"/>
                </a:lnTo>
                <a:lnTo>
                  <a:pt x="7522" y="1507"/>
                </a:lnTo>
                <a:lnTo>
                  <a:pt x="7524" y="1500"/>
                </a:lnTo>
                <a:lnTo>
                  <a:pt x="7524" y="1497"/>
                </a:lnTo>
                <a:lnTo>
                  <a:pt x="7523" y="1494"/>
                </a:lnTo>
                <a:lnTo>
                  <a:pt x="7520" y="1490"/>
                </a:lnTo>
                <a:lnTo>
                  <a:pt x="7515" y="1484"/>
                </a:lnTo>
                <a:lnTo>
                  <a:pt x="7510" y="1478"/>
                </a:lnTo>
                <a:lnTo>
                  <a:pt x="7505" y="1473"/>
                </a:lnTo>
                <a:lnTo>
                  <a:pt x="7504" y="1468"/>
                </a:lnTo>
                <a:lnTo>
                  <a:pt x="7504" y="1463"/>
                </a:lnTo>
                <a:lnTo>
                  <a:pt x="7505" y="1460"/>
                </a:lnTo>
                <a:lnTo>
                  <a:pt x="7506" y="1457"/>
                </a:lnTo>
                <a:lnTo>
                  <a:pt x="7510" y="1455"/>
                </a:lnTo>
                <a:lnTo>
                  <a:pt x="7512" y="1454"/>
                </a:lnTo>
                <a:lnTo>
                  <a:pt x="7518" y="1452"/>
                </a:lnTo>
                <a:lnTo>
                  <a:pt x="7530" y="1447"/>
                </a:lnTo>
                <a:lnTo>
                  <a:pt x="7536" y="1446"/>
                </a:lnTo>
                <a:lnTo>
                  <a:pt x="7543" y="1445"/>
                </a:lnTo>
                <a:lnTo>
                  <a:pt x="7550" y="1446"/>
                </a:lnTo>
                <a:lnTo>
                  <a:pt x="7558" y="1448"/>
                </a:lnTo>
                <a:lnTo>
                  <a:pt x="7566" y="1452"/>
                </a:lnTo>
                <a:lnTo>
                  <a:pt x="7576" y="1455"/>
                </a:lnTo>
                <a:lnTo>
                  <a:pt x="7587" y="1457"/>
                </a:lnTo>
                <a:lnTo>
                  <a:pt x="7598" y="1459"/>
                </a:lnTo>
                <a:lnTo>
                  <a:pt x="7619" y="1462"/>
                </a:lnTo>
                <a:lnTo>
                  <a:pt x="7633" y="1465"/>
                </a:lnTo>
                <a:lnTo>
                  <a:pt x="7645" y="1472"/>
                </a:lnTo>
                <a:lnTo>
                  <a:pt x="7665" y="1484"/>
                </a:lnTo>
                <a:lnTo>
                  <a:pt x="7690" y="1502"/>
                </a:lnTo>
                <a:lnTo>
                  <a:pt x="7719" y="1523"/>
                </a:lnTo>
                <a:lnTo>
                  <a:pt x="7749" y="1545"/>
                </a:lnTo>
                <a:lnTo>
                  <a:pt x="7775" y="1566"/>
                </a:lnTo>
                <a:lnTo>
                  <a:pt x="7797" y="1584"/>
                </a:lnTo>
                <a:lnTo>
                  <a:pt x="7810" y="1596"/>
                </a:lnTo>
                <a:lnTo>
                  <a:pt x="7818" y="1604"/>
                </a:lnTo>
                <a:lnTo>
                  <a:pt x="7824" y="1608"/>
                </a:lnTo>
                <a:lnTo>
                  <a:pt x="7829" y="1611"/>
                </a:lnTo>
                <a:lnTo>
                  <a:pt x="7833" y="1613"/>
                </a:lnTo>
                <a:lnTo>
                  <a:pt x="7837" y="1616"/>
                </a:lnTo>
                <a:lnTo>
                  <a:pt x="7839" y="1621"/>
                </a:lnTo>
                <a:lnTo>
                  <a:pt x="7841" y="1629"/>
                </a:lnTo>
                <a:lnTo>
                  <a:pt x="7841" y="1640"/>
                </a:lnTo>
                <a:lnTo>
                  <a:pt x="7841" y="1654"/>
                </a:lnTo>
                <a:lnTo>
                  <a:pt x="7842" y="1664"/>
                </a:lnTo>
                <a:lnTo>
                  <a:pt x="7843" y="1670"/>
                </a:lnTo>
                <a:lnTo>
                  <a:pt x="7844" y="1673"/>
                </a:lnTo>
                <a:lnTo>
                  <a:pt x="7846" y="1675"/>
                </a:lnTo>
                <a:lnTo>
                  <a:pt x="7848" y="1674"/>
                </a:lnTo>
                <a:lnTo>
                  <a:pt x="7849" y="1672"/>
                </a:lnTo>
                <a:lnTo>
                  <a:pt x="7851" y="1670"/>
                </a:lnTo>
                <a:lnTo>
                  <a:pt x="7852" y="1660"/>
                </a:lnTo>
                <a:lnTo>
                  <a:pt x="7851" y="1650"/>
                </a:lnTo>
                <a:lnTo>
                  <a:pt x="7851" y="1645"/>
                </a:lnTo>
                <a:lnTo>
                  <a:pt x="7853" y="1639"/>
                </a:lnTo>
                <a:lnTo>
                  <a:pt x="7854" y="1638"/>
                </a:lnTo>
                <a:lnTo>
                  <a:pt x="7856" y="1637"/>
                </a:lnTo>
                <a:lnTo>
                  <a:pt x="7859" y="1636"/>
                </a:lnTo>
                <a:lnTo>
                  <a:pt x="7863" y="1636"/>
                </a:lnTo>
                <a:lnTo>
                  <a:pt x="7869" y="1636"/>
                </a:lnTo>
                <a:lnTo>
                  <a:pt x="7876" y="1638"/>
                </a:lnTo>
                <a:lnTo>
                  <a:pt x="7883" y="1640"/>
                </a:lnTo>
                <a:lnTo>
                  <a:pt x="7889" y="1645"/>
                </a:lnTo>
                <a:lnTo>
                  <a:pt x="7900" y="1652"/>
                </a:lnTo>
                <a:lnTo>
                  <a:pt x="7911" y="1660"/>
                </a:lnTo>
                <a:lnTo>
                  <a:pt x="7922" y="1666"/>
                </a:lnTo>
                <a:lnTo>
                  <a:pt x="7935" y="1669"/>
                </a:lnTo>
                <a:lnTo>
                  <a:pt x="7937" y="1670"/>
                </a:lnTo>
                <a:lnTo>
                  <a:pt x="7939" y="1672"/>
                </a:lnTo>
                <a:lnTo>
                  <a:pt x="7941" y="1674"/>
                </a:lnTo>
                <a:lnTo>
                  <a:pt x="7941" y="1676"/>
                </a:lnTo>
                <a:lnTo>
                  <a:pt x="7941" y="1679"/>
                </a:lnTo>
                <a:lnTo>
                  <a:pt x="7941" y="1682"/>
                </a:lnTo>
                <a:lnTo>
                  <a:pt x="7939" y="1687"/>
                </a:lnTo>
                <a:lnTo>
                  <a:pt x="7936" y="1692"/>
                </a:lnTo>
                <a:lnTo>
                  <a:pt x="7929" y="1701"/>
                </a:lnTo>
                <a:lnTo>
                  <a:pt x="7922" y="1709"/>
                </a:lnTo>
                <a:lnTo>
                  <a:pt x="7916" y="1714"/>
                </a:lnTo>
                <a:lnTo>
                  <a:pt x="7910" y="1717"/>
                </a:lnTo>
                <a:lnTo>
                  <a:pt x="7905" y="1720"/>
                </a:lnTo>
                <a:lnTo>
                  <a:pt x="7900" y="1722"/>
                </a:lnTo>
                <a:lnTo>
                  <a:pt x="7897" y="1725"/>
                </a:lnTo>
                <a:lnTo>
                  <a:pt x="7896" y="1731"/>
                </a:lnTo>
                <a:lnTo>
                  <a:pt x="7896" y="1743"/>
                </a:lnTo>
                <a:lnTo>
                  <a:pt x="7896" y="1757"/>
                </a:lnTo>
                <a:lnTo>
                  <a:pt x="7895" y="1764"/>
                </a:lnTo>
                <a:lnTo>
                  <a:pt x="7894" y="1769"/>
                </a:lnTo>
                <a:lnTo>
                  <a:pt x="7892" y="1775"/>
                </a:lnTo>
                <a:lnTo>
                  <a:pt x="7889" y="1778"/>
                </a:lnTo>
                <a:lnTo>
                  <a:pt x="7885" y="1779"/>
                </a:lnTo>
                <a:lnTo>
                  <a:pt x="7878" y="1779"/>
                </a:lnTo>
                <a:lnTo>
                  <a:pt x="7872" y="1778"/>
                </a:lnTo>
                <a:lnTo>
                  <a:pt x="7867" y="1777"/>
                </a:lnTo>
                <a:lnTo>
                  <a:pt x="7861" y="1775"/>
                </a:lnTo>
                <a:lnTo>
                  <a:pt x="7855" y="1772"/>
                </a:lnTo>
                <a:lnTo>
                  <a:pt x="7850" y="1769"/>
                </a:lnTo>
                <a:lnTo>
                  <a:pt x="7847" y="1766"/>
                </a:lnTo>
                <a:lnTo>
                  <a:pt x="7839" y="1756"/>
                </a:lnTo>
                <a:lnTo>
                  <a:pt x="7827" y="1741"/>
                </a:lnTo>
                <a:lnTo>
                  <a:pt x="7821" y="1734"/>
                </a:lnTo>
                <a:lnTo>
                  <a:pt x="7815" y="1726"/>
                </a:lnTo>
                <a:lnTo>
                  <a:pt x="7808" y="1721"/>
                </a:lnTo>
                <a:lnTo>
                  <a:pt x="7803" y="1718"/>
                </a:lnTo>
                <a:lnTo>
                  <a:pt x="7797" y="1717"/>
                </a:lnTo>
                <a:lnTo>
                  <a:pt x="7791" y="1717"/>
                </a:lnTo>
                <a:lnTo>
                  <a:pt x="7785" y="1718"/>
                </a:lnTo>
                <a:lnTo>
                  <a:pt x="7779" y="1720"/>
                </a:lnTo>
                <a:lnTo>
                  <a:pt x="7774" y="1721"/>
                </a:lnTo>
                <a:lnTo>
                  <a:pt x="7768" y="1722"/>
                </a:lnTo>
                <a:lnTo>
                  <a:pt x="7764" y="1722"/>
                </a:lnTo>
                <a:lnTo>
                  <a:pt x="7762" y="1721"/>
                </a:lnTo>
                <a:lnTo>
                  <a:pt x="7758" y="1710"/>
                </a:lnTo>
                <a:lnTo>
                  <a:pt x="7754" y="1691"/>
                </a:lnTo>
                <a:lnTo>
                  <a:pt x="7751" y="1682"/>
                </a:lnTo>
                <a:lnTo>
                  <a:pt x="7749" y="1675"/>
                </a:lnTo>
                <a:lnTo>
                  <a:pt x="7746" y="1672"/>
                </a:lnTo>
                <a:lnTo>
                  <a:pt x="7745" y="1671"/>
                </a:lnTo>
                <a:lnTo>
                  <a:pt x="7743" y="1670"/>
                </a:lnTo>
                <a:lnTo>
                  <a:pt x="7741" y="1671"/>
                </a:lnTo>
                <a:lnTo>
                  <a:pt x="7733" y="1675"/>
                </a:lnTo>
                <a:lnTo>
                  <a:pt x="7724" y="1680"/>
                </a:lnTo>
                <a:lnTo>
                  <a:pt x="7721" y="1682"/>
                </a:lnTo>
                <a:lnTo>
                  <a:pt x="7719" y="1686"/>
                </a:lnTo>
                <a:lnTo>
                  <a:pt x="7718" y="1689"/>
                </a:lnTo>
                <a:lnTo>
                  <a:pt x="7720" y="1692"/>
                </a:lnTo>
                <a:lnTo>
                  <a:pt x="7725" y="1698"/>
                </a:lnTo>
                <a:lnTo>
                  <a:pt x="7731" y="1703"/>
                </a:lnTo>
                <a:lnTo>
                  <a:pt x="7733" y="1706"/>
                </a:lnTo>
                <a:lnTo>
                  <a:pt x="7734" y="1710"/>
                </a:lnTo>
                <a:lnTo>
                  <a:pt x="7734" y="1713"/>
                </a:lnTo>
                <a:lnTo>
                  <a:pt x="7732" y="1717"/>
                </a:lnTo>
                <a:lnTo>
                  <a:pt x="7728" y="1724"/>
                </a:lnTo>
                <a:lnTo>
                  <a:pt x="7724" y="1728"/>
                </a:lnTo>
                <a:lnTo>
                  <a:pt x="7719" y="1734"/>
                </a:lnTo>
                <a:lnTo>
                  <a:pt x="7713" y="1742"/>
                </a:lnTo>
                <a:lnTo>
                  <a:pt x="7706" y="1753"/>
                </a:lnTo>
                <a:lnTo>
                  <a:pt x="7700" y="1759"/>
                </a:lnTo>
                <a:lnTo>
                  <a:pt x="7698" y="1761"/>
                </a:lnTo>
                <a:lnTo>
                  <a:pt x="7696" y="1762"/>
                </a:lnTo>
                <a:lnTo>
                  <a:pt x="7693" y="1761"/>
                </a:lnTo>
                <a:lnTo>
                  <a:pt x="7689" y="1760"/>
                </a:lnTo>
                <a:lnTo>
                  <a:pt x="7681" y="1754"/>
                </a:lnTo>
                <a:lnTo>
                  <a:pt x="7673" y="1746"/>
                </a:lnTo>
                <a:lnTo>
                  <a:pt x="7670" y="1744"/>
                </a:lnTo>
                <a:lnTo>
                  <a:pt x="7666" y="1742"/>
                </a:lnTo>
                <a:lnTo>
                  <a:pt x="7664" y="1743"/>
                </a:lnTo>
                <a:lnTo>
                  <a:pt x="7662" y="1743"/>
                </a:lnTo>
                <a:lnTo>
                  <a:pt x="7659" y="1744"/>
                </a:lnTo>
                <a:lnTo>
                  <a:pt x="7657" y="1746"/>
                </a:lnTo>
                <a:lnTo>
                  <a:pt x="7654" y="1750"/>
                </a:lnTo>
                <a:lnTo>
                  <a:pt x="7653" y="1754"/>
                </a:lnTo>
                <a:lnTo>
                  <a:pt x="7654" y="1757"/>
                </a:lnTo>
                <a:lnTo>
                  <a:pt x="7657" y="1760"/>
                </a:lnTo>
                <a:lnTo>
                  <a:pt x="7668" y="1769"/>
                </a:lnTo>
                <a:lnTo>
                  <a:pt x="7683" y="1784"/>
                </a:lnTo>
                <a:lnTo>
                  <a:pt x="7690" y="1794"/>
                </a:lnTo>
                <a:lnTo>
                  <a:pt x="7696" y="1803"/>
                </a:lnTo>
                <a:lnTo>
                  <a:pt x="7700" y="1810"/>
                </a:lnTo>
                <a:lnTo>
                  <a:pt x="7702" y="1816"/>
                </a:lnTo>
                <a:lnTo>
                  <a:pt x="7707" y="1828"/>
                </a:lnTo>
                <a:lnTo>
                  <a:pt x="7708" y="1835"/>
                </a:lnTo>
                <a:lnTo>
                  <a:pt x="7707" y="1846"/>
                </a:lnTo>
                <a:lnTo>
                  <a:pt x="7702" y="1857"/>
                </a:lnTo>
                <a:lnTo>
                  <a:pt x="7699" y="1868"/>
                </a:lnTo>
                <a:lnTo>
                  <a:pt x="7697" y="1873"/>
                </a:lnTo>
                <a:lnTo>
                  <a:pt x="7693" y="1867"/>
                </a:lnTo>
                <a:lnTo>
                  <a:pt x="7684" y="1856"/>
                </a:lnTo>
                <a:lnTo>
                  <a:pt x="7677" y="1851"/>
                </a:lnTo>
                <a:lnTo>
                  <a:pt x="7671" y="1848"/>
                </a:lnTo>
                <a:lnTo>
                  <a:pt x="7668" y="1848"/>
                </a:lnTo>
                <a:lnTo>
                  <a:pt x="7665" y="1848"/>
                </a:lnTo>
                <a:lnTo>
                  <a:pt x="7662" y="1850"/>
                </a:lnTo>
                <a:lnTo>
                  <a:pt x="7658" y="1852"/>
                </a:lnTo>
                <a:lnTo>
                  <a:pt x="7648" y="1862"/>
                </a:lnTo>
                <a:lnTo>
                  <a:pt x="7631" y="1874"/>
                </a:lnTo>
                <a:lnTo>
                  <a:pt x="7609" y="1890"/>
                </a:lnTo>
                <a:lnTo>
                  <a:pt x="7586" y="1907"/>
                </a:lnTo>
                <a:lnTo>
                  <a:pt x="7543" y="1936"/>
                </a:lnTo>
                <a:lnTo>
                  <a:pt x="7522" y="1953"/>
                </a:lnTo>
                <a:lnTo>
                  <a:pt x="7516" y="1961"/>
                </a:lnTo>
                <a:lnTo>
                  <a:pt x="7509" y="1973"/>
                </a:lnTo>
                <a:lnTo>
                  <a:pt x="7501" y="1983"/>
                </a:lnTo>
                <a:lnTo>
                  <a:pt x="7498" y="1987"/>
                </a:lnTo>
                <a:lnTo>
                  <a:pt x="7498" y="1984"/>
                </a:lnTo>
                <a:lnTo>
                  <a:pt x="7496" y="1977"/>
                </a:lnTo>
                <a:lnTo>
                  <a:pt x="7494" y="1972"/>
                </a:lnTo>
                <a:lnTo>
                  <a:pt x="7490" y="1966"/>
                </a:lnTo>
                <a:lnTo>
                  <a:pt x="7484" y="1961"/>
                </a:lnTo>
                <a:lnTo>
                  <a:pt x="7477" y="1957"/>
                </a:lnTo>
                <a:lnTo>
                  <a:pt x="7469" y="1954"/>
                </a:lnTo>
                <a:lnTo>
                  <a:pt x="7462" y="1952"/>
                </a:lnTo>
                <a:lnTo>
                  <a:pt x="7458" y="1953"/>
                </a:lnTo>
                <a:lnTo>
                  <a:pt x="7453" y="1954"/>
                </a:lnTo>
                <a:lnTo>
                  <a:pt x="7445" y="1962"/>
                </a:lnTo>
                <a:lnTo>
                  <a:pt x="7434" y="1974"/>
                </a:lnTo>
                <a:lnTo>
                  <a:pt x="7424" y="1985"/>
                </a:lnTo>
                <a:lnTo>
                  <a:pt x="7415" y="1993"/>
                </a:lnTo>
                <a:lnTo>
                  <a:pt x="7412" y="1995"/>
                </a:lnTo>
                <a:lnTo>
                  <a:pt x="7408" y="1995"/>
                </a:lnTo>
                <a:lnTo>
                  <a:pt x="7405" y="1994"/>
                </a:lnTo>
                <a:lnTo>
                  <a:pt x="7402" y="1989"/>
                </a:lnTo>
                <a:lnTo>
                  <a:pt x="7398" y="1986"/>
                </a:lnTo>
                <a:lnTo>
                  <a:pt x="7392" y="1984"/>
                </a:lnTo>
                <a:lnTo>
                  <a:pt x="7387" y="1983"/>
                </a:lnTo>
                <a:lnTo>
                  <a:pt x="7382" y="1983"/>
                </a:lnTo>
                <a:lnTo>
                  <a:pt x="7372" y="1985"/>
                </a:lnTo>
                <a:lnTo>
                  <a:pt x="7369" y="1986"/>
                </a:lnTo>
                <a:lnTo>
                  <a:pt x="7368" y="1985"/>
                </a:lnTo>
                <a:lnTo>
                  <a:pt x="7364" y="1985"/>
                </a:lnTo>
                <a:lnTo>
                  <a:pt x="7362" y="1986"/>
                </a:lnTo>
                <a:lnTo>
                  <a:pt x="7360" y="1988"/>
                </a:lnTo>
                <a:lnTo>
                  <a:pt x="7357" y="1991"/>
                </a:lnTo>
                <a:lnTo>
                  <a:pt x="7354" y="1997"/>
                </a:lnTo>
                <a:lnTo>
                  <a:pt x="7347" y="2010"/>
                </a:lnTo>
                <a:lnTo>
                  <a:pt x="7342" y="2024"/>
                </a:lnTo>
                <a:lnTo>
                  <a:pt x="7339" y="2033"/>
                </a:lnTo>
                <a:lnTo>
                  <a:pt x="7337" y="2038"/>
                </a:lnTo>
                <a:lnTo>
                  <a:pt x="7334" y="2038"/>
                </a:lnTo>
                <a:lnTo>
                  <a:pt x="7326" y="2040"/>
                </a:lnTo>
                <a:lnTo>
                  <a:pt x="7324" y="2042"/>
                </a:lnTo>
                <a:lnTo>
                  <a:pt x="7322" y="2045"/>
                </a:lnTo>
                <a:lnTo>
                  <a:pt x="7323" y="2049"/>
                </a:lnTo>
                <a:lnTo>
                  <a:pt x="7328" y="2054"/>
                </a:lnTo>
                <a:lnTo>
                  <a:pt x="7340" y="2064"/>
                </a:lnTo>
                <a:lnTo>
                  <a:pt x="7348" y="2069"/>
                </a:lnTo>
                <a:lnTo>
                  <a:pt x="7351" y="2071"/>
                </a:lnTo>
                <a:lnTo>
                  <a:pt x="7354" y="2073"/>
                </a:lnTo>
                <a:lnTo>
                  <a:pt x="7355" y="2074"/>
                </a:lnTo>
                <a:lnTo>
                  <a:pt x="7354" y="2076"/>
                </a:lnTo>
                <a:lnTo>
                  <a:pt x="7349" y="2082"/>
                </a:lnTo>
                <a:lnTo>
                  <a:pt x="7345" y="2086"/>
                </a:lnTo>
                <a:lnTo>
                  <a:pt x="7342" y="2089"/>
                </a:lnTo>
                <a:lnTo>
                  <a:pt x="7341" y="2092"/>
                </a:lnTo>
                <a:lnTo>
                  <a:pt x="7340" y="2095"/>
                </a:lnTo>
                <a:lnTo>
                  <a:pt x="7340" y="2099"/>
                </a:lnTo>
                <a:lnTo>
                  <a:pt x="7343" y="2108"/>
                </a:lnTo>
                <a:lnTo>
                  <a:pt x="7347" y="2116"/>
                </a:lnTo>
                <a:lnTo>
                  <a:pt x="7351" y="2121"/>
                </a:lnTo>
                <a:lnTo>
                  <a:pt x="7352" y="2123"/>
                </a:lnTo>
                <a:lnTo>
                  <a:pt x="7354" y="2126"/>
                </a:lnTo>
                <a:lnTo>
                  <a:pt x="7354" y="2131"/>
                </a:lnTo>
                <a:lnTo>
                  <a:pt x="7354" y="2134"/>
                </a:lnTo>
                <a:lnTo>
                  <a:pt x="7352" y="2137"/>
                </a:lnTo>
                <a:lnTo>
                  <a:pt x="7349" y="2140"/>
                </a:lnTo>
                <a:lnTo>
                  <a:pt x="7345" y="2143"/>
                </a:lnTo>
                <a:lnTo>
                  <a:pt x="7326" y="2153"/>
                </a:lnTo>
                <a:lnTo>
                  <a:pt x="7318" y="2157"/>
                </a:lnTo>
                <a:lnTo>
                  <a:pt x="7317" y="2166"/>
                </a:lnTo>
                <a:lnTo>
                  <a:pt x="7318" y="2179"/>
                </a:lnTo>
                <a:lnTo>
                  <a:pt x="7318" y="2185"/>
                </a:lnTo>
                <a:lnTo>
                  <a:pt x="7317" y="2193"/>
                </a:lnTo>
                <a:lnTo>
                  <a:pt x="7316" y="2197"/>
                </a:lnTo>
                <a:lnTo>
                  <a:pt x="7314" y="2200"/>
                </a:lnTo>
                <a:lnTo>
                  <a:pt x="7312" y="2203"/>
                </a:lnTo>
                <a:lnTo>
                  <a:pt x="7310" y="2205"/>
                </a:lnTo>
                <a:lnTo>
                  <a:pt x="7303" y="2210"/>
                </a:lnTo>
                <a:lnTo>
                  <a:pt x="7291" y="2224"/>
                </a:lnTo>
                <a:lnTo>
                  <a:pt x="7274" y="2243"/>
                </a:lnTo>
                <a:lnTo>
                  <a:pt x="7255" y="2265"/>
                </a:lnTo>
                <a:lnTo>
                  <a:pt x="7236" y="2288"/>
                </a:lnTo>
                <a:lnTo>
                  <a:pt x="7218" y="2310"/>
                </a:lnTo>
                <a:lnTo>
                  <a:pt x="7204" y="2329"/>
                </a:lnTo>
                <a:lnTo>
                  <a:pt x="7195" y="2342"/>
                </a:lnTo>
                <a:lnTo>
                  <a:pt x="7190" y="2352"/>
                </a:lnTo>
                <a:lnTo>
                  <a:pt x="7184" y="2360"/>
                </a:lnTo>
                <a:lnTo>
                  <a:pt x="7177" y="2368"/>
                </a:lnTo>
                <a:lnTo>
                  <a:pt x="7172" y="2373"/>
                </a:lnTo>
                <a:lnTo>
                  <a:pt x="7164" y="2381"/>
                </a:lnTo>
                <a:lnTo>
                  <a:pt x="7161" y="2383"/>
                </a:lnTo>
                <a:lnTo>
                  <a:pt x="7144" y="2423"/>
                </a:lnTo>
                <a:lnTo>
                  <a:pt x="7141" y="2427"/>
                </a:lnTo>
                <a:lnTo>
                  <a:pt x="7132" y="2438"/>
                </a:lnTo>
                <a:lnTo>
                  <a:pt x="7127" y="2444"/>
                </a:lnTo>
                <a:lnTo>
                  <a:pt x="7122" y="2448"/>
                </a:lnTo>
                <a:lnTo>
                  <a:pt x="7118" y="2452"/>
                </a:lnTo>
                <a:lnTo>
                  <a:pt x="7114" y="2454"/>
                </a:lnTo>
                <a:lnTo>
                  <a:pt x="7111" y="2454"/>
                </a:lnTo>
                <a:lnTo>
                  <a:pt x="7110" y="2452"/>
                </a:lnTo>
                <a:lnTo>
                  <a:pt x="7109" y="2451"/>
                </a:lnTo>
                <a:lnTo>
                  <a:pt x="7109" y="2450"/>
                </a:lnTo>
                <a:lnTo>
                  <a:pt x="7110" y="2446"/>
                </a:lnTo>
                <a:lnTo>
                  <a:pt x="7111" y="2442"/>
                </a:lnTo>
                <a:lnTo>
                  <a:pt x="7116" y="2435"/>
                </a:lnTo>
                <a:lnTo>
                  <a:pt x="7118" y="2430"/>
                </a:lnTo>
                <a:lnTo>
                  <a:pt x="7144" y="2402"/>
                </a:lnTo>
                <a:lnTo>
                  <a:pt x="7146" y="2370"/>
                </a:lnTo>
                <a:lnTo>
                  <a:pt x="7171" y="2366"/>
                </a:lnTo>
                <a:lnTo>
                  <a:pt x="7174" y="2361"/>
                </a:lnTo>
                <a:lnTo>
                  <a:pt x="7182" y="2353"/>
                </a:lnTo>
                <a:lnTo>
                  <a:pt x="7186" y="2348"/>
                </a:lnTo>
                <a:lnTo>
                  <a:pt x="7188" y="2341"/>
                </a:lnTo>
                <a:lnTo>
                  <a:pt x="7189" y="2339"/>
                </a:lnTo>
                <a:lnTo>
                  <a:pt x="7189" y="2337"/>
                </a:lnTo>
                <a:lnTo>
                  <a:pt x="7188" y="2334"/>
                </a:lnTo>
                <a:lnTo>
                  <a:pt x="7187" y="2332"/>
                </a:lnTo>
                <a:lnTo>
                  <a:pt x="7185" y="2328"/>
                </a:lnTo>
                <a:lnTo>
                  <a:pt x="7185" y="2324"/>
                </a:lnTo>
                <a:lnTo>
                  <a:pt x="7187" y="2318"/>
                </a:lnTo>
                <a:lnTo>
                  <a:pt x="7189" y="2313"/>
                </a:lnTo>
                <a:lnTo>
                  <a:pt x="7194" y="2305"/>
                </a:lnTo>
                <a:lnTo>
                  <a:pt x="7197" y="2302"/>
                </a:lnTo>
                <a:lnTo>
                  <a:pt x="7198" y="2299"/>
                </a:lnTo>
                <a:lnTo>
                  <a:pt x="7198" y="2293"/>
                </a:lnTo>
                <a:lnTo>
                  <a:pt x="7198" y="2289"/>
                </a:lnTo>
                <a:lnTo>
                  <a:pt x="7198" y="2284"/>
                </a:lnTo>
                <a:lnTo>
                  <a:pt x="7197" y="2280"/>
                </a:lnTo>
                <a:lnTo>
                  <a:pt x="7195" y="2274"/>
                </a:lnTo>
                <a:lnTo>
                  <a:pt x="7191" y="2266"/>
                </a:lnTo>
                <a:lnTo>
                  <a:pt x="7187" y="2258"/>
                </a:lnTo>
                <a:lnTo>
                  <a:pt x="7185" y="2252"/>
                </a:lnTo>
                <a:lnTo>
                  <a:pt x="7184" y="2247"/>
                </a:lnTo>
                <a:lnTo>
                  <a:pt x="7184" y="2241"/>
                </a:lnTo>
                <a:lnTo>
                  <a:pt x="7183" y="2233"/>
                </a:lnTo>
                <a:lnTo>
                  <a:pt x="7180" y="2210"/>
                </a:lnTo>
                <a:lnTo>
                  <a:pt x="7175" y="2176"/>
                </a:lnTo>
                <a:lnTo>
                  <a:pt x="7174" y="2167"/>
                </a:lnTo>
                <a:lnTo>
                  <a:pt x="7174" y="2158"/>
                </a:lnTo>
                <a:lnTo>
                  <a:pt x="7175" y="2150"/>
                </a:lnTo>
                <a:lnTo>
                  <a:pt x="7176" y="2141"/>
                </a:lnTo>
                <a:lnTo>
                  <a:pt x="7177" y="2133"/>
                </a:lnTo>
                <a:lnTo>
                  <a:pt x="7181" y="2126"/>
                </a:lnTo>
                <a:lnTo>
                  <a:pt x="7185" y="2118"/>
                </a:lnTo>
                <a:lnTo>
                  <a:pt x="7189" y="2113"/>
                </a:lnTo>
                <a:lnTo>
                  <a:pt x="7214" y="2086"/>
                </a:lnTo>
                <a:lnTo>
                  <a:pt x="7240" y="2055"/>
                </a:lnTo>
                <a:lnTo>
                  <a:pt x="7262" y="2027"/>
                </a:lnTo>
                <a:lnTo>
                  <a:pt x="7276" y="2010"/>
                </a:lnTo>
                <a:lnTo>
                  <a:pt x="7293" y="1994"/>
                </a:lnTo>
                <a:lnTo>
                  <a:pt x="7323" y="1969"/>
                </a:lnTo>
                <a:lnTo>
                  <a:pt x="7339" y="1956"/>
                </a:lnTo>
                <a:lnTo>
                  <a:pt x="7352" y="1943"/>
                </a:lnTo>
                <a:lnTo>
                  <a:pt x="7359" y="1937"/>
                </a:lnTo>
                <a:lnTo>
                  <a:pt x="7363" y="1932"/>
                </a:lnTo>
                <a:lnTo>
                  <a:pt x="7366" y="1928"/>
                </a:lnTo>
                <a:lnTo>
                  <a:pt x="7368" y="1923"/>
                </a:lnTo>
                <a:lnTo>
                  <a:pt x="7369" y="1909"/>
                </a:lnTo>
                <a:lnTo>
                  <a:pt x="7369" y="1892"/>
                </a:lnTo>
                <a:lnTo>
                  <a:pt x="7369" y="1884"/>
                </a:lnTo>
                <a:lnTo>
                  <a:pt x="7371" y="1876"/>
                </a:lnTo>
                <a:lnTo>
                  <a:pt x="7372" y="1873"/>
                </a:lnTo>
                <a:lnTo>
                  <a:pt x="7373" y="1870"/>
                </a:lnTo>
                <a:lnTo>
                  <a:pt x="7376" y="1867"/>
                </a:lnTo>
                <a:lnTo>
                  <a:pt x="7379" y="1864"/>
                </a:lnTo>
                <a:lnTo>
                  <a:pt x="7383" y="1859"/>
                </a:lnTo>
                <a:lnTo>
                  <a:pt x="7385" y="1853"/>
                </a:lnTo>
                <a:lnTo>
                  <a:pt x="7386" y="1848"/>
                </a:lnTo>
                <a:lnTo>
                  <a:pt x="7385" y="1844"/>
                </a:lnTo>
                <a:lnTo>
                  <a:pt x="7384" y="1842"/>
                </a:lnTo>
                <a:lnTo>
                  <a:pt x="7383" y="1841"/>
                </a:lnTo>
                <a:lnTo>
                  <a:pt x="7381" y="1840"/>
                </a:lnTo>
                <a:lnTo>
                  <a:pt x="7379" y="1838"/>
                </a:lnTo>
                <a:lnTo>
                  <a:pt x="7376" y="1840"/>
                </a:lnTo>
                <a:lnTo>
                  <a:pt x="7372" y="1841"/>
                </a:lnTo>
                <a:lnTo>
                  <a:pt x="7369" y="1843"/>
                </a:lnTo>
                <a:lnTo>
                  <a:pt x="7366" y="1846"/>
                </a:lnTo>
                <a:lnTo>
                  <a:pt x="7350" y="1862"/>
                </a:lnTo>
                <a:lnTo>
                  <a:pt x="7337" y="1877"/>
                </a:lnTo>
                <a:lnTo>
                  <a:pt x="7326" y="1890"/>
                </a:lnTo>
                <a:lnTo>
                  <a:pt x="7323" y="1895"/>
                </a:lnTo>
                <a:lnTo>
                  <a:pt x="7288" y="1940"/>
                </a:lnTo>
                <a:lnTo>
                  <a:pt x="7285" y="1938"/>
                </a:lnTo>
                <a:lnTo>
                  <a:pt x="7279" y="1932"/>
                </a:lnTo>
                <a:lnTo>
                  <a:pt x="7276" y="1928"/>
                </a:lnTo>
                <a:lnTo>
                  <a:pt x="7272" y="1921"/>
                </a:lnTo>
                <a:lnTo>
                  <a:pt x="7270" y="1914"/>
                </a:lnTo>
                <a:lnTo>
                  <a:pt x="7268" y="1906"/>
                </a:lnTo>
                <a:lnTo>
                  <a:pt x="7266" y="1889"/>
                </a:lnTo>
                <a:lnTo>
                  <a:pt x="7263" y="1876"/>
                </a:lnTo>
                <a:lnTo>
                  <a:pt x="7262" y="1875"/>
                </a:lnTo>
                <a:lnTo>
                  <a:pt x="7261" y="1874"/>
                </a:lnTo>
                <a:lnTo>
                  <a:pt x="7260" y="1873"/>
                </a:lnTo>
                <a:lnTo>
                  <a:pt x="7258" y="1873"/>
                </a:lnTo>
                <a:lnTo>
                  <a:pt x="7253" y="1875"/>
                </a:lnTo>
                <a:lnTo>
                  <a:pt x="7245" y="1880"/>
                </a:lnTo>
                <a:lnTo>
                  <a:pt x="7236" y="1886"/>
                </a:lnTo>
                <a:lnTo>
                  <a:pt x="7230" y="1890"/>
                </a:lnTo>
                <a:lnTo>
                  <a:pt x="7224" y="1892"/>
                </a:lnTo>
                <a:lnTo>
                  <a:pt x="7219" y="1893"/>
                </a:lnTo>
                <a:lnTo>
                  <a:pt x="7215" y="1895"/>
                </a:lnTo>
                <a:lnTo>
                  <a:pt x="7211" y="1898"/>
                </a:lnTo>
                <a:lnTo>
                  <a:pt x="7207" y="1902"/>
                </a:lnTo>
                <a:lnTo>
                  <a:pt x="7202" y="1910"/>
                </a:lnTo>
                <a:lnTo>
                  <a:pt x="7189" y="1928"/>
                </a:lnTo>
                <a:lnTo>
                  <a:pt x="7175" y="1947"/>
                </a:lnTo>
                <a:lnTo>
                  <a:pt x="7169" y="1957"/>
                </a:lnTo>
                <a:lnTo>
                  <a:pt x="7163" y="1966"/>
                </a:lnTo>
                <a:lnTo>
                  <a:pt x="7159" y="1975"/>
                </a:lnTo>
                <a:lnTo>
                  <a:pt x="7157" y="1981"/>
                </a:lnTo>
                <a:lnTo>
                  <a:pt x="7154" y="1995"/>
                </a:lnTo>
                <a:lnTo>
                  <a:pt x="7154" y="2007"/>
                </a:lnTo>
                <a:lnTo>
                  <a:pt x="7155" y="2017"/>
                </a:lnTo>
                <a:lnTo>
                  <a:pt x="7157" y="2020"/>
                </a:lnTo>
                <a:lnTo>
                  <a:pt x="7155" y="2021"/>
                </a:lnTo>
                <a:lnTo>
                  <a:pt x="7150" y="2022"/>
                </a:lnTo>
                <a:lnTo>
                  <a:pt x="7140" y="2025"/>
                </a:lnTo>
                <a:lnTo>
                  <a:pt x="7121" y="2028"/>
                </a:lnTo>
                <a:lnTo>
                  <a:pt x="7109" y="2030"/>
                </a:lnTo>
                <a:lnTo>
                  <a:pt x="7099" y="2029"/>
                </a:lnTo>
                <a:lnTo>
                  <a:pt x="7088" y="2028"/>
                </a:lnTo>
                <a:lnTo>
                  <a:pt x="7078" y="2025"/>
                </a:lnTo>
                <a:lnTo>
                  <a:pt x="7070" y="2022"/>
                </a:lnTo>
                <a:lnTo>
                  <a:pt x="7062" y="2018"/>
                </a:lnTo>
                <a:lnTo>
                  <a:pt x="7057" y="2013"/>
                </a:lnTo>
                <a:lnTo>
                  <a:pt x="7054" y="2010"/>
                </a:lnTo>
                <a:lnTo>
                  <a:pt x="7051" y="2006"/>
                </a:lnTo>
                <a:lnTo>
                  <a:pt x="7048" y="2004"/>
                </a:lnTo>
                <a:lnTo>
                  <a:pt x="7043" y="2003"/>
                </a:lnTo>
                <a:lnTo>
                  <a:pt x="7040" y="2002"/>
                </a:lnTo>
                <a:lnTo>
                  <a:pt x="7035" y="2002"/>
                </a:lnTo>
                <a:lnTo>
                  <a:pt x="7031" y="2003"/>
                </a:lnTo>
                <a:lnTo>
                  <a:pt x="7027" y="2005"/>
                </a:lnTo>
                <a:lnTo>
                  <a:pt x="7022" y="2008"/>
                </a:lnTo>
                <a:lnTo>
                  <a:pt x="7018" y="2010"/>
                </a:lnTo>
                <a:lnTo>
                  <a:pt x="7012" y="2011"/>
                </a:lnTo>
                <a:lnTo>
                  <a:pt x="7004" y="2011"/>
                </a:lnTo>
                <a:lnTo>
                  <a:pt x="6996" y="2011"/>
                </a:lnTo>
                <a:lnTo>
                  <a:pt x="6988" y="2010"/>
                </a:lnTo>
                <a:lnTo>
                  <a:pt x="6979" y="2008"/>
                </a:lnTo>
                <a:lnTo>
                  <a:pt x="6973" y="2006"/>
                </a:lnTo>
                <a:lnTo>
                  <a:pt x="6967" y="2004"/>
                </a:lnTo>
                <a:lnTo>
                  <a:pt x="6957" y="1999"/>
                </a:lnTo>
                <a:lnTo>
                  <a:pt x="6947" y="1994"/>
                </a:lnTo>
                <a:lnTo>
                  <a:pt x="6943" y="1993"/>
                </a:lnTo>
                <a:lnTo>
                  <a:pt x="6938" y="1991"/>
                </a:lnTo>
                <a:lnTo>
                  <a:pt x="6933" y="1993"/>
                </a:lnTo>
                <a:lnTo>
                  <a:pt x="6930" y="1996"/>
                </a:lnTo>
                <a:lnTo>
                  <a:pt x="6927" y="1999"/>
                </a:lnTo>
                <a:lnTo>
                  <a:pt x="6924" y="2000"/>
                </a:lnTo>
                <a:lnTo>
                  <a:pt x="6921" y="2001"/>
                </a:lnTo>
                <a:lnTo>
                  <a:pt x="6917" y="2002"/>
                </a:lnTo>
                <a:lnTo>
                  <a:pt x="6913" y="2003"/>
                </a:lnTo>
                <a:lnTo>
                  <a:pt x="6908" y="2006"/>
                </a:lnTo>
                <a:lnTo>
                  <a:pt x="6903" y="2009"/>
                </a:lnTo>
                <a:lnTo>
                  <a:pt x="6898" y="2016"/>
                </a:lnTo>
                <a:lnTo>
                  <a:pt x="6887" y="2028"/>
                </a:lnTo>
                <a:lnTo>
                  <a:pt x="6879" y="2035"/>
                </a:lnTo>
                <a:lnTo>
                  <a:pt x="6869" y="2044"/>
                </a:lnTo>
                <a:lnTo>
                  <a:pt x="6857" y="2060"/>
                </a:lnTo>
                <a:lnTo>
                  <a:pt x="6843" y="2075"/>
                </a:lnTo>
                <a:lnTo>
                  <a:pt x="6833" y="2084"/>
                </a:lnTo>
                <a:lnTo>
                  <a:pt x="6825" y="2091"/>
                </a:lnTo>
                <a:lnTo>
                  <a:pt x="6817" y="2098"/>
                </a:lnTo>
                <a:lnTo>
                  <a:pt x="6809" y="2109"/>
                </a:lnTo>
                <a:lnTo>
                  <a:pt x="6798" y="2121"/>
                </a:lnTo>
                <a:lnTo>
                  <a:pt x="6788" y="2135"/>
                </a:lnTo>
                <a:lnTo>
                  <a:pt x="6778" y="2145"/>
                </a:lnTo>
                <a:lnTo>
                  <a:pt x="6762" y="2163"/>
                </a:lnTo>
                <a:lnTo>
                  <a:pt x="6752" y="2172"/>
                </a:lnTo>
                <a:lnTo>
                  <a:pt x="6764" y="2203"/>
                </a:lnTo>
                <a:lnTo>
                  <a:pt x="6766" y="2198"/>
                </a:lnTo>
                <a:lnTo>
                  <a:pt x="6771" y="2188"/>
                </a:lnTo>
                <a:lnTo>
                  <a:pt x="6774" y="2185"/>
                </a:lnTo>
                <a:lnTo>
                  <a:pt x="6778" y="2183"/>
                </a:lnTo>
                <a:lnTo>
                  <a:pt x="6779" y="2183"/>
                </a:lnTo>
                <a:lnTo>
                  <a:pt x="6781" y="2184"/>
                </a:lnTo>
                <a:lnTo>
                  <a:pt x="6782" y="2185"/>
                </a:lnTo>
                <a:lnTo>
                  <a:pt x="6785" y="2188"/>
                </a:lnTo>
                <a:lnTo>
                  <a:pt x="6789" y="2201"/>
                </a:lnTo>
                <a:lnTo>
                  <a:pt x="6792" y="2210"/>
                </a:lnTo>
                <a:lnTo>
                  <a:pt x="6793" y="2217"/>
                </a:lnTo>
                <a:lnTo>
                  <a:pt x="6793" y="2220"/>
                </a:lnTo>
                <a:lnTo>
                  <a:pt x="6830" y="2205"/>
                </a:lnTo>
                <a:lnTo>
                  <a:pt x="6860" y="2227"/>
                </a:lnTo>
                <a:lnTo>
                  <a:pt x="6862" y="2233"/>
                </a:lnTo>
                <a:lnTo>
                  <a:pt x="6864" y="2246"/>
                </a:lnTo>
                <a:lnTo>
                  <a:pt x="6864" y="2253"/>
                </a:lnTo>
                <a:lnTo>
                  <a:pt x="6865" y="2262"/>
                </a:lnTo>
                <a:lnTo>
                  <a:pt x="6864" y="2269"/>
                </a:lnTo>
                <a:lnTo>
                  <a:pt x="6862" y="2274"/>
                </a:lnTo>
                <a:lnTo>
                  <a:pt x="6861" y="2280"/>
                </a:lnTo>
                <a:lnTo>
                  <a:pt x="6861" y="2285"/>
                </a:lnTo>
                <a:lnTo>
                  <a:pt x="6862" y="2290"/>
                </a:lnTo>
                <a:lnTo>
                  <a:pt x="6864" y="2295"/>
                </a:lnTo>
                <a:lnTo>
                  <a:pt x="6865" y="2303"/>
                </a:lnTo>
                <a:lnTo>
                  <a:pt x="6865" y="2310"/>
                </a:lnTo>
                <a:lnTo>
                  <a:pt x="6864" y="2319"/>
                </a:lnTo>
                <a:lnTo>
                  <a:pt x="6860" y="2330"/>
                </a:lnTo>
                <a:lnTo>
                  <a:pt x="6852" y="2360"/>
                </a:lnTo>
                <a:lnTo>
                  <a:pt x="6842" y="2396"/>
                </a:lnTo>
                <a:lnTo>
                  <a:pt x="6837" y="2413"/>
                </a:lnTo>
                <a:lnTo>
                  <a:pt x="6832" y="2427"/>
                </a:lnTo>
                <a:lnTo>
                  <a:pt x="6830" y="2433"/>
                </a:lnTo>
                <a:lnTo>
                  <a:pt x="6826" y="2438"/>
                </a:lnTo>
                <a:lnTo>
                  <a:pt x="6824" y="2442"/>
                </a:lnTo>
                <a:lnTo>
                  <a:pt x="6821" y="2445"/>
                </a:lnTo>
                <a:lnTo>
                  <a:pt x="6816" y="2451"/>
                </a:lnTo>
                <a:lnTo>
                  <a:pt x="6810" y="2462"/>
                </a:lnTo>
                <a:lnTo>
                  <a:pt x="6802" y="2473"/>
                </a:lnTo>
                <a:lnTo>
                  <a:pt x="6794" y="2487"/>
                </a:lnTo>
                <a:lnTo>
                  <a:pt x="6786" y="2501"/>
                </a:lnTo>
                <a:lnTo>
                  <a:pt x="6777" y="2514"/>
                </a:lnTo>
                <a:lnTo>
                  <a:pt x="6768" y="2527"/>
                </a:lnTo>
                <a:lnTo>
                  <a:pt x="6757" y="2537"/>
                </a:lnTo>
                <a:lnTo>
                  <a:pt x="6737" y="2556"/>
                </a:lnTo>
                <a:lnTo>
                  <a:pt x="6716" y="2572"/>
                </a:lnTo>
                <a:lnTo>
                  <a:pt x="6702" y="2582"/>
                </a:lnTo>
                <a:lnTo>
                  <a:pt x="6697" y="2587"/>
                </a:lnTo>
                <a:lnTo>
                  <a:pt x="6689" y="2584"/>
                </a:lnTo>
                <a:lnTo>
                  <a:pt x="6674" y="2579"/>
                </a:lnTo>
                <a:lnTo>
                  <a:pt x="6664" y="2578"/>
                </a:lnTo>
                <a:lnTo>
                  <a:pt x="6654" y="2579"/>
                </a:lnTo>
                <a:lnTo>
                  <a:pt x="6649" y="2580"/>
                </a:lnTo>
                <a:lnTo>
                  <a:pt x="6644" y="2582"/>
                </a:lnTo>
                <a:lnTo>
                  <a:pt x="6640" y="2586"/>
                </a:lnTo>
                <a:lnTo>
                  <a:pt x="6637" y="2589"/>
                </a:lnTo>
                <a:lnTo>
                  <a:pt x="6634" y="2594"/>
                </a:lnTo>
                <a:lnTo>
                  <a:pt x="6632" y="2598"/>
                </a:lnTo>
                <a:lnTo>
                  <a:pt x="6630" y="2602"/>
                </a:lnTo>
                <a:lnTo>
                  <a:pt x="6628" y="2608"/>
                </a:lnTo>
                <a:lnTo>
                  <a:pt x="6627" y="2617"/>
                </a:lnTo>
                <a:lnTo>
                  <a:pt x="6627" y="2626"/>
                </a:lnTo>
                <a:lnTo>
                  <a:pt x="6626" y="2635"/>
                </a:lnTo>
                <a:lnTo>
                  <a:pt x="6625" y="2642"/>
                </a:lnTo>
                <a:lnTo>
                  <a:pt x="6624" y="2646"/>
                </a:lnTo>
                <a:lnTo>
                  <a:pt x="6622" y="2648"/>
                </a:lnTo>
                <a:lnTo>
                  <a:pt x="6619" y="2650"/>
                </a:lnTo>
                <a:lnTo>
                  <a:pt x="6616" y="2653"/>
                </a:lnTo>
                <a:lnTo>
                  <a:pt x="6600" y="2659"/>
                </a:lnTo>
                <a:lnTo>
                  <a:pt x="6587" y="2664"/>
                </a:lnTo>
                <a:lnTo>
                  <a:pt x="6581" y="2668"/>
                </a:lnTo>
                <a:lnTo>
                  <a:pt x="6577" y="2671"/>
                </a:lnTo>
                <a:lnTo>
                  <a:pt x="6574" y="2676"/>
                </a:lnTo>
                <a:lnTo>
                  <a:pt x="6573" y="2680"/>
                </a:lnTo>
                <a:lnTo>
                  <a:pt x="6574" y="2686"/>
                </a:lnTo>
                <a:lnTo>
                  <a:pt x="6578" y="2696"/>
                </a:lnTo>
                <a:lnTo>
                  <a:pt x="6582" y="2707"/>
                </a:lnTo>
                <a:lnTo>
                  <a:pt x="6589" y="2719"/>
                </a:lnTo>
                <a:lnTo>
                  <a:pt x="6599" y="2741"/>
                </a:lnTo>
                <a:lnTo>
                  <a:pt x="6603" y="2749"/>
                </a:lnTo>
                <a:lnTo>
                  <a:pt x="6588" y="2783"/>
                </a:lnTo>
                <a:lnTo>
                  <a:pt x="6589" y="2787"/>
                </a:lnTo>
                <a:lnTo>
                  <a:pt x="6589" y="2798"/>
                </a:lnTo>
                <a:lnTo>
                  <a:pt x="6589" y="2805"/>
                </a:lnTo>
                <a:lnTo>
                  <a:pt x="6588" y="2811"/>
                </a:lnTo>
                <a:lnTo>
                  <a:pt x="6584" y="2816"/>
                </a:lnTo>
                <a:lnTo>
                  <a:pt x="6581" y="2819"/>
                </a:lnTo>
                <a:lnTo>
                  <a:pt x="6572" y="2825"/>
                </a:lnTo>
                <a:lnTo>
                  <a:pt x="6564" y="2832"/>
                </a:lnTo>
                <a:lnTo>
                  <a:pt x="6559" y="2834"/>
                </a:lnTo>
                <a:lnTo>
                  <a:pt x="6557" y="2836"/>
                </a:lnTo>
                <a:lnTo>
                  <a:pt x="6554" y="2837"/>
                </a:lnTo>
                <a:lnTo>
                  <a:pt x="6553" y="2836"/>
                </a:lnTo>
                <a:lnTo>
                  <a:pt x="6550" y="2828"/>
                </a:lnTo>
                <a:lnTo>
                  <a:pt x="6546" y="2812"/>
                </a:lnTo>
                <a:lnTo>
                  <a:pt x="6543" y="2793"/>
                </a:lnTo>
                <a:lnTo>
                  <a:pt x="6540" y="2778"/>
                </a:lnTo>
                <a:lnTo>
                  <a:pt x="6539" y="2771"/>
                </a:lnTo>
                <a:lnTo>
                  <a:pt x="6536" y="2764"/>
                </a:lnTo>
                <a:lnTo>
                  <a:pt x="6532" y="2755"/>
                </a:lnTo>
                <a:lnTo>
                  <a:pt x="6527" y="2748"/>
                </a:lnTo>
                <a:lnTo>
                  <a:pt x="6517" y="2735"/>
                </a:lnTo>
                <a:lnTo>
                  <a:pt x="6513" y="2729"/>
                </a:lnTo>
                <a:lnTo>
                  <a:pt x="6512" y="2727"/>
                </a:lnTo>
                <a:lnTo>
                  <a:pt x="6510" y="2722"/>
                </a:lnTo>
                <a:lnTo>
                  <a:pt x="6509" y="2718"/>
                </a:lnTo>
                <a:lnTo>
                  <a:pt x="6509" y="2714"/>
                </a:lnTo>
                <a:lnTo>
                  <a:pt x="6509" y="2710"/>
                </a:lnTo>
                <a:lnTo>
                  <a:pt x="6509" y="2706"/>
                </a:lnTo>
                <a:lnTo>
                  <a:pt x="6511" y="2699"/>
                </a:lnTo>
                <a:lnTo>
                  <a:pt x="6512" y="2691"/>
                </a:lnTo>
                <a:lnTo>
                  <a:pt x="6511" y="2688"/>
                </a:lnTo>
                <a:lnTo>
                  <a:pt x="6510" y="2686"/>
                </a:lnTo>
                <a:lnTo>
                  <a:pt x="6507" y="2685"/>
                </a:lnTo>
                <a:lnTo>
                  <a:pt x="6504" y="2685"/>
                </a:lnTo>
                <a:lnTo>
                  <a:pt x="6496" y="2687"/>
                </a:lnTo>
                <a:lnTo>
                  <a:pt x="6489" y="2687"/>
                </a:lnTo>
                <a:lnTo>
                  <a:pt x="6482" y="2688"/>
                </a:lnTo>
                <a:lnTo>
                  <a:pt x="6472" y="2691"/>
                </a:lnTo>
                <a:lnTo>
                  <a:pt x="6460" y="2696"/>
                </a:lnTo>
                <a:lnTo>
                  <a:pt x="6447" y="2701"/>
                </a:lnTo>
                <a:lnTo>
                  <a:pt x="6438" y="2705"/>
                </a:lnTo>
                <a:lnTo>
                  <a:pt x="6435" y="2707"/>
                </a:lnTo>
                <a:lnTo>
                  <a:pt x="6433" y="2706"/>
                </a:lnTo>
                <a:lnTo>
                  <a:pt x="6429" y="2703"/>
                </a:lnTo>
                <a:lnTo>
                  <a:pt x="6428" y="2700"/>
                </a:lnTo>
                <a:lnTo>
                  <a:pt x="6428" y="2697"/>
                </a:lnTo>
                <a:lnTo>
                  <a:pt x="6430" y="2692"/>
                </a:lnTo>
                <a:lnTo>
                  <a:pt x="6434" y="2688"/>
                </a:lnTo>
                <a:lnTo>
                  <a:pt x="6442" y="2678"/>
                </a:lnTo>
                <a:lnTo>
                  <a:pt x="6449" y="2668"/>
                </a:lnTo>
                <a:lnTo>
                  <a:pt x="6452" y="2664"/>
                </a:lnTo>
                <a:lnTo>
                  <a:pt x="6453" y="2661"/>
                </a:lnTo>
                <a:lnTo>
                  <a:pt x="6453" y="2659"/>
                </a:lnTo>
                <a:lnTo>
                  <a:pt x="6452" y="2658"/>
                </a:lnTo>
                <a:lnTo>
                  <a:pt x="6451" y="2658"/>
                </a:lnTo>
                <a:lnTo>
                  <a:pt x="6450" y="2657"/>
                </a:lnTo>
                <a:lnTo>
                  <a:pt x="6446" y="2657"/>
                </a:lnTo>
                <a:lnTo>
                  <a:pt x="6442" y="2658"/>
                </a:lnTo>
                <a:lnTo>
                  <a:pt x="6438" y="2659"/>
                </a:lnTo>
                <a:lnTo>
                  <a:pt x="6433" y="2661"/>
                </a:lnTo>
                <a:lnTo>
                  <a:pt x="6424" y="2666"/>
                </a:lnTo>
                <a:lnTo>
                  <a:pt x="6417" y="2671"/>
                </a:lnTo>
                <a:lnTo>
                  <a:pt x="6409" y="2676"/>
                </a:lnTo>
                <a:lnTo>
                  <a:pt x="6400" y="2681"/>
                </a:lnTo>
                <a:lnTo>
                  <a:pt x="6390" y="2688"/>
                </a:lnTo>
                <a:lnTo>
                  <a:pt x="6379" y="2697"/>
                </a:lnTo>
                <a:lnTo>
                  <a:pt x="6374" y="2701"/>
                </a:lnTo>
                <a:lnTo>
                  <a:pt x="6367" y="2705"/>
                </a:lnTo>
                <a:lnTo>
                  <a:pt x="6359" y="2707"/>
                </a:lnTo>
                <a:lnTo>
                  <a:pt x="6353" y="2709"/>
                </a:lnTo>
                <a:lnTo>
                  <a:pt x="6348" y="2710"/>
                </a:lnTo>
                <a:lnTo>
                  <a:pt x="6346" y="2712"/>
                </a:lnTo>
                <a:lnTo>
                  <a:pt x="6346" y="2713"/>
                </a:lnTo>
                <a:lnTo>
                  <a:pt x="6347" y="2715"/>
                </a:lnTo>
                <a:lnTo>
                  <a:pt x="6349" y="2716"/>
                </a:lnTo>
                <a:lnTo>
                  <a:pt x="6352" y="2719"/>
                </a:lnTo>
                <a:lnTo>
                  <a:pt x="6359" y="2722"/>
                </a:lnTo>
                <a:lnTo>
                  <a:pt x="6365" y="2724"/>
                </a:lnTo>
                <a:lnTo>
                  <a:pt x="6370" y="2724"/>
                </a:lnTo>
                <a:lnTo>
                  <a:pt x="6375" y="2724"/>
                </a:lnTo>
                <a:lnTo>
                  <a:pt x="6378" y="2724"/>
                </a:lnTo>
                <a:lnTo>
                  <a:pt x="6381" y="2725"/>
                </a:lnTo>
                <a:lnTo>
                  <a:pt x="6384" y="2728"/>
                </a:lnTo>
                <a:lnTo>
                  <a:pt x="6386" y="2732"/>
                </a:lnTo>
                <a:lnTo>
                  <a:pt x="6389" y="2736"/>
                </a:lnTo>
                <a:lnTo>
                  <a:pt x="6392" y="2740"/>
                </a:lnTo>
                <a:lnTo>
                  <a:pt x="6395" y="2742"/>
                </a:lnTo>
                <a:lnTo>
                  <a:pt x="6398" y="2743"/>
                </a:lnTo>
                <a:lnTo>
                  <a:pt x="6404" y="2742"/>
                </a:lnTo>
                <a:lnTo>
                  <a:pt x="6409" y="2739"/>
                </a:lnTo>
                <a:lnTo>
                  <a:pt x="6413" y="2735"/>
                </a:lnTo>
                <a:lnTo>
                  <a:pt x="6416" y="2732"/>
                </a:lnTo>
                <a:lnTo>
                  <a:pt x="6419" y="2730"/>
                </a:lnTo>
                <a:lnTo>
                  <a:pt x="6421" y="2730"/>
                </a:lnTo>
                <a:lnTo>
                  <a:pt x="6424" y="2730"/>
                </a:lnTo>
                <a:lnTo>
                  <a:pt x="6428" y="2730"/>
                </a:lnTo>
                <a:lnTo>
                  <a:pt x="6436" y="2732"/>
                </a:lnTo>
                <a:lnTo>
                  <a:pt x="6442" y="2732"/>
                </a:lnTo>
                <a:lnTo>
                  <a:pt x="6445" y="2732"/>
                </a:lnTo>
                <a:lnTo>
                  <a:pt x="6447" y="2733"/>
                </a:lnTo>
                <a:lnTo>
                  <a:pt x="6449" y="2735"/>
                </a:lnTo>
                <a:lnTo>
                  <a:pt x="6451" y="2739"/>
                </a:lnTo>
                <a:lnTo>
                  <a:pt x="6452" y="2741"/>
                </a:lnTo>
                <a:lnTo>
                  <a:pt x="6455" y="2743"/>
                </a:lnTo>
                <a:lnTo>
                  <a:pt x="6456" y="2743"/>
                </a:lnTo>
                <a:lnTo>
                  <a:pt x="6457" y="2743"/>
                </a:lnTo>
                <a:lnTo>
                  <a:pt x="6458" y="2744"/>
                </a:lnTo>
                <a:lnTo>
                  <a:pt x="6458" y="2745"/>
                </a:lnTo>
                <a:lnTo>
                  <a:pt x="6458" y="2747"/>
                </a:lnTo>
                <a:lnTo>
                  <a:pt x="6457" y="2751"/>
                </a:lnTo>
                <a:lnTo>
                  <a:pt x="6456" y="2759"/>
                </a:lnTo>
                <a:lnTo>
                  <a:pt x="6458" y="2763"/>
                </a:lnTo>
                <a:lnTo>
                  <a:pt x="6457" y="2764"/>
                </a:lnTo>
                <a:lnTo>
                  <a:pt x="6455" y="2766"/>
                </a:lnTo>
                <a:lnTo>
                  <a:pt x="6451" y="2769"/>
                </a:lnTo>
                <a:lnTo>
                  <a:pt x="6444" y="2774"/>
                </a:lnTo>
                <a:lnTo>
                  <a:pt x="6428" y="2785"/>
                </a:lnTo>
                <a:lnTo>
                  <a:pt x="6414" y="2794"/>
                </a:lnTo>
                <a:lnTo>
                  <a:pt x="6403" y="2800"/>
                </a:lnTo>
                <a:lnTo>
                  <a:pt x="6399" y="2803"/>
                </a:lnTo>
                <a:lnTo>
                  <a:pt x="6400" y="2810"/>
                </a:lnTo>
                <a:lnTo>
                  <a:pt x="6404" y="2822"/>
                </a:lnTo>
                <a:lnTo>
                  <a:pt x="6413" y="2837"/>
                </a:lnTo>
                <a:lnTo>
                  <a:pt x="6420" y="2851"/>
                </a:lnTo>
                <a:lnTo>
                  <a:pt x="6422" y="2861"/>
                </a:lnTo>
                <a:lnTo>
                  <a:pt x="6425" y="2874"/>
                </a:lnTo>
                <a:lnTo>
                  <a:pt x="6427" y="2881"/>
                </a:lnTo>
                <a:lnTo>
                  <a:pt x="6429" y="2887"/>
                </a:lnTo>
                <a:lnTo>
                  <a:pt x="6433" y="2893"/>
                </a:lnTo>
                <a:lnTo>
                  <a:pt x="6436" y="2898"/>
                </a:lnTo>
                <a:lnTo>
                  <a:pt x="6443" y="2903"/>
                </a:lnTo>
                <a:lnTo>
                  <a:pt x="6451" y="2907"/>
                </a:lnTo>
                <a:lnTo>
                  <a:pt x="6455" y="2909"/>
                </a:lnTo>
                <a:lnTo>
                  <a:pt x="6457" y="2912"/>
                </a:lnTo>
                <a:lnTo>
                  <a:pt x="6458" y="2918"/>
                </a:lnTo>
                <a:lnTo>
                  <a:pt x="6457" y="2924"/>
                </a:lnTo>
                <a:lnTo>
                  <a:pt x="6452" y="2937"/>
                </a:lnTo>
                <a:lnTo>
                  <a:pt x="6449" y="2947"/>
                </a:lnTo>
                <a:lnTo>
                  <a:pt x="6449" y="2953"/>
                </a:lnTo>
                <a:lnTo>
                  <a:pt x="6449" y="2957"/>
                </a:lnTo>
                <a:lnTo>
                  <a:pt x="6443" y="2967"/>
                </a:lnTo>
                <a:lnTo>
                  <a:pt x="6428" y="2985"/>
                </a:lnTo>
                <a:lnTo>
                  <a:pt x="6420" y="2995"/>
                </a:lnTo>
                <a:lnTo>
                  <a:pt x="6413" y="3006"/>
                </a:lnTo>
                <a:lnTo>
                  <a:pt x="6407" y="3014"/>
                </a:lnTo>
                <a:lnTo>
                  <a:pt x="6405" y="3020"/>
                </a:lnTo>
                <a:lnTo>
                  <a:pt x="6402" y="3031"/>
                </a:lnTo>
                <a:lnTo>
                  <a:pt x="6397" y="3041"/>
                </a:lnTo>
                <a:lnTo>
                  <a:pt x="6391" y="3052"/>
                </a:lnTo>
                <a:lnTo>
                  <a:pt x="6383" y="3060"/>
                </a:lnTo>
                <a:lnTo>
                  <a:pt x="6375" y="3070"/>
                </a:lnTo>
                <a:lnTo>
                  <a:pt x="6363" y="3080"/>
                </a:lnTo>
                <a:lnTo>
                  <a:pt x="6351" y="3092"/>
                </a:lnTo>
                <a:lnTo>
                  <a:pt x="6337" y="3103"/>
                </a:lnTo>
                <a:lnTo>
                  <a:pt x="6329" y="3108"/>
                </a:lnTo>
                <a:lnTo>
                  <a:pt x="6318" y="3114"/>
                </a:lnTo>
                <a:lnTo>
                  <a:pt x="6307" y="3120"/>
                </a:lnTo>
                <a:lnTo>
                  <a:pt x="6294" y="3125"/>
                </a:lnTo>
                <a:lnTo>
                  <a:pt x="6271" y="3135"/>
                </a:lnTo>
                <a:lnTo>
                  <a:pt x="6258" y="3140"/>
                </a:lnTo>
                <a:lnTo>
                  <a:pt x="6246" y="3143"/>
                </a:lnTo>
                <a:lnTo>
                  <a:pt x="6232" y="3144"/>
                </a:lnTo>
                <a:lnTo>
                  <a:pt x="6218" y="3146"/>
                </a:lnTo>
                <a:lnTo>
                  <a:pt x="6209" y="3149"/>
                </a:lnTo>
                <a:lnTo>
                  <a:pt x="6202" y="3151"/>
                </a:lnTo>
                <a:lnTo>
                  <a:pt x="6192" y="3152"/>
                </a:lnTo>
                <a:lnTo>
                  <a:pt x="6186" y="3153"/>
                </a:lnTo>
                <a:lnTo>
                  <a:pt x="6183" y="3154"/>
                </a:lnTo>
                <a:lnTo>
                  <a:pt x="6182" y="3156"/>
                </a:lnTo>
                <a:lnTo>
                  <a:pt x="6181" y="3157"/>
                </a:lnTo>
                <a:lnTo>
                  <a:pt x="6181" y="3158"/>
                </a:lnTo>
                <a:lnTo>
                  <a:pt x="6182" y="3160"/>
                </a:lnTo>
                <a:lnTo>
                  <a:pt x="6187" y="3170"/>
                </a:lnTo>
                <a:lnTo>
                  <a:pt x="6194" y="3186"/>
                </a:lnTo>
                <a:lnTo>
                  <a:pt x="6196" y="3194"/>
                </a:lnTo>
                <a:lnTo>
                  <a:pt x="6197" y="3203"/>
                </a:lnTo>
                <a:lnTo>
                  <a:pt x="6197" y="3206"/>
                </a:lnTo>
                <a:lnTo>
                  <a:pt x="6196" y="3209"/>
                </a:lnTo>
                <a:lnTo>
                  <a:pt x="6196" y="3212"/>
                </a:lnTo>
                <a:lnTo>
                  <a:pt x="6194" y="3215"/>
                </a:lnTo>
                <a:lnTo>
                  <a:pt x="6189" y="3218"/>
                </a:lnTo>
                <a:lnTo>
                  <a:pt x="6182" y="3222"/>
                </a:lnTo>
                <a:lnTo>
                  <a:pt x="6175" y="3223"/>
                </a:lnTo>
                <a:lnTo>
                  <a:pt x="6167" y="3224"/>
                </a:lnTo>
                <a:lnTo>
                  <a:pt x="6159" y="3223"/>
                </a:lnTo>
                <a:lnTo>
                  <a:pt x="6154" y="3220"/>
                </a:lnTo>
                <a:lnTo>
                  <a:pt x="6151" y="3219"/>
                </a:lnTo>
                <a:lnTo>
                  <a:pt x="6150" y="3217"/>
                </a:lnTo>
                <a:lnTo>
                  <a:pt x="6148" y="3216"/>
                </a:lnTo>
                <a:lnTo>
                  <a:pt x="6148" y="3214"/>
                </a:lnTo>
                <a:lnTo>
                  <a:pt x="6150" y="3209"/>
                </a:lnTo>
                <a:lnTo>
                  <a:pt x="6154" y="3203"/>
                </a:lnTo>
                <a:lnTo>
                  <a:pt x="6159" y="3195"/>
                </a:lnTo>
                <a:lnTo>
                  <a:pt x="6165" y="3188"/>
                </a:lnTo>
                <a:lnTo>
                  <a:pt x="6172" y="3181"/>
                </a:lnTo>
                <a:lnTo>
                  <a:pt x="6177" y="3174"/>
                </a:lnTo>
                <a:lnTo>
                  <a:pt x="6178" y="3171"/>
                </a:lnTo>
                <a:lnTo>
                  <a:pt x="6179" y="3169"/>
                </a:lnTo>
                <a:lnTo>
                  <a:pt x="6179" y="3166"/>
                </a:lnTo>
                <a:lnTo>
                  <a:pt x="6179" y="3165"/>
                </a:lnTo>
                <a:lnTo>
                  <a:pt x="6173" y="3156"/>
                </a:lnTo>
                <a:lnTo>
                  <a:pt x="6170" y="3153"/>
                </a:lnTo>
                <a:lnTo>
                  <a:pt x="6161" y="3151"/>
                </a:lnTo>
                <a:lnTo>
                  <a:pt x="6149" y="3149"/>
                </a:lnTo>
                <a:lnTo>
                  <a:pt x="6143" y="3151"/>
                </a:lnTo>
                <a:lnTo>
                  <a:pt x="6137" y="3157"/>
                </a:lnTo>
                <a:lnTo>
                  <a:pt x="6131" y="3164"/>
                </a:lnTo>
                <a:lnTo>
                  <a:pt x="6125" y="3170"/>
                </a:lnTo>
                <a:lnTo>
                  <a:pt x="6109" y="3185"/>
                </a:lnTo>
                <a:lnTo>
                  <a:pt x="6096" y="3197"/>
                </a:lnTo>
                <a:lnTo>
                  <a:pt x="6092" y="3204"/>
                </a:lnTo>
                <a:lnTo>
                  <a:pt x="6086" y="3212"/>
                </a:lnTo>
                <a:lnTo>
                  <a:pt x="6083" y="3216"/>
                </a:lnTo>
                <a:lnTo>
                  <a:pt x="6080" y="3219"/>
                </a:lnTo>
                <a:lnTo>
                  <a:pt x="6079" y="3223"/>
                </a:lnTo>
                <a:lnTo>
                  <a:pt x="6080" y="3225"/>
                </a:lnTo>
                <a:lnTo>
                  <a:pt x="6087" y="3230"/>
                </a:lnTo>
                <a:lnTo>
                  <a:pt x="6097" y="3237"/>
                </a:lnTo>
                <a:lnTo>
                  <a:pt x="6108" y="3244"/>
                </a:lnTo>
                <a:lnTo>
                  <a:pt x="6112" y="3247"/>
                </a:lnTo>
                <a:lnTo>
                  <a:pt x="6119" y="3253"/>
                </a:lnTo>
                <a:lnTo>
                  <a:pt x="6130" y="3262"/>
                </a:lnTo>
                <a:lnTo>
                  <a:pt x="6140" y="3277"/>
                </a:lnTo>
                <a:lnTo>
                  <a:pt x="6160" y="3306"/>
                </a:lnTo>
                <a:lnTo>
                  <a:pt x="6171" y="3322"/>
                </a:lnTo>
                <a:lnTo>
                  <a:pt x="6180" y="3336"/>
                </a:lnTo>
                <a:lnTo>
                  <a:pt x="6183" y="3341"/>
                </a:lnTo>
                <a:lnTo>
                  <a:pt x="6185" y="3346"/>
                </a:lnTo>
                <a:lnTo>
                  <a:pt x="6186" y="3349"/>
                </a:lnTo>
                <a:lnTo>
                  <a:pt x="6186" y="3351"/>
                </a:lnTo>
                <a:lnTo>
                  <a:pt x="6182" y="3356"/>
                </a:lnTo>
                <a:lnTo>
                  <a:pt x="6176" y="3359"/>
                </a:lnTo>
                <a:lnTo>
                  <a:pt x="6172" y="3362"/>
                </a:lnTo>
                <a:lnTo>
                  <a:pt x="6167" y="3365"/>
                </a:lnTo>
                <a:lnTo>
                  <a:pt x="6163" y="3370"/>
                </a:lnTo>
                <a:lnTo>
                  <a:pt x="6160" y="3378"/>
                </a:lnTo>
                <a:lnTo>
                  <a:pt x="6154" y="3385"/>
                </a:lnTo>
                <a:lnTo>
                  <a:pt x="6145" y="3394"/>
                </a:lnTo>
                <a:lnTo>
                  <a:pt x="6135" y="3403"/>
                </a:lnTo>
                <a:lnTo>
                  <a:pt x="6122" y="3412"/>
                </a:lnTo>
                <a:lnTo>
                  <a:pt x="6098" y="3428"/>
                </a:lnTo>
                <a:lnTo>
                  <a:pt x="6079" y="3437"/>
                </a:lnTo>
                <a:lnTo>
                  <a:pt x="6068" y="3444"/>
                </a:lnTo>
                <a:lnTo>
                  <a:pt x="6058" y="3448"/>
                </a:lnTo>
                <a:lnTo>
                  <a:pt x="6054" y="3448"/>
                </a:lnTo>
                <a:lnTo>
                  <a:pt x="6052" y="3448"/>
                </a:lnTo>
                <a:lnTo>
                  <a:pt x="6052" y="3446"/>
                </a:lnTo>
                <a:lnTo>
                  <a:pt x="6053" y="3443"/>
                </a:lnTo>
                <a:lnTo>
                  <a:pt x="6056" y="3434"/>
                </a:lnTo>
                <a:lnTo>
                  <a:pt x="6058" y="3427"/>
                </a:lnTo>
                <a:lnTo>
                  <a:pt x="6057" y="3423"/>
                </a:lnTo>
                <a:lnTo>
                  <a:pt x="6055" y="3417"/>
                </a:lnTo>
                <a:lnTo>
                  <a:pt x="6052" y="3413"/>
                </a:lnTo>
                <a:lnTo>
                  <a:pt x="6046" y="3408"/>
                </a:lnTo>
                <a:lnTo>
                  <a:pt x="6030" y="3393"/>
                </a:lnTo>
                <a:lnTo>
                  <a:pt x="6012" y="3376"/>
                </a:lnTo>
                <a:lnTo>
                  <a:pt x="6003" y="3368"/>
                </a:lnTo>
                <a:lnTo>
                  <a:pt x="5995" y="3362"/>
                </a:lnTo>
                <a:lnTo>
                  <a:pt x="5991" y="3360"/>
                </a:lnTo>
                <a:lnTo>
                  <a:pt x="5987" y="3359"/>
                </a:lnTo>
                <a:lnTo>
                  <a:pt x="5984" y="3359"/>
                </a:lnTo>
                <a:lnTo>
                  <a:pt x="5981" y="3360"/>
                </a:lnTo>
                <a:lnTo>
                  <a:pt x="5976" y="3362"/>
                </a:lnTo>
                <a:lnTo>
                  <a:pt x="5969" y="3362"/>
                </a:lnTo>
                <a:lnTo>
                  <a:pt x="5963" y="3361"/>
                </a:lnTo>
                <a:lnTo>
                  <a:pt x="5957" y="3360"/>
                </a:lnTo>
                <a:lnTo>
                  <a:pt x="5953" y="3360"/>
                </a:lnTo>
                <a:lnTo>
                  <a:pt x="5950" y="3360"/>
                </a:lnTo>
                <a:lnTo>
                  <a:pt x="5948" y="3361"/>
                </a:lnTo>
                <a:lnTo>
                  <a:pt x="5947" y="3363"/>
                </a:lnTo>
                <a:lnTo>
                  <a:pt x="5947" y="3365"/>
                </a:lnTo>
                <a:lnTo>
                  <a:pt x="5948" y="3368"/>
                </a:lnTo>
                <a:lnTo>
                  <a:pt x="5950" y="3373"/>
                </a:lnTo>
                <a:lnTo>
                  <a:pt x="5948" y="3376"/>
                </a:lnTo>
                <a:lnTo>
                  <a:pt x="5946" y="3377"/>
                </a:lnTo>
                <a:lnTo>
                  <a:pt x="5944" y="3378"/>
                </a:lnTo>
                <a:lnTo>
                  <a:pt x="5942" y="3378"/>
                </a:lnTo>
                <a:lnTo>
                  <a:pt x="5941" y="3380"/>
                </a:lnTo>
                <a:lnTo>
                  <a:pt x="5942" y="3384"/>
                </a:lnTo>
                <a:lnTo>
                  <a:pt x="5946" y="3390"/>
                </a:lnTo>
                <a:lnTo>
                  <a:pt x="5953" y="3398"/>
                </a:lnTo>
                <a:lnTo>
                  <a:pt x="5958" y="3402"/>
                </a:lnTo>
                <a:lnTo>
                  <a:pt x="5964" y="3405"/>
                </a:lnTo>
                <a:lnTo>
                  <a:pt x="5968" y="3406"/>
                </a:lnTo>
                <a:lnTo>
                  <a:pt x="5973" y="3408"/>
                </a:lnTo>
                <a:lnTo>
                  <a:pt x="5975" y="3409"/>
                </a:lnTo>
                <a:lnTo>
                  <a:pt x="5975" y="3412"/>
                </a:lnTo>
                <a:lnTo>
                  <a:pt x="5973" y="3417"/>
                </a:lnTo>
                <a:lnTo>
                  <a:pt x="5963" y="3428"/>
                </a:lnTo>
                <a:lnTo>
                  <a:pt x="5955" y="3435"/>
                </a:lnTo>
                <a:lnTo>
                  <a:pt x="5952" y="3439"/>
                </a:lnTo>
                <a:lnTo>
                  <a:pt x="5951" y="3444"/>
                </a:lnTo>
                <a:lnTo>
                  <a:pt x="5952" y="3448"/>
                </a:lnTo>
                <a:lnTo>
                  <a:pt x="5955" y="3454"/>
                </a:lnTo>
                <a:lnTo>
                  <a:pt x="5963" y="3466"/>
                </a:lnTo>
                <a:lnTo>
                  <a:pt x="5970" y="3477"/>
                </a:lnTo>
                <a:lnTo>
                  <a:pt x="5979" y="3488"/>
                </a:lnTo>
                <a:lnTo>
                  <a:pt x="5992" y="3499"/>
                </a:lnTo>
                <a:lnTo>
                  <a:pt x="6010" y="3511"/>
                </a:lnTo>
                <a:lnTo>
                  <a:pt x="6026" y="3520"/>
                </a:lnTo>
                <a:lnTo>
                  <a:pt x="6033" y="3525"/>
                </a:lnTo>
                <a:lnTo>
                  <a:pt x="6039" y="3532"/>
                </a:lnTo>
                <a:lnTo>
                  <a:pt x="6041" y="3535"/>
                </a:lnTo>
                <a:lnTo>
                  <a:pt x="6042" y="3539"/>
                </a:lnTo>
                <a:lnTo>
                  <a:pt x="6042" y="3543"/>
                </a:lnTo>
                <a:lnTo>
                  <a:pt x="6042" y="3548"/>
                </a:lnTo>
                <a:lnTo>
                  <a:pt x="6041" y="3569"/>
                </a:lnTo>
                <a:lnTo>
                  <a:pt x="6042" y="3588"/>
                </a:lnTo>
                <a:lnTo>
                  <a:pt x="6044" y="3603"/>
                </a:lnTo>
                <a:lnTo>
                  <a:pt x="6045" y="3608"/>
                </a:lnTo>
                <a:lnTo>
                  <a:pt x="6039" y="3604"/>
                </a:lnTo>
                <a:lnTo>
                  <a:pt x="6024" y="3599"/>
                </a:lnTo>
                <a:lnTo>
                  <a:pt x="6018" y="3597"/>
                </a:lnTo>
                <a:lnTo>
                  <a:pt x="6012" y="3597"/>
                </a:lnTo>
                <a:lnTo>
                  <a:pt x="6010" y="3598"/>
                </a:lnTo>
                <a:lnTo>
                  <a:pt x="6009" y="3600"/>
                </a:lnTo>
                <a:lnTo>
                  <a:pt x="6009" y="3603"/>
                </a:lnTo>
                <a:lnTo>
                  <a:pt x="6010" y="3607"/>
                </a:lnTo>
                <a:lnTo>
                  <a:pt x="6013" y="3615"/>
                </a:lnTo>
                <a:lnTo>
                  <a:pt x="6018" y="3623"/>
                </a:lnTo>
                <a:lnTo>
                  <a:pt x="6023" y="3628"/>
                </a:lnTo>
                <a:lnTo>
                  <a:pt x="6028" y="3633"/>
                </a:lnTo>
                <a:lnTo>
                  <a:pt x="6036" y="3641"/>
                </a:lnTo>
                <a:lnTo>
                  <a:pt x="6043" y="3646"/>
                </a:lnTo>
                <a:lnTo>
                  <a:pt x="6049" y="3653"/>
                </a:lnTo>
                <a:lnTo>
                  <a:pt x="6060" y="3663"/>
                </a:lnTo>
                <a:lnTo>
                  <a:pt x="6070" y="3673"/>
                </a:lnTo>
                <a:lnTo>
                  <a:pt x="6079" y="3683"/>
                </a:lnTo>
                <a:lnTo>
                  <a:pt x="6082" y="3685"/>
                </a:lnTo>
                <a:lnTo>
                  <a:pt x="6085" y="3686"/>
                </a:lnTo>
                <a:lnTo>
                  <a:pt x="6087" y="3687"/>
                </a:lnTo>
                <a:lnTo>
                  <a:pt x="6090" y="3687"/>
                </a:lnTo>
                <a:lnTo>
                  <a:pt x="6096" y="3687"/>
                </a:lnTo>
                <a:lnTo>
                  <a:pt x="6103" y="3686"/>
                </a:lnTo>
                <a:lnTo>
                  <a:pt x="6109" y="3685"/>
                </a:lnTo>
                <a:lnTo>
                  <a:pt x="6115" y="3685"/>
                </a:lnTo>
                <a:lnTo>
                  <a:pt x="6117" y="3685"/>
                </a:lnTo>
                <a:lnTo>
                  <a:pt x="6119" y="3685"/>
                </a:lnTo>
                <a:lnTo>
                  <a:pt x="6122" y="3686"/>
                </a:lnTo>
                <a:lnTo>
                  <a:pt x="6123" y="3688"/>
                </a:lnTo>
                <a:lnTo>
                  <a:pt x="6134" y="3698"/>
                </a:lnTo>
                <a:lnTo>
                  <a:pt x="6148" y="3709"/>
                </a:lnTo>
                <a:lnTo>
                  <a:pt x="6154" y="3715"/>
                </a:lnTo>
                <a:lnTo>
                  <a:pt x="6158" y="3720"/>
                </a:lnTo>
                <a:lnTo>
                  <a:pt x="6159" y="3722"/>
                </a:lnTo>
                <a:lnTo>
                  <a:pt x="6160" y="3724"/>
                </a:lnTo>
                <a:lnTo>
                  <a:pt x="6160" y="3727"/>
                </a:lnTo>
                <a:lnTo>
                  <a:pt x="6160" y="3728"/>
                </a:lnTo>
                <a:lnTo>
                  <a:pt x="6157" y="3730"/>
                </a:lnTo>
                <a:lnTo>
                  <a:pt x="6154" y="3731"/>
                </a:lnTo>
                <a:lnTo>
                  <a:pt x="6150" y="3731"/>
                </a:lnTo>
                <a:lnTo>
                  <a:pt x="6145" y="3729"/>
                </a:lnTo>
                <a:lnTo>
                  <a:pt x="6136" y="3723"/>
                </a:lnTo>
                <a:lnTo>
                  <a:pt x="6125" y="3718"/>
                </a:lnTo>
                <a:lnTo>
                  <a:pt x="6118" y="3715"/>
                </a:lnTo>
                <a:lnTo>
                  <a:pt x="6111" y="3712"/>
                </a:lnTo>
                <a:lnTo>
                  <a:pt x="6104" y="3711"/>
                </a:lnTo>
                <a:lnTo>
                  <a:pt x="6096" y="3710"/>
                </a:lnTo>
                <a:lnTo>
                  <a:pt x="6090" y="3711"/>
                </a:lnTo>
                <a:lnTo>
                  <a:pt x="6086" y="3713"/>
                </a:lnTo>
                <a:lnTo>
                  <a:pt x="6084" y="3714"/>
                </a:lnTo>
                <a:lnTo>
                  <a:pt x="6084" y="3717"/>
                </a:lnTo>
                <a:lnTo>
                  <a:pt x="6084" y="3719"/>
                </a:lnTo>
                <a:lnTo>
                  <a:pt x="6084" y="3722"/>
                </a:lnTo>
                <a:lnTo>
                  <a:pt x="6087" y="3730"/>
                </a:lnTo>
                <a:lnTo>
                  <a:pt x="6092" y="3737"/>
                </a:lnTo>
                <a:lnTo>
                  <a:pt x="6097" y="3743"/>
                </a:lnTo>
                <a:lnTo>
                  <a:pt x="6104" y="3750"/>
                </a:lnTo>
                <a:lnTo>
                  <a:pt x="6116" y="3760"/>
                </a:lnTo>
                <a:lnTo>
                  <a:pt x="6127" y="3767"/>
                </a:lnTo>
                <a:lnTo>
                  <a:pt x="6132" y="3769"/>
                </a:lnTo>
                <a:lnTo>
                  <a:pt x="6137" y="3771"/>
                </a:lnTo>
                <a:lnTo>
                  <a:pt x="6143" y="3772"/>
                </a:lnTo>
                <a:lnTo>
                  <a:pt x="6150" y="3772"/>
                </a:lnTo>
                <a:lnTo>
                  <a:pt x="6166" y="3772"/>
                </a:lnTo>
                <a:lnTo>
                  <a:pt x="6185" y="3773"/>
                </a:lnTo>
                <a:lnTo>
                  <a:pt x="6209" y="3777"/>
                </a:lnTo>
                <a:lnTo>
                  <a:pt x="6238" y="3783"/>
                </a:lnTo>
                <a:lnTo>
                  <a:pt x="6264" y="3789"/>
                </a:lnTo>
                <a:lnTo>
                  <a:pt x="6286" y="3795"/>
                </a:lnTo>
                <a:lnTo>
                  <a:pt x="6298" y="3798"/>
                </a:lnTo>
                <a:lnTo>
                  <a:pt x="6316" y="3803"/>
                </a:lnTo>
                <a:lnTo>
                  <a:pt x="6337" y="3808"/>
                </a:lnTo>
                <a:lnTo>
                  <a:pt x="6362" y="3813"/>
                </a:lnTo>
                <a:lnTo>
                  <a:pt x="6387" y="3818"/>
                </a:lnTo>
                <a:lnTo>
                  <a:pt x="6413" y="3821"/>
                </a:lnTo>
                <a:lnTo>
                  <a:pt x="6424" y="3822"/>
                </a:lnTo>
                <a:lnTo>
                  <a:pt x="6436" y="3822"/>
                </a:lnTo>
                <a:lnTo>
                  <a:pt x="6446" y="3821"/>
                </a:lnTo>
                <a:lnTo>
                  <a:pt x="6456" y="3819"/>
                </a:lnTo>
                <a:lnTo>
                  <a:pt x="6484" y="3812"/>
                </a:lnTo>
                <a:lnTo>
                  <a:pt x="6505" y="3807"/>
                </a:lnTo>
                <a:lnTo>
                  <a:pt x="6512" y="3806"/>
                </a:lnTo>
                <a:lnTo>
                  <a:pt x="6518" y="3806"/>
                </a:lnTo>
                <a:lnTo>
                  <a:pt x="6524" y="3807"/>
                </a:lnTo>
                <a:lnTo>
                  <a:pt x="6529" y="3809"/>
                </a:lnTo>
                <a:lnTo>
                  <a:pt x="6532" y="3809"/>
                </a:lnTo>
                <a:lnTo>
                  <a:pt x="6535" y="3809"/>
                </a:lnTo>
                <a:lnTo>
                  <a:pt x="6539" y="3809"/>
                </a:lnTo>
                <a:lnTo>
                  <a:pt x="6544" y="3808"/>
                </a:lnTo>
                <a:lnTo>
                  <a:pt x="6553" y="3804"/>
                </a:lnTo>
                <a:lnTo>
                  <a:pt x="6564" y="3800"/>
                </a:lnTo>
                <a:lnTo>
                  <a:pt x="6573" y="3796"/>
                </a:lnTo>
                <a:lnTo>
                  <a:pt x="6582" y="3793"/>
                </a:lnTo>
                <a:lnTo>
                  <a:pt x="6586" y="3791"/>
                </a:lnTo>
                <a:lnTo>
                  <a:pt x="6589" y="3790"/>
                </a:lnTo>
                <a:lnTo>
                  <a:pt x="6591" y="3790"/>
                </a:lnTo>
                <a:lnTo>
                  <a:pt x="6593" y="3791"/>
                </a:lnTo>
                <a:lnTo>
                  <a:pt x="6595" y="3793"/>
                </a:lnTo>
                <a:lnTo>
                  <a:pt x="6598" y="3793"/>
                </a:lnTo>
                <a:lnTo>
                  <a:pt x="6602" y="3793"/>
                </a:lnTo>
                <a:lnTo>
                  <a:pt x="6609" y="3793"/>
                </a:lnTo>
                <a:lnTo>
                  <a:pt x="6621" y="3790"/>
                </a:lnTo>
                <a:lnTo>
                  <a:pt x="6636" y="3788"/>
                </a:lnTo>
                <a:lnTo>
                  <a:pt x="6648" y="3787"/>
                </a:lnTo>
                <a:lnTo>
                  <a:pt x="6659" y="3787"/>
                </a:lnTo>
                <a:lnTo>
                  <a:pt x="6663" y="3787"/>
                </a:lnTo>
                <a:lnTo>
                  <a:pt x="6665" y="3788"/>
                </a:lnTo>
                <a:lnTo>
                  <a:pt x="6666" y="3790"/>
                </a:lnTo>
                <a:lnTo>
                  <a:pt x="6664" y="3794"/>
                </a:lnTo>
                <a:lnTo>
                  <a:pt x="6660" y="3800"/>
                </a:lnTo>
                <a:lnTo>
                  <a:pt x="6656" y="3804"/>
                </a:lnTo>
                <a:lnTo>
                  <a:pt x="6652" y="3807"/>
                </a:lnTo>
                <a:lnTo>
                  <a:pt x="6647" y="3810"/>
                </a:lnTo>
                <a:lnTo>
                  <a:pt x="6643" y="3811"/>
                </a:lnTo>
                <a:lnTo>
                  <a:pt x="6639" y="3812"/>
                </a:lnTo>
                <a:lnTo>
                  <a:pt x="6633" y="3812"/>
                </a:lnTo>
                <a:lnTo>
                  <a:pt x="6626" y="3813"/>
                </a:lnTo>
                <a:lnTo>
                  <a:pt x="6612" y="3811"/>
                </a:lnTo>
                <a:lnTo>
                  <a:pt x="6596" y="3810"/>
                </a:lnTo>
                <a:lnTo>
                  <a:pt x="6588" y="3810"/>
                </a:lnTo>
                <a:lnTo>
                  <a:pt x="6579" y="3811"/>
                </a:lnTo>
                <a:lnTo>
                  <a:pt x="6570" y="3815"/>
                </a:lnTo>
                <a:lnTo>
                  <a:pt x="6560" y="3819"/>
                </a:lnTo>
                <a:lnTo>
                  <a:pt x="6537" y="3832"/>
                </a:lnTo>
                <a:lnTo>
                  <a:pt x="6510" y="3846"/>
                </a:lnTo>
                <a:lnTo>
                  <a:pt x="6498" y="3852"/>
                </a:lnTo>
                <a:lnTo>
                  <a:pt x="6487" y="3856"/>
                </a:lnTo>
                <a:lnTo>
                  <a:pt x="6479" y="3859"/>
                </a:lnTo>
                <a:lnTo>
                  <a:pt x="6474" y="3859"/>
                </a:lnTo>
                <a:lnTo>
                  <a:pt x="6465" y="3851"/>
                </a:lnTo>
                <a:lnTo>
                  <a:pt x="6446" y="3840"/>
                </a:lnTo>
                <a:lnTo>
                  <a:pt x="6436" y="3834"/>
                </a:lnTo>
                <a:lnTo>
                  <a:pt x="6425" y="3831"/>
                </a:lnTo>
                <a:lnTo>
                  <a:pt x="6420" y="3830"/>
                </a:lnTo>
                <a:lnTo>
                  <a:pt x="6415" y="3830"/>
                </a:lnTo>
                <a:lnTo>
                  <a:pt x="6411" y="3831"/>
                </a:lnTo>
                <a:lnTo>
                  <a:pt x="6406" y="3833"/>
                </a:lnTo>
                <a:lnTo>
                  <a:pt x="6397" y="3838"/>
                </a:lnTo>
                <a:lnTo>
                  <a:pt x="6387" y="3840"/>
                </a:lnTo>
                <a:lnTo>
                  <a:pt x="6377" y="3841"/>
                </a:lnTo>
                <a:lnTo>
                  <a:pt x="6365" y="3841"/>
                </a:lnTo>
                <a:lnTo>
                  <a:pt x="6346" y="3839"/>
                </a:lnTo>
                <a:lnTo>
                  <a:pt x="6331" y="3835"/>
                </a:lnTo>
                <a:lnTo>
                  <a:pt x="6311" y="3831"/>
                </a:lnTo>
                <a:lnTo>
                  <a:pt x="6279" y="3825"/>
                </a:lnTo>
                <a:lnTo>
                  <a:pt x="6260" y="3822"/>
                </a:lnTo>
                <a:lnTo>
                  <a:pt x="6242" y="3819"/>
                </a:lnTo>
                <a:lnTo>
                  <a:pt x="6225" y="3818"/>
                </a:lnTo>
                <a:lnTo>
                  <a:pt x="6211" y="3818"/>
                </a:lnTo>
                <a:lnTo>
                  <a:pt x="6198" y="3817"/>
                </a:lnTo>
                <a:lnTo>
                  <a:pt x="6184" y="3815"/>
                </a:lnTo>
                <a:lnTo>
                  <a:pt x="6171" y="3812"/>
                </a:lnTo>
                <a:lnTo>
                  <a:pt x="6158" y="3809"/>
                </a:lnTo>
                <a:lnTo>
                  <a:pt x="6135" y="3803"/>
                </a:lnTo>
                <a:lnTo>
                  <a:pt x="6120" y="3799"/>
                </a:lnTo>
                <a:lnTo>
                  <a:pt x="6107" y="3794"/>
                </a:lnTo>
                <a:lnTo>
                  <a:pt x="6088" y="3784"/>
                </a:lnTo>
                <a:lnTo>
                  <a:pt x="6071" y="3776"/>
                </a:lnTo>
                <a:lnTo>
                  <a:pt x="6064" y="3772"/>
                </a:lnTo>
                <a:lnTo>
                  <a:pt x="6053" y="3761"/>
                </a:lnTo>
                <a:lnTo>
                  <a:pt x="6029" y="3735"/>
                </a:lnTo>
                <a:lnTo>
                  <a:pt x="6002" y="3707"/>
                </a:lnTo>
                <a:lnTo>
                  <a:pt x="5983" y="3686"/>
                </a:lnTo>
                <a:lnTo>
                  <a:pt x="5967" y="3666"/>
                </a:lnTo>
                <a:lnTo>
                  <a:pt x="5946" y="3641"/>
                </a:lnTo>
                <a:lnTo>
                  <a:pt x="5938" y="3629"/>
                </a:lnTo>
                <a:lnTo>
                  <a:pt x="5931" y="3623"/>
                </a:lnTo>
                <a:lnTo>
                  <a:pt x="5929" y="3621"/>
                </a:lnTo>
                <a:lnTo>
                  <a:pt x="5926" y="3622"/>
                </a:lnTo>
                <a:lnTo>
                  <a:pt x="5926" y="3624"/>
                </a:lnTo>
                <a:lnTo>
                  <a:pt x="5926" y="3627"/>
                </a:lnTo>
                <a:lnTo>
                  <a:pt x="5931" y="3639"/>
                </a:lnTo>
                <a:lnTo>
                  <a:pt x="5937" y="3649"/>
                </a:lnTo>
                <a:lnTo>
                  <a:pt x="5944" y="3661"/>
                </a:lnTo>
                <a:lnTo>
                  <a:pt x="5951" y="3669"/>
                </a:lnTo>
                <a:lnTo>
                  <a:pt x="5955" y="3676"/>
                </a:lnTo>
                <a:lnTo>
                  <a:pt x="5958" y="3680"/>
                </a:lnTo>
                <a:lnTo>
                  <a:pt x="5956" y="3681"/>
                </a:lnTo>
                <a:lnTo>
                  <a:pt x="5950" y="3676"/>
                </a:lnTo>
                <a:lnTo>
                  <a:pt x="5930" y="3662"/>
                </a:lnTo>
                <a:lnTo>
                  <a:pt x="5912" y="3647"/>
                </a:lnTo>
                <a:lnTo>
                  <a:pt x="5904" y="3640"/>
                </a:lnTo>
                <a:lnTo>
                  <a:pt x="5899" y="3631"/>
                </a:lnTo>
                <a:lnTo>
                  <a:pt x="5897" y="3628"/>
                </a:lnTo>
                <a:lnTo>
                  <a:pt x="5896" y="3625"/>
                </a:lnTo>
                <a:lnTo>
                  <a:pt x="5896" y="3622"/>
                </a:lnTo>
                <a:lnTo>
                  <a:pt x="5897" y="3619"/>
                </a:lnTo>
                <a:lnTo>
                  <a:pt x="5902" y="3606"/>
                </a:lnTo>
                <a:lnTo>
                  <a:pt x="5904" y="3593"/>
                </a:lnTo>
                <a:lnTo>
                  <a:pt x="5904" y="3588"/>
                </a:lnTo>
                <a:lnTo>
                  <a:pt x="5903" y="3584"/>
                </a:lnTo>
                <a:lnTo>
                  <a:pt x="5901" y="3580"/>
                </a:lnTo>
                <a:lnTo>
                  <a:pt x="5897" y="3577"/>
                </a:lnTo>
                <a:lnTo>
                  <a:pt x="5887" y="3575"/>
                </a:lnTo>
                <a:lnTo>
                  <a:pt x="5876" y="3574"/>
                </a:lnTo>
                <a:lnTo>
                  <a:pt x="5871" y="3573"/>
                </a:lnTo>
                <a:lnTo>
                  <a:pt x="5867" y="3570"/>
                </a:lnTo>
                <a:lnTo>
                  <a:pt x="5865" y="3567"/>
                </a:lnTo>
                <a:lnTo>
                  <a:pt x="5864" y="3563"/>
                </a:lnTo>
                <a:lnTo>
                  <a:pt x="5864" y="3551"/>
                </a:lnTo>
                <a:lnTo>
                  <a:pt x="5863" y="3538"/>
                </a:lnTo>
                <a:lnTo>
                  <a:pt x="5862" y="3533"/>
                </a:lnTo>
                <a:lnTo>
                  <a:pt x="5859" y="3526"/>
                </a:lnTo>
                <a:lnTo>
                  <a:pt x="5857" y="3522"/>
                </a:lnTo>
                <a:lnTo>
                  <a:pt x="5853" y="3518"/>
                </a:lnTo>
                <a:lnTo>
                  <a:pt x="5846" y="3511"/>
                </a:lnTo>
                <a:lnTo>
                  <a:pt x="5843" y="3505"/>
                </a:lnTo>
                <a:lnTo>
                  <a:pt x="5843" y="3503"/>
                </a:lnTo>
                <a:lnTo>
                  <a:pt x="5844" y="3501"/>
                </a:lnTo>
                <a:lnTo>
                  <a:pt x="5845" y="3500"/>
                </a:lnTo>
                <a:lnTo>
                  <a:pt x="5847" y="3500"/>
                </a:lnTo>
                <a:lnTo>
                  <a:pt x="5859" y="3502"/>
                </a:lnTo>
                <a:lnTo>
                  <a:pt x="5879" y="3509"/>
                </a:lnTo>
                <a:lnTo>
                  <a:pt x="5898" y="3515"/>
                </a:lnTo>
                <a:lnTo>
                  <a:pt x="5910" y="3520"/>
                </a:lnTo>
                <a:lnTo>
                  <a:pt x="5918" y="3527"/>
                </a:lnTo>
                <a:lnTo>
                  <a:pt x="5932" y="3540"/>
                </a:lnTo>
                <a:lnTo>
                  <a:pt x="5947" y="3554"/>
                </a:lnTo>
                <a:lnTo>
                  <a:pt x="5962" y="3564"/>
                </a:lnTo>
                <a:lnTo>
                  <a:pt x="5974" y="3573"/>
                </a:lnTo>
                <a:lnTo>
                  <a:pt x="5983" y="3581"/>
                </a:lnTo>
                <a:lnTo>
                  <a:pt x="5986" y="3583"/>
                </a:lnTo>
                <a:lnTo>
                  <a:pt x="5988" y="3583"/>
                </a:lnTo>
                <a:lnTo>
                  <a:pt x="5989" y="3580"/>
                </a:lnTo>
                <a:lnTo>
                  <a:pt x="5987" y="3575"/>
                </a:lnTo>
                <a:lnTo>
                  <a:pt x="5984" y="3567"/>
                </a:lnTo>
                <a:lnTo>
                  <a:pt x="5981" y="3561"/>
                </a:lnTo>
                <a:lnTo>
                  <a:pt x="5977" y="3556"/>
                </a:lnTo>
                <a:lnTo>
                  <a:pt x="5973" y="3551"/>
                </a:lnTo>
                <a:lnTo>
                  <a:pt x="5968" y="3544"/>
                </a:lnTo>
                <a:lnTo>
                  <a:pt x="5963" y="3538"/>
                </a:lnTo>
                <a:lnTo>
                  <a:pt x="5958" y="3530"/>
                </a:lnTo>
                <a:lnTo>
                  <a:pt x="5953" y="3519"/>
                </a:lnTo>
                <a:lnTo>
                  <a:pt x="5940" y="3494"/>
                </a:lnTo>
                <a:lnTo>
                  <a:pt x="5926" y="3470"/>
                </a:lnTo>
                <a:lnTo>
                  <a:pt x="5916" y="3451"/>
                </a:lnTo>
                <a:lnTo>
                  <a:pt x="5912" y="3444"/>
                </a:lnTo>
                <a:lnTo>
                  <a:pt x="5909" y="3421"/>
                </a:lnTo>
                <a:lnTo>
                  <a:pt x="5911" y="3416"/>
                </a:lnTo>
                <a:lnTo>
                  <a:pt x="5915" y="3406"/>
                </a:lnTo>
                <a:lnTo>
                  <a:pt x="5917" y="3401"/>
                </a:lnTo>
                <a:lnTo>
                  <a:pt x="5917" y="3395"/>
                </a:lnTo>
                <a:lnTo>
                  <a:pt x="5917" y="3393"/>
                </a:lnTo>
                <a:lnTo>
                  <a:pt x="5916" y="3391"/>
                </a:lnTo>
                <a:lnTo>
                  <a:pt x="5914" y="3390"/>
                </a:lnTo>
                <a:lnTo>
                  <a:pt x="5912" y="3389"/>
                </a:lnTo>
                <a:lnTo>
                  <a:pt x="5909" y="3388"/>
                </a:lnTo>
                <a:lnTo>
                  <a:pt x="5908" y="3387"/>
                </a:lnTo>
                <a:lnTo>
                  <a:pt x="5906" y="3385"/>
                </a:lnTo>
                <a:lnTo>
                  <a:pt x="5904" y="3383"/>
                </a:lnTo>
                <a:lnTo>
                  <a:pt x="5904" y="3378"/>
                </a:lnTo>
                <a:lnTo>
                  <a:pt x="5904" y="3372"/>
                </a:lnTo>
                <a:lnTo>
                  <a:pt x="5907" y="3366"/>
                </a:lnTo>
                <a:lnTo>
                  <a:pt x="5909" y="3361"/>
                </a:lnTo>
                <a:lnTo>
                  <a:pt x="5911" y="3357"/>
                </a:lnTo>
                <a:lnTo>
                  <a:pt x="5914" y="3355"/>
                </a:lnTo>
                <a:lnTo>
                  <a:pt x="5915" y="3354"/>
                </a:lnTo>
                <a:lnTo>
                  <a:pt x="5915" y="3352"/>
                </a:lnTo>
                <a:lnTo>
                  <a:pt x="5916" y="3349"/>
                </a:lnTo>
                <a:lnTo>
                  <a:pt x="5915" y="3347"/>
                </a:lnTo>
                <a:lnTo>
                  <a:pt x="5914" y="3340"/>
                </a:lnTo>
                <a:lnTo>
                  <a:pt x="5912" y="3333"/>
                </a:lnTo>
                <a:lnTo>
                  <a:pt x="5907" y="3317"/>
                </a:lnTo>
                <a:lnTo>
                  <a:pt x="5901" y="3305"/>
                </a:lnTo>
                <a:lnTo>
                  <a:pt x="5901" y="3300"/>
                </a:lnTo>
                <a:lnTo>
                  <a:pt x="5902" y="3292"/>
                </a:lnTo>
                <a:lnTo>
                  <a:pt x="5906" y="3281"/>
                </a:lnTo>
                <a:lnTo>
                  <a:pt x="5908" y="3272"/>
                </a:lnTo>
                <a:lnTo>
                  <a:pt x="5909" y="3263"/>
                </a:lnTo>
                <a:lnTo>
                  <a:pt x="5909" y="3258"/>
                </a:lnTo>
                <a:lnTo>
                  <a:pt x="5907" y="3257"/>
                </a:lnTo>
                <a:lnTo>
                  <a:pt x="5904" y="3258"/>
                </a:lnTo>
                <a:lnTo>
                  <a:pt x="5901" y="3260"/>
                </a:lnTo>
                <a:lnTo>
                  <a:pt x="5896" y="3263"/>
                </a:lnTo>
                <a:lnTo>
                  <a:pt x="5877" y="3281"/>
                </a:lnTo>
                <a:lnTo>
                  <a:pt x="5862" y="3297"/>
                </a:lnTo>
                <a:lnTo>
                  <a:pt x="5858" y="3300"/>
                </a:lnTo>
                <a:lnTo>
                  <a:pt x="5855" y="3302"/>
                </a:lnTo>
                <a:lnTo>
                  <a:pt x="5852" y="3303"/>
                </a:lnTo>
                <a:lnTo>
                  <a:pt x="5849" y="3303"/>
                </a:lnTo>
                <a:lnTo>
                  <a:pt x="5846" y="3303"/>
                </a:lnTo>
                <a:lnTo>
                  <a:pt x="5844" y="3301"/>
                </a:lnTo>
                <a:lnTo>
                  <a:pt x="5841" y="3299"/>
                </a:lnTo>
                <a:lnTo>
                  <a:pt x="5837" y="3295"/>
                </a:lnTo>
                <a:lnTo>
                  <a:pt x="5835" y="3291"/>
                </a:lnTo>
                <a:lnTo>
                  <a:pt x="5834" y="3285"/>
                </a:lnTo>
                <a:lnTo>
                  <a:pt x="5834" y="3281"/>
                </a:lnTo>
                <a:lnTo>
                  <a:pt x="5834" y="3276"/>
                </a:lnTo>
                <a:lnTo>
                  <a:pt x="5836" y="3266"/>
                </a:lnTo>
                <a:lnTo>
                  <a:pt x="5840" y="3255"/>
                </a:lnTo>
                <a:lnTo>
                  <a:pt x="5842" y="3246"/>
                </a:lnTo>
                <a:lnTo>
                  <a:pt x="5844" y="3237"/>
                </a:lnTo>
                <a:lnTo>
                  <a:pt x="5844" y="3234"/>
                </a:lnTo>
                <a:lnTo>
                  <a:pt x="5843" y="3231"/>
                </a:lnTo>
                <a:lnTo>
                  <a:pt x="5842" y="3228"/>
                </a:lnTo>
                <a:lnTo>
                  <a:pt x="5838" y="3227"/>
                </a:lnTo>
                <a:lnTo>
                  <a:pt x="5825" y="3218"/>
                </a:lnTo>
                <a:lnTo>
                  <a:pt x="5809" y="3209"/>
                </a:lnTo>
                <a:lnTo>
                  <a:pt x="5803" y="3204"/>
                </a:lnTo>
                <a:lnTo>
                  <a:pt x="5798" y="3198"/>
                </a:lnTo>
                <a:lnTo>
                  <a:pt x="5793" y="3193"/>
                </a:lnTo>
                <a:lnTo>
                  <a:pt x="5792" y="3189"/>
                </a:lnTo>
                <a:lnTo>
                  <a:pt x="5791" y="3178"/>
                </a:lnTo>
                <a:lnTo>
                  <a:pt x="5789" y="3160"/>
                </a:lnTo>
                <a:lnTo>
                  <a:pt x="5787" y="3151"/>
                </a:lnTo>
                <a:lnTo>
                  <a:pt x="5785" y="3145"/>
                </a:lnTo>
                <a:lnTo>
                  <a:pt x="5783" y="3142"/>
                </a:lnTo>
                <a:lnTo>
                  <a:pt x="5782" y="3140"/>
                </a:lnTo>
                <a:lnTo>
                  <a:pt x="5780" y="3139"/>
                </a:lnTo>
                <a:lnTo>
                  <a:pt x="5779" y="3139"/>
                </a:lnTo>
                <a:lnTo>
                  <a:pt x="5763" y="3139"/>
                </a:lnTo>
                <a:lnTo>
                  <a:pt x="5740" y="3139"/>
                </a:lnTo>
                <a:lnTo>
                  <a:pt x="5728" y="3140"/>
                </a:lnTo>
                <a:lnTo>
                  <a:pt x="5718" y="3141"/>
                </a:lnTo>
                <a:lnTo>
                  <a:pt x="5710" y="3142"/>
                </a:lnTo>
                <a:lnTo>
                  <a:pt x="5705" y="3143"/>
                </a:lnTo>
                <a:lnTo>
                  <a:pt x="5692" y="3154"/>
                </a:lnTo>
                <a:lnTo>
                  <a:pt x="5668" y="3174"/>
                </a:lnTo>
                <a:lnTo>
                  <a:pt x="5641" y="3197"/>
                </a:lnTo>
                <a:lnTo>
                  <a:pt x="5624" y="3215"/>
                </a:lnTo>
                <a:lnTo>
                  <a:pt x="5606" y="3234"/>
                </a:lnTo>
                <a:lnTo>
                  <a:pt x="5582" y="3258"/>
                </a:lnTo>
                <a:lnTo>
                  <a:pt x="5560" y="3281"/>
                </a:lnTo>
                <a:lnTo>
                  <a:pt x="5548" y="3293"/>
                </a:lnTo>
                <a:lnTo>
                  <a:pt x="5543" y="3296"/>
                </a:lnTo>
                <a:lnTo>
                  <a:pt x="5535" y="3299"/>
                </a:lnTo>
                <a:lnTo>
                  <a:pt x="5530" y="3302"/>
                </a:lnTo>
                <a:lnTo>
                  <a:pt x="5527" y="3305"/>
                </a:lnTo>
                <a:lnTo>
                  <a:pt x="5524" y="3312"/>
                </a:lnTo>
                <a:lnTo>
                  <a:pt x="5524" y="3320"/>
                </a:lnTo>
                <a:lnTo>
                  <a:pt x="5524" y="3329"/>
                </a:lnTo>
                <a:lnTo>
                  <a:pt x="5523" y="3338"/>
                </a:lnTo>
                <a:lnTo>
                  <a:pt x="5522" y="3347"/>
                </a:lnTo>
                <a:lnTo>
                  <a:pt x="5521" y="3355"/>
                </a:lnTo>
                <a:lnTo>
                  <a:pt x="5518" y="3368"/>
                </a:lnTo>
                <a:lnTo>
                  <a:pt x="5515" y="3378"/>
                </a:lnTo>
                <a:lnTo>
                  <a:pt x="5514" y="3389"/>
                </a:lnTo>
                <a:lnTo>
                  <a:pt x="5512" y="3407"/>
                </a:lnTo>
                <a:lnTo>
                  <a:pt x="5511" y="3417"/>
                </a:lnTo>
                <a:lnTo>
                  <a:pt x="5508" y="3426"/>
                </a:lnTo>
                <a:lnTo>
                  <a:pt x="5506" y="3430"/>
                </a:lnTo>
                <a:lnTo>
                  <a:pt x="5504" y="3434"/>
                </a:lnTo>
                <a:lnTo>
                  <a:pt x="5502" y="3437"/>
                </a:lnTo>
                <a:lnTo>
                  <a:pt x="5499" y="3439"/>
                </a:lnTo>
                <a:lnTo>
                  <a:pt x="5487" y="3449"/>
                </a:lnTo>
                <a:lnTo>
                  <a:pt x="5478" y="3456"/>
                </a:lnTo>
                <a:lnTo>
                  <a:pt x="5473" y="3458"/>
                </a:lnTo>
                <a:lnTo>
                  <a:pt x="5469" y="3460"/>
                </a:lnTo>
                <a:lnTo>
                  <a:pt x="5464" y="3461"/>
                </a:lnTo>
                <a:lnTo>
                  <a:pt x="5460" y="3460"/>
                </a:lnTo>
                <a:lnTo>
                  <a:pt x="5457" y="3457"/>
                </a:lnTo>
                <a:lnTo>
                  <a:pt x="5453" y="3452"/>
                </a:lnTo>
                <a:lnTo>
                  <a:pt x="5450" y="3445"/>
                </a:lnTo>
                <a:lnTo>
                  <a:pt x="5446" y="3436"/>
                </a:lnTo>
                <a:lnTo>
                  <a:pt x="5438" y="3415"/>
                </a:lnTo>
                <a:lnTo>
                  <a:pt x="5430" y="3393"/>
                </a:lnTo>
                <a:lnTo>
                  <a:pt x="5421" y="3370"/>
                </a:lnTo>
                <a:lnTo>
                  <a:pt x="5413" y="3344"/>
                </a:lnTo>
                <a:lnTo>
                  <a:pt x="5410" y="3333"/>
                </a:lnTo>
                <a:lnTo>
                  <a:pt x="5406" y="3323"/>
                </a:lnTo>
                <a:lnTo>
                  <a:pt x="5402" y="3315"/>
                </a:lnTo>
                <a:lnTo>
                  <a:pt x="5397" y="3310"/>
                </a:lnTo>
                <a:lnTo>
                  <a:pt x="5389" y="3303"/>
                </a:lnTo>
                <a:lnTo>
                  <a:pt x="5381" y="3297"/>
                </a:lnTo>
                <a:lnTo>
                  <a:pt x="5377" y="3294"/>
                </a:lnTo>
                <a:lnTo>
                  <a:pt x="5375" y="3291"/>
                </a:lnTo>
                <a:lnTo>
                  <a:pt x="5373" y="3286"/>
                </a:lnTo>
                <a:lnTo>
                  <a:pt x="5372" y="3281"/>
                </a:lnTo>
                <a:lnTo>
                  <a:pt x="5370" y="3262"/>
                </a:lnTo>
                <a:lnTo>
                  <a:pt x="5366" y="3236"/>
                </a:lnTo>
                <a:lnTo>
                  <a:pt x="5362" y="3212"/>
                </a:lnTo>
                <a:lnTo>
                  <a:pt x="5360" y="3197"/>
                </a:lnTo>
                <a:lnTo>
                  <a:pt x="5361" y="3188"/>
                </a:lnTo>
                <a:lnTo>
                  <a:pt x="5363" y="3173"/>
                </a:lnTo>
                <a:lnTo>
                  <a:pt x="5364" y="3166"/>
                </a:lnTo>
                <a:lnTo>
                  <a:pt x="5363" y="3161"/>
                </a:lnTo>
                <a:lnTo>
                  <a:pt x="5363" y="3159"/>
                </a:lnTo>
                <a:lnTo>
                  <a:pt x="5362" y="3157"/>
                </a:lnTo>
                <a:lnTo>
                  <a:pt x="5361" y="3157"/>
                </a:lnTo>
                <a:lnTo>
                  <a:pt x="5360" y="3157"/>
                </a:lnTo>
                <a:lnTo>
                  <a:pt x="5348" y="3159"/>
                </a:lnTo>
                <a:lnTo>
                  <a:pt x="5330" y="3161"/>
                </a:lnTo>
                <a:lnTo>
                  <a:pt x="5314" y="3161"/>
                </a:lnTo>
                <a:lnTo>
                  <a:pt x="5306" y="3161"/>
                </a:lnTo>
                <a:lnTo>
                  <a:pt x="5302" y="3156"/>
                </a:lnTo>
                <a:lnTo>
                  <a:pt x="5293" y="3143"/>
                </a:lnTo>
                <a:lnTo>
                  <a:pt x="5282" y="3129"/>
                </a:lnTo>
                <a:lnTo>
                  <a:pt x="5276" y="3120"/>
                </a:lnTo>
                <a:lnTo>
                  <a:pt x="5273" y="3115"/>
                </a:lnTo>
                <a:lnTo>
                  <a:pt x="5265" y="3107"/>
                </a:lnTo>
                <a:lnTo>
                  <a:pt x="5256" y="3099"/>
                </a:lnTo>
                <a:lnTo>
                  <a:pt x="5244" y="3088"/>
                </a:lnTo>
                <a:lnTo>
                  <a:pt x="5233" y="3079"/>
                </a:lnTo>
                <a:lnTo>
                  <a:pt x="5220" y="3071"/>
                </a:lnTo>
                <a:lnTo>
                  <a:pt x="5215" y="3067"/>
                </a:lnTo>
                <a:lnTo>
                  <a:pt x="5209" y="3065"/>
                </a:lnTo>
                <a:lnTo>
                  <a:pt x="5205" y="3063"/>
                </a:lnTo>
                <a:lnTo>
                  <a:pt x="5199" y="3062"/>
                </a:lnTo>
                <a:lnTo>
                  <a:pt x="5191" y="3062"/>
                </a:lnTo>
                <a:lnTo>
                  <a:pt x="5179" y="3063"/>
                </a:lnTo>
                <a:lnTo>
                  <a:pt x="5168" y="3064"/>
                </a:lnTo>
                <a:lnTo>
                  <a:pt x="5156" y="3066"/>
                </a:lnTo>
                <a:lnTo>
                  <a:pt x="5145" y="3069"/>
                </a:lnTo>
                <a:lnTo>
                  <a:pt x="5134" y="3070"/>
                </a:lnTo>
                <a:lnTo>
                  <a:pt x="5127" y="3070"/>
                </a:lnTo>
                <a:lnTo>
                  <a:pt x="5122" y="3070"/>
                </a:lnTo>
                <a:lnTo>
                  <a:pt x="5106" y="3067"/>
                </a:lnTo>
                <a:lnTo>
                  <a:pt x="5078" y="3066"/>
                </a:lnTo>
                <a:lnTo>
                  <a:pt x="5062" y="3065"/>
                </a:lnTo>
                <a:lnTo>
                  <a:pt x="5048" y="3063"/>
                </a:lnTo>
                <a:lnTo>
                  <a:pt x="5043" y="3062"/>
                </a:lnTo>
                <a:lnTo>
                  <a:pt x="5039" y="3061"/>
                </a:lnTo>
                <a:lnTo>
                  <a:pt x="5035" y="3059"/>
                </a:lnTo>
                <a:lnTo>
                  <a:pt x="5033" y="3057"/>
                </a:lnTo>
                <a:lnTo>
                  <a:pt x="5023" y="3045"/>
                </a:lnTo>
                <a:lnTo>
                  <a:pt x="5012" y="3032"/>
                </a:lnTo>
                <a:lnTo>
                  <a:pt x="5006" y="3026"/>
                </a:lnTo>
                <a:lnTo>
                  <a:pt x="5000" y="3021"/>
                </a:lnTo>
                <a:lnTo>
                  <a:pt x="4998" y="3019"/>
                </a:lnTo>
                <a:lnTo>
                  <a:pt x="4996" y="3018"/>
                </a:lnTo>
                <a:lnTo>
                  <a:pt x="4994" y="3018"/>
                </a:lnTo>
                <a:lnTo>
                  <a:pt x="4993" y="3019"/>
                </a:lnTo>
                <a:lnTo>
                  <a:pt x="4987" y="3025"/>
                </a:lnTo>
                <a:lnTo>
                  <a:pt x="4979" y="3030"/>
                </a:lnTo>
                <a:lnTo>
                  <a:pt x="4975" y="3031"/>
                </a:lnTo>
                <a:lnTo>
                  <a:pt x="4971" y="3032"/>
                </a:lnTo>
                <a:lnTo>
                  <a:pt x="4966" y="3031"/>
                </a:lnTo>
                <a:lnTo>
                  <a:pt x="4960" y="3029"/>
                </a:lnTo>
                <a:lnTo>
                  <a:pt x="4938" y="3014"/>
                </a:lnTo>
                <a:lnTo>
                  <a:pt x="4902" y="2989"/>
                </a:lnTo>
                <a:lnTo>
                  <a:pt x="4866" y="2965"/>
                </a:lnTo>
                <a:lnTo>
                  <a:pt x="4848" y="2951"/>
                </a:lnTo>
                <a:lnTo>
                  <a:pt x="4842" y="2947"/>
                </a:lnTo>
                <a:lnTo>
                  <a:pt x="4835" y="2944"/>
                </a:lnTo>
                <a:lnTo>
                  <a:pt x="4831" y="2943"/>
                </a:lnTo>
                <a:lnTo>
                  <a:pt x="4827" y="2942"/>
                </a:lnTo>
                <a:lnTo>
                  <a:pt x="4824" y="2942"/>
                </a:lnTo>
                <a:lnTo>
                  <a:pt x="4822" y="2943"/>
                </a:lnTo>
                <a:lnTo>
                  <a:pt x="4819" y="2946"/>
                </a:lnTo>
                <a:lnTo>
                  <a:pt x="4818" y="2950"/>
                </a:lnTo>
                <a:lnTo>
                  <a:pt x="4818" y="2954"/>
                </a:lnTo>
                <a:lnTo>
                  <a:pt x="4819" y="2959"/>
                </a:lnTo>
                <a:lnTo>
                  <a:pt x="4826" y="2969"/>
                </a:lnTo>
                <a:lnTo>
                  <a:pt x="4834" y="2983"/>
                </a:lnTo>
                <a:lnTo>
                  <a:pt x="4840" y="2992"/>
                </a:lnTo>
                <a:lnTo>
                  <a:pt x="4850" y="3008"/>
                </a:lnTo>
                <a:lnTo>
                  <a:pt x="4861" y="3023"/>
                </a:lnTo>
                <a:lnTo>
                  <a:pt x="4868" y="3033"/>
                </a:lnTo>
                <a:lnTo>
                  <a:pt x="4870" y="3035"/>
                </a:lnTo>
                <a:lnTo>
                  <a:pt x="4875" y="3035"/>
                </a:lnTo>
                <a:lnTo>
                  <a:pt x="4878" y="3035"/>
                </a:lnTo>
                <a:lnTo>
                  <a:pt x="4882" y="3035"/>
                </a:lnTo>
                <a:lnTo>
                  <a:pt x="4886" y="3035"/>
                </a:lnTo>
                <a:lnTo>
                  <a:pt x="4890" y="3036"/>
                </a:lnTo>
                <a:lnTo>
                  <a:pt x="4893" y="3038"/>
                </a:lnTo>
                <a:lnTo>
                  <a:pt x="4897" y="3042"/>
                </a:lnTo>
                <a:lnTo>
                  <a:pt x="4898" y="3048"/>
                </a:lnTo>
                <a:lnTo>
                  <a:pt x="4898" y="3053"/>
                </a:lnTo>
                <a:lnTo>
                  <a:pt x="4898" y="3058"/>
                </a:lnTo>
                <a:lnTo>
                  <a:pt x="4897" y="3063"/>
                </a:lnTo>
                <a:lnTo>
                  <a:pt x="4895" y="3069"/>
                </a:lnTo>
                <a:lnTo>
                  <a:pt x="4895" y="3073"/>
                </a:lnTo>
                <a:lnTo>
                  <a:pt x="4898" y="3078"/>
                </a:lnTo>
                <a:lnTo>
                  <a:pt x="4901" y="3083"/>
                </a:lnTo>
                <a:lnTo>
                  <a:pt x="4905" y="3087"/>
                </a:lnTo>
                <a:lnTo>
                  <a:pt x="4908" y="3088"/>
                </a:lnTo>
                <a:lnTo>
                  <a:pt x="4912" y="3088"/>
                </a:lnTo>
                <a:lnTo>
                  <a:pt x="4915" y="3087"/>
                </a:lnTo>
                <a:lnTo>
                  <a:pt x="4919" y="3085"/>
                </a:lnTo>
                <a:lnTo>
                  <a:pt x="4922" y="3083"/>
                </a:lnTo>
                <a:lnTo>
                  <a:pt x="4925" y="3081"/>
                </a:lnTo>
                <a:lnTo>
                  <a:pt x="4929" y="3081"/>
                </a:lnTo>
                <a:lnTo>
                  <a:pt x="4937" y="3080"/>
                </a:lnTo>
                <a:lnTo>
                  <a:pt x="4948" y="3078"/>
                </a:lnTo>
                <a:lnTo>
                  <a:pt x="4956" y="3075"/>
                </a:lnTo>
                <a:lnTo>
                  <a:pt x="4963" y="3071"/>
                </a:lnTo>
                <a:lnTo>
                  <a:pt x="4969" y="3063"/>
                </a:lnTo>
                <a:lnTo>
                  <a:pt x="4977" y="3053"/>
                </a:lnTo>
                <a:lnTo>
                  <a:pt x="4982" y="3048"/>
                </a:lnTo>
                <a:lnTo>
                  <a:pt x="4987" y="3043"/>
                </a:lnTo>
                <a:lnTo>
                  <a:pt x="4989" y="3042"/>
                </a:lnTo>
                <a:lnTo>
                  <a:pt x="4991" y="3041"/>
                </a:lnTo>
                <a:lnTo>
                  <a:pt x="4993" y="3041"/>
                </a:lnTo>
                <a:lnTo>
                  <a:pt x="4994" y="3042"/>
                </a:lnTo>
                <a:lnTo>
                  <a:pt x="4999" y="3045"/>
                </a:lnTo>
                <a:lnTo>
                  <a:pt x="5003" y="3048"/>
                </a:lnTo>
                <a:lnTo>
                  <a:pt x="5006" y="3050"/>
                </a:lnTo>
                <a:lnTo>
                  <a:pt x="5008" y="3052"/>
                </a:lnTo>
                <a:lnTo>
                  <a:pt x="5009" y="3054"/>
                </a:lnTo>
                <a:lnTo>
                  <a:pt x="5010" y="3058"/>
                </a:lnTo>
                <a:lnTo>
                  <a:pt x="5012" y="3066"/>
                </a:lnTo>
                <a:lnTo>
                  <a:pt x="5013" y="3074"/>
                </a:lnTo>
                <a:lnTo>
                  <a:pt x="5014" y="3079"/>
                </a:lnTo>
                <a:lnTo>
                  <a:pt x="5016" y="3081"/>
                </a:lnTo>
                <a:lnTo>
                  <a:pt x="5022" y="3083"/>
                </a:lnTo>
                <a:lnTo>
                  <a:pt x="5034" y="3088"/>
                </a:lnTo>
                <a:lnTo>
                  <a:pt x="5046" y="3095"/>
                </a:lnTo>
                <a:lnTo>
                  <a:pt x="5056" y="3101"/>
                </a:lnTo>
                <a:lnTo>
                  <a:pt x="5064" y="3106"/>
                </a:lnTo>
                <a:lnTo>
                  <a:pt x="5072" y="3112"/>
                </a:lnTo>
                <a:lnTo>
                  <a:pt x="5076" y="3114"/>
                </a:lnTo>
                <a:lnTo>
                  <a:pt x="5078" y="3116"/>
                </a:lnTo>
                <a:lnTo>
                  <a:pt x="5080" y="3118"/>
                </a:lnTo>
                <a:lnTo>
                  <a:pt x="5082" y="3120"/>
                </a:lnTo>
                <a:lnTo>
                  <a:pt x="5081" y="3125"/>
                </a:lnTo>
                <a:lnTo>
                  <a:pt x="5080" y="3132"/>
                </a:lnTo>
                <a:lnTo>
                  <a:pt x="5077" y="3143"/>
                </a:lnTo>
                <a:lnTo>
                  <a:pt x="5073" y="3154"/>
                </a:lnTo>
                <a:lnTo>
                  <a:pt x="5068" y="3165"/>
                </a:lnTo>
                <a:lnTo>
                  <a:pt x="5064" y="3174"/>
                </a:lnTo>
                <a:lnTo>
                  <a:pt x="5062" y="3179"/>
                </a:lnTo>
                <a:lnTo>
                  <a:pt x="5060" y="3181"/>
                </a:lnTo>
                <a:lnTo>
                  <a:pt x="5058" y="3183"/>
                </a:lnTo>
                <a:lnTo>
                  <a:pt x="5056" y="3184"/>
                </a:lnTo>
                <a:lnTo>
                  <a:pt x="5048" y="3183"/>
                </a:lnTo>
                <a:lnTo>
                  <a:pt x="5039" y="3182"/>
                </a:lnTo>
                <a:lnTo>
                  <a:pt x="5035" y="3182"/>
                </a:lnTo>
                <a:lnTo>
                  <a:pt x="5032" y="3183"/>
                </a:lnTo>
                <a:lnTo>
                  <a:pt x="5031" y="3184"/>
                </a:lnTo>
                <a:lnTo>
                  <a:pt x="5031" y="3185"/>
                </a:lnTo>
                <a:lnTo>
                  <a:pt x="5030" y="3187"/>
                </a:lnTo>
                <a:lnTo>
                  <a:pt x="5031" y="3188"/>
                </a:lnTo>
                <a:lnTo>
                  <a:pt x="5035" y="3196"/>
                </a:lnTo>
                <a:lnTo>
                  <a:pt x="5039" y="3203"/>
                </a:lnTo>
                <a:lnTo>
                  <a:pt x="5040" y="3206"/>
                </a:lnTo>
                <a:lnTo>
                  <a:pt x="5040" y="3208"/>
                </a:lnTo>
                <a:lnTo>
                  <a:pt x="5039" y="3211"/>
                </a:lnTo>
                <a:lnTo>
                  <a:pt x="5036" y="3214"/>
                </a:lnTo>
                <a:lnTo>
                  <a:pt x="5026" y="3220"/>
                </a:lnTo>
                <a:lnTo>
                  <a:pt x="5015" y="3226"/>
                </a:lnTo>
                <a:lnTo>
                  <a:pt x="5010" y="3229"/>
                </a:lnTo>
                <a:lnTo>
                  <a:pt x="5004" y="3232"/>
                </a:lnTo>
                <a:lnTo>
                  <a:pt x="4999" y="3236"/>
                </a:lnTo>
                <a:lnTo>
                  <a:pt x="4996" y="3239"/>
                </a:lnTo>
                <a:lnTo>
                  <a:pt x="4991" y="3244"/>
                </a:lnTo>
                <a:lnTo>
                  <a:pt x="4984" y="3249"/>
                </a:lnTo>
                <a:lnTo>
                  <a:pt x="4974" y="3253"/>
                </a:lnTo>
                <a:lnTo>
                  <a:pt x="4963" y="3258"/>
                </a:lnTo>
                <a:lnTo>
                  <a:pt x="4950" y="3263"/>
                </a:lnTo>
                <a:lnTo>
                  <a:pt x="4936" y="3271"/>
                </a:lnTo>
                <a:lnTo>
                  <a:pt x="4923" y="3278"/>
                </a:lnTo>
                <a:lnTo>
                  <a:pt x="4908" y="3285"/>
                </a:lnTo>
                <a:lnTo>
                  <a:pt x="4877" y="3304"/>
                </a:lnTo>
                <a:lnTo>
                  <a:pt x="4843" y="3322"/>
                </a:lnTo>
                <a:lnTo>
                  <a:pt x="4814" y="3335"/>
                </a:lnTo>
                <a:lnTo>
                  <a:pt x="4798" y="3341"/>
                </a:lnTo>
                <a:lnTo>
                  <a:pt x="4784" y="3345"/>
                </a:lnTo>
                <a:lnTo>
                  <a:pt x="4763" y="3349"/>
                </a:lnTo>
                <a:lnTo>
                  <a:pt x="4752" y="3350"/>
                </a:lnTo>
                <a:lnTo>
                  <a:pt x="4743" y="3350"/>
                </a:lnTo>
                <a:lnTo>
                  <a:pt x="4738" y="3349"/>
                </a:lnTo>
                <a:lnTo>
                  <a:pt x="4735" y="3347"/>
                </a:lnTo>
                <a:lnTo>
                  <a:pt x="4732" y="3345"/>
                </a:lnTo>
                <a:lnTo>
                  <a:pt x="4731" y="3343"/>
                </a:lnTo>
                <a:lnTo>
                  <a:pt x="4722" y="3322"/>
                </a:lnTo>
                <a:lnTo>
                  <a:pt x="4709" y="3294"/>
                </a:lnTo>
                <a:lnTo>
                  <a:pt x="4696" y="3268"/>
                </a:lnTo>
                <a:lnTo>
                  <a:pt x="4691" y="3257"/>
                </a:lnTo>
                <a:lnTo>
                  <a:pt x="4681" y="3248"/>
                </a:lnTo>
                <a:lnTo>
                  <a:pt x="4657" y="3225"/>
                </a:lnTo>
                <a:lnTo>
                  <a:pt x="4645" y="3211"/>
                </a:lnTo>
                <a:lnTo>
                  <a:pt x="4635" y="3197"/>
                </a:lnTo>
                <a:lnTo>
                  <a:pt x="4630" y="3191"/>
                </a:lnTo>
                <a:lnTo>
                  <a:pt x="4627" y="3185"/>
                </a:lnTo>
                <a:lnTo>
                  <a:pt x="4626" y="3180"/>
                </a:lnTo>
                <a:lnTo>
                  <a:pt x="4626" y="3174"/>
                </a:lnTo>
                <a:lnTo>
                  <a:pt x="4627" y="3165"/>
                </a:lnTo>
                <a:lnTo>
                  <a:pt x="4628" y="3157"/>
                </a:lnTo>
                <a:lnTo>
                  <a:pt x="4628" y="3148"/>
                </a:lnTo>
                <a:lnTo>
                  <a:pt x="4627" y="3140"/>
                </a:lnTo>
                <a:lnTo>
                  <a:pt x="4625" y="3132"/>
                </a:lnTo>
                <a:lnTo>
                  <a:pt x="4623" y="3125"/>
                </a:lnTo>
                <a:lnTo>
                  <a:pt x="4619" y="3119"/>
                </a:lnTo>
                <a:lnTo>
                  <a:pt x="4614" y="3113"/>
                </a:lnTo>
                <a:lnTo>
                  <a:pt x="4606" y="3105"/>
                </a:lnTo>
                <a:lnTo>
                  <a:pt x="4598" y="3093"/>
                </a:lnTo>
                <a:lnTo>
                  <a:pt x="4589" y="3078"/>
                </a:lnTo>
                <a:lnTo>
                  <a:pt x="4579" y="3061"/>
                </a:lnTo>
                <a:lnTo>
                  <a:pt x="4561" y="3030"/>
                </a:lnTo>
                <a:lnTo>
                  <a:pt x="4552" y="3012"/>
                </a:lnTo>
                <a:lnTo>
                  <a:pt x="4547" y="2999"/>
                </a:lnTo>
                <a:lnTo>
                  <a:pt x="4541" y="2982"/>
                </a:lnTo>
                <a:lnTo>
                  <a:pt x="4536" y="2963"/>
                </a:lnTo>
                <a:lnTo>
                  <a:pt x="4531" y="2950"/>
                </a:lnTo>
                <a:lnTo>
                  <a:pt x="4530" y="2949"/>
                </a:lnTo>
                <a:lnTo>
                  <a:pt x="4529" y="2949"/>
                </a:lnTo>
                <a:lnTo>
                  <a:pt x="4528" y="2949"/>
                </a:lnTo>
                <a:lnTo>
                  <a:pt x="4528" y="2950"/>
                </a:lnTo>
                <a:lnTo>
                  <a:pt x="4526" y="2954"/>
                </a:lnTo>
                <a:lnTo>
                  <a:pt x="4525" y="2960"/>
                </a:lnTo>
                <a:lnTo>
                  <a:pt x="4524" y="2973"/>
                </a:lnTo>
                <a:lnTo>
                  <a:pt x="4524" y="2983"/>
                </a:lnTo>
                <a:lnTo>
                  <a:pt x="4522" y="2986"/>
                </a:lnTo>
                <a:lnTo>
                  <a:pt x="4521" y="2987"/>
                </a:lnTo>
                <a:lnTo>
                  <a:pt x="4519" y="2987"/>
                </a:lnTo>
                <a:lnTo>
                  <a:pt x="4516" y="2986"/>
                </a:lnTo>
                <a:lnTo>
                  <a:pt x="4511" y="2983"/>
                </a:lnTo>
                <a:lnTo>
                  <a:pt x="4506" y="2977"/>
                </a:lnTo>
                <a:lnTo>
                  <a:pt x="4502" y="2971"/>
                </a:lnTo>
                <a:lnTo>
                  <a:pt x="4494" y="2964"/>
                </a:lnTo>
                <a:lnTo>
                  <a:pt x="4489" y="2959"/>
                </a:lnTo>
                <a:lnTo>
                  <a:pt x="4486" y="2957"/>
                </a:lnTo>
                <a:lnTo>
                  <a:pt x="4493" y="2972"/>
                </a:lnTo>
                <a:lnTo>
                  <a:pt x="4503" y="2987"/>
                </a:lnTo>
                <a:lnTo>
                  <a:pt x="4505" y="2990"/>
                </a:lnTo>
                <a:lnTo>
                  <a:pt x="4508" y="2993"/>
                </a:lnTo>
                <a:lnTo>
                  <a:pt x="4511" y="2998"/>
                </a:lnTo>
                <a:lnTo>
                  <a:pt x="4514" y="3006"/>
                </a:lnTo>
                <a:lnTo>
                  <a:pt x="4518" y="3017"/>
                </a:lnTo>
                <a:lnTo>
                  <a:pt x="4522" y="3031"/>
                </a:lnTo>
                <a:lnTo>
                  <a:pt x="4528" y="3043"/>
                </a:lnTo>
                <a:lnTo>
                  <a:pt x="4532" y="3053"/>
                </a:lnTo>
                <a:lnTo>
                  <a:pt x="4538" y="3066"/>
                </a:lnTo>
                <a:lnTo>
                  <a:pt x="4548" y="3088"/>
                </a:lnTo>
                <a:lnTo>
                  <a:pt x="4557" y="3109"/>
                </a:lnTo>
                <a:lnTo>
                  <a:pt x="4562" y="3119"/>
                </a:lnTo>
                <a:lnTo>
                  <a:pt x="4564" y="3125"/>
                </a:lnTo>
                <a:lnTo>
                  <a:pt x="4569" y="3136"/>
                </a:lnTo>
                <a:lnTo>
                  <a:pt x="4573" y="3150"/>
                </a:lnTo>
                <a:lnTo>
                  <a:pt x="4577" y="3165"/>
                </a:lnTo>
                <a:lnTo>
                  <a:pt x="4583" y="3183"/>
                </a:lnTo>
                <a:lnTo>
                  <a:pt x="4592" y="3204"/>
                </a:lnTo>
                <a:lnTo>
                  <a:pt x="4600" y="3224"/>
                </a:lnTo>
                <a:lnTo>
                  <a:pt x="4607" y="3235"/>
                </a:lnTo>
                <a:lnTo>
                  <a:pt x="4619" y="3242"/>
                </a:lnTo>
                <a:lnTo>
                  <a:pt x="4639" y="3253"/>
                </a:lnTo>
                <a:lnTo>
                  <a:pt x="4648" y="3258"/>
                </a:lnTo>
                <a:lnTo>
                  <a:pt x="4657" y="3263"/>
                </a:lnTo>
                <a:lnTo>
                  <a:pt x="4660" y="3266"/>
                </a:lnTo>
                <a:lnTo>
                  <a:pt x="4662" y="3269"/>
                </a:lnTo>
                <a:lnTo>
                  <a:pt x="4663" y="3271"/>
                </a:lnTo>
                <a:lnTo>
                  <a:pt x="4664" y="3273"/>
                </a:lnTo>
                <a:lnTo>
                  <a:pt x="4662" y="3280"/>
                </a:lnTo>
                <a:lnTo>
                  <a:pt x="4661" y="3289"/>
                </a:lnTo>
                <a:lnTo>
                  <a:pt x="4662" y="3293"/>
                </a:lnTo>
                <a:lnTo>
                  <a:pt x="4663" y="3297"/>
                </a:lnTo>
                <a:lnTo>
                  <a:pt x="4665" y="3300"/>
                </a:lnTo>
                <a:lnTo>
                  <a:pt x="4668" y="3303"/>
                </a:lnTo>
                <a:lnTo>
                  <a:pt x="4672" y="3307"/>
                </a:lnTo>
                <a:lnTo>
                  <a:pt x="4677" y="3313"/>
                </a:lnTo>
                <a:lnTo>
                  <a:pt x="4680" y="3320"/>
                </a:lnTo>
                <a:lnTo>
                  <a:pt x="4684" y="3327"/>
                </a:lnTo>
                <a:lnTo>
                  <a:pt x="4690" y="3344"/>
                </a:lnTo>
                <a:lnTo>
                  <a:pt x="4696" y="3358"/>
                </a:lnTo>
                <a:lnTo>
                  <a:pt x="4703" y="3369"/>
                </a:lnTo>
                <a:lnTo>
                  <a:pt x="4710" y="3381"/>
                </a:lnTo>
                <a:lnTo>
                  <a:pt x="4715" y="3386"/>
                </a:lnTo>
                <a:lnTo>
                  <a:pt x="4721" y="3389"/>
                </a:lnTo>
                <a:lnTo>
                  <a:pt x="4728" y="3390"/>
                </a:lnTo>
                <a:lnTo>
                  <a:pt x="4735" y="3390"/>
                </a:lnTo>
                <a:lnTo>
                  <a:pt x="4749" y="3388"/>
                </a:lnTo>
                <a:lnTo>
                  <a:pt x="4772" y="3384"/>
                </a:lnTo>
                <a:lnTo>
                  <a:pt x="4799" y="3379"/>
                </a:lnTo>
                <a:lnTo>
                  <a:pt x="4829" y="3374"/>
                </a:lnTo>
                <a:lnTo>
                  <a:pt x="4858" y="3370"/>
                </a:lnTo>
                <a:lnTo>
                  <a:pt x="4881" y="3369"/>
                </a:lnTo>
                <a:lnTo>
                  <a:pt x="4890" y="3370"/>
                </a:lnTo>
                <a:lnTo>
                  <a:pt x="4897" y="3371"/>
                </a:lnTo>
                <a:lnTo>
                  <a:pt x="4899" y="3372"/>
                </a:lnTo>
                <a:lnTo>
                  <a:pt x="4900" y="3374"/>
                </a:lnTo>
                <a:lnTo>
                  <a:pt x="4901" y="3377"/>
                </a:lnTo>
                <a:lnTo>
                  <a:pt x="4901" y="3379"/>
                </a:lnTo>
                <a:lnTo>
                  <a:pt x="4891" y="3407"/>
                </a:lnTo>
                <a:lnTo>
                  <a:pt x="4877" y="3447"/>
                </a:lnTo>
                <a:lnTo>
                  <a:pt x="4868" y="3468"/>
                </a:lnTo>
                <a:lnTo>
                  <a:pt x="4860" y="3487"/>
                </a:lnTo>
                <a:lnTo>
                  <a:pt x="4853" y="3502"/>
                </a:lnTo>
                <a:lnTo>
                  <a:pt x="4845" y="3513"/>
                </a:lnTo>
                <a:lnTo>
                  <a:pt x="4826" y="3531"/>
                </a:lnTo>
                <a:lnTo>
                  <a:pt x="4802" y="3552"/>
                </a:lnTo>
                <a:lnTo>
                  <a:pt x="4776" y="3574"/>
                </a:lnTo>
                <a:lnTo>
                  <a:pt x="4755" y="3593"/>
                </a:lnTo>
                <a:lnTo>
                  <a:pt x="4729" y="3620"/>
                </a:lnTo>
                <a:lnTo>
                  <a:pt x="4693" y="3656"/>
                </a:lnTo>
                <a:lnTo>
                  <a:pt x="4675" y="3675"/>
                </a:lnTo>
                <a:lnTo>
                  <a:pt x="4660" y="3693"/>
                </a:lnTo>
                <a:lnTo>
                  <a:pt x="4647" y="3708"/>
                </a:lnTo>
                <a:lnTo>
                  <a:pt x="4640" y="3719"/>
                </a:lnTo>
                <a:lnTo>
                  <a:pt x="4638" y="3723"/>
                </a:lnTo>
                <a:lnTo>
                  <a:pt x="4637" y="3728"/>
                </a:lnTo>
                <a:lnTo>
                  <a:pt x="4636" y="3733"/>
                </a:lnTo>
                <a:lnTo>
                  <a:pt x="4636" y="3737"/>
                </a:lnTo>
                <a:lnTo>
                  <a:pt x="4636" y="3747"/>
                </a:lnTo>
                <a:lnTo>
                  <a:pt x="4637" y="3757"/>
                </a:lnTo>
                <a:lnTo>
                  <a:pt x="4638" y="3766"/>
                </a:lnTo>
                <a:lnTo>
                  <a:pt x="4639" y="3776"/>
                </a:lnTo>
                <a:lnTo>
                  <a:pt x="4640" y="3784"/>
                </a:lnTo>
                <a:lnTo>
                  <a:pt x="4639" y="3793"/>
                </a:lnTo>
                <a:lnTo>
                  <a:pt x="4636" y="3804"/>
                </a:lnTo>
                <a:lnTo>
                  <a:pt x="4634" y="3813"/>
                </a:lnTo>
                <a:lnTo>
                  <a:pt x="4633" y="3818"/>
                </a:lnTo>
                <a:lnTo>
                  <a:pt x="4633" y="3820"/>
                </a:lnTo>
                <a:lnTo>
                  <a:pt x="4634" y="3823"/>
                </a:lnTo>
                <a:lnTo>
                  <a:pt x="4635" y="3825"/>
                </a:lnTo>
                <a:lnTo>
                  <a:pt x="4640" y="3834"/>
                </a:lnTo>
                <a:lnTo>
                  <a:pt x="4649" y="3851"/>
                </a:lnTo>
                <a:lnTo>
                  <a:pt x="4655" y="3861"/>
                </a:lnTo>
                <a:lnTo>
                  <a:pt x="4658" y="3870"/>
                </a:lnTo>
                <a:lnTo>
                  <a:pt x="4661" y="3878"/>
                </a:lnTo>
                <a:lnTo>
                  <a:pt x="4661" y="3886"/>
                </a:lnTo>
                <a:lnTo>
                  <a:pt x="4659" y="3911"/>
                </a:lnTo>
                <a:lnTo>
                  <a:pt x="4652" y="3950"/>
                </a:lnTo>
                <a:lnTo>
                  <a:pt x="4648" y="3969"/>
                </a:lnTo>
                <a:lnTo>
                  <a:pt x="4644" y="3985"/>
                </a:lnTo>
                <a:lnTo>
                  <a:pt x="4641" y="3998"/>
                </a:lnTo>
                <a:lnTo>
                  <a:pt x="4637" y="4005"/>
                </a:lnTo>
                <a:lnTo>
                  <a:pt x="4622" y="4016"/>
                </a:lnTo>
                <a:lnTo>
                  <a:pt x="4597" y="4032"/>
                </a:lnTo>
                <a:lnTo>
                  <a:pt x="4584" y="4042"/>
                </a:lnTo>
                <a:lnTo>
                  <a:pt x="4573" y="4050"/>
                </a:lnTo>
                <a:lnTo>
                  <a:pt x="4563" y="4058"/>
                </a:lnTo>
                <a:lnTo>
                  <a:pt x="4558" y="4063"/>
                </a:lnTo>
                <a:lnTo>
                  <a:pt x="4550" y="4072"/>
                </a:lnTo>
                <a:lnTo>
                  <a:pt x="4539" y="4081"/>
                </a:lnTo>
                <a:lnTo>
                  <a:pt x="4535" y="4086"/>
                </a:lnTo>
                <a:lnTo>
                  <a:pt x="4531" y="4090"/>
                </a:lnTo>
                <a:lnTo>
                  <a:pt x="4529" y="4095"/>
                </a:lnTo>
                <a:lnTo>
                  <a:pt x="4529" y="4101"/>
                </a:lnTo>
                <a:lnTo>
                  <a:pt x="4531" y="4105"/>
                </a:lnTo>
                <a:lnTo>
                  <a:pt x="4534" y="4109"/>
                </a:lnTo>
                <a:lnTo>
                  <a:pt x="4537" y="4112"/>
                </a:lnTo>
                <a:lnTo>
                  <a:pt x="4540" y="4115"/>
                </a:lnTo>
                <a:lnTo>
                  <a:pt x="4543" y="4119"/>
                </a:lnTo>
                <a:lnTo>
                  <a:pt x="4547" y="4123"/>
                </a:lnTo>
                <a:lnTo>
                  <a:pt x="4548" y="4127"/>
                </a:lnTo>
                <a:lnTo>
                  <a:pt x="4548" y="4132"/>
                </a:lnTo>
                <a:lnTo>
                  <a:pt x="4544" y="4149"/>
                </a:lnTo>
                <a:lnTo>
                  <a:pt x="4538" y="4172"/>
                </a:lnTo>
                <a:lnTo>
                  <a:pt x="4535" y="4183"/>
                </a:lnTo>
                <a:lnTo>
                  <a:pt x="4532" y="4194"/>
                </a:lnTo>
                <a:lnTo>
                  <a:pt x="4528" y="4201"/>
                </a:lnTo>
                <a:lnTo>
                  <a:pt x="4524" y="4205"/>
                </a:lnTo>
                <a:lnTo>
                  <a:pt x="4515" y="4211"/>
                </a:lnTo>
                <a:lnTo>
                  <a:pt x="4505" y="4216"/>
                </a:lnTo>
                <a:lnTo>
                  <a:pt x="4499" y="4219"/>
                </a:lnTo>
                <a:lnTo>
                  <a:pt x="4495" y="4222"/>
                </a:lnTo>
                <a:lnTo>
                  <a:pt x="4493" y="4226"/>
                </a:lnTo>
                <a:lnTo>
                  <a:pt x="4492" y="4232"/>
                </a:lnTo>
                <a:lnTo>
                  <a:pt x="4492" y="4241"/>
                </a:lnTo>
                <a:lnTo>
                  <a:pt x="4491" y="4249"/>
                </a:lnTo>
                <a:lnTo>
                  <a:pt x="4489" y="4258"/>
                </a:lnTo>
                <a:lnTo>
                  <a:pt x="4485" y="4266"/>
                </a:lnTo>
                <a:lnTo>
                  <a:pt x="4480" y="4275"/>
                </a:lnTo>
                <a:lnTo>
                  <a:pt x="4474" y="4283"/>
                </a:lnTo>
                <a:lnTo>
                  <a:pt x="4468" y="4292"/>
                </a:lnTo>
                <a:lnTo>
                  <a:pt x="4460" y="4305"/>
                </a:lnTo>
                <a:lnTo>
                  <a:pt x="4450" y="4322"/>
                </a:lnTo>
                <a:lnTo>
                  <a:pt x="4441" y="4339"/>
                </a:lnTo>
                <a:lnTo>
                  <a:pt x="4431" y="4355"/>
                </a:lnTo>
                <a:lnTo>
                  <a:pt x="4423" y="4369"/>
                </a:lnTo>
                <a:lnTo>
                  <a:pt x="4419" y="4375"/>
                </a:lnTo>
                <a:lnTo>
                  <a:pt x="4411" y="4383"/>
                </a:lnTo>
                <a:lnTo>
                  <a:pt x="4402" y="4392"/>
                </a:lnTo>
                <a:lnTo>
                  <a:pt x="4393" y="4400"/>
                </a:lnTo>
                <a:lnTo>
                  <a:pt x="4381" y="4409"/>
                </a:lnTo>
                <a:lnTo>
                  <a:pt x="4370" y="4416"/>
                </a:lnTo>
                <a:lnTo>
                  <a:pt x="4357" y="4422"/>
                </a:lnTo>
                <a:lnTo>
                  <a:pt x="4345" y="4426"/>
                </a:lnTo>
                <a:lnTo>
                  <a:pt x="4321" y="4431"/>
                </a:lnTo>
                <a:lnTo>
                  <a:pt x="4296" y="4434"/>
                </a:lnTo>
                <a:lnTo>
                  <a:pt x="4285" y="4435"/>
                </a:lnTo>
                <a:lnTo>
                  <a:pt x="4273" y="4437"/>
                </a:lnTo>
                <a:lnTo>
                  <a:pt x="4263" y="4439"/>
                </a:lnTo>
                <a:lnTo>
                  <a:pt x="4253" y="4443"/>
                </a:lnTo>
                <a:lnTo>
                  <a:pt x="4238" y="4448"/>
                </a:lnTo>
                <a:lnTo>
                  <a:pt x="4223" y="4453"/>
                </a:lnTo>
                <a:lnTo>
                  <a:pt x="4212" y="4455"/>
                </a:lnTo>
                <a:lnTo>
                  <a:pt x="4205" y="4457"/>
                </a:lnTo>
                <a:lnTo>
                  <a:pt x="4202" y="4458"/>
                </a:lnTo>
                <a:lnTo>
                  <a:pt x="4198" y="4459"/>
                </a:lnTo>
                <a:lnTo>
                  <a:pt x="4192" y="4459"/>
                </a:lnTo>
                <a:lnTo>
                  <a:pt x="4187" y="4458"/>
                </a:lnTo>
                <a:lnTo>
                  <a:pt x="4182" y="4456"/>
                </a:lnTo>
                <a:lnTo>
                  <a:pt x="4178" y="4454"/>
                </a:lnTo>
                <a:lnTo>
                  <a:pt x="4174" y="4452"/>
                </a:lnTo>
                <a:lnTo>
                  <a:pt x="4171" y="4447"/>
                </a:lnTo>
                <a:lnTo>
                  <a:pt x="4159" y="4430"/>
                </a:lnTo>
                <a:lnTo>
                  <a:pt x="4149" y="4417"/>
                </a:lnTo>
                <a:close/>
              </a:path>
            </a:pathLst>
          </a:custGeom>
          <a:gradFill flip="none" rotWithShape="1">
            <a:gsLst>
              <a:gs pos="100000">
                <a:schemeClr val="bg1">
                  <a:lumMod val="65000"/>
                </a:schemeClr>
              </a:gs>
              <a:gs pos="0">
                <a:schemeClr val="bg1">
                  <a:lumMod val="90000"/>
                </a:schemeClr>
              </a:gs>
            </a:gsLst>
            <a:path path="circle">
              <a:fillToRect l="50000" t="50000" r="50000" b="50000"/>
            </a:path>
            <a:tileRect/>
          </a:gradFill>
          <a:ln w="3175">
            <a:solidFill>
              <a:schemeClr val="bg1">
                <a:lumMod val="75000"/>
              </a:schemeClr>
            </a:solidFill>
          </a:ln>
          <a:effectLst>
            <a:outerShdw dist="25400" dir="5400000" algn="t" rotWithShape="0">
              <a:prstClr val="black">
                <a:alpha val="7000"/>
              </a:prstClr>
            </a:outerShdw>
          </a:effectLst>
          <a:scene3d>
            <a:camera prst="orthographicFront"/>
            <a:lightRig rig="threePt" dir="t"/>
          </a:scene3d>
          <a:sp3d/>
        </p:spPr>
        <p:txBody>
          <a:bodyPr vert="horz" wrap="square" lIns="91440" tIns="45720" rIns="91440" bIns="45720" numCol="1" anchor="t" anchorCtr="0" compatLnSpc="1">
            <a:prstTxWarp prst="textNoShape">
              <a:avLst/>
            </a:prstTxWarp>
          </a:bodyPr>
          <a:lstStyle/>
          <a:p>
            <a:endParaRPr lang="en-US" b="1" i="1" dirty="0" smtClean="0"/>
          </a:p>
          <a:p>
            <a:endParaRPr lang="en-US" b="1" i="1" dirty="0" smtClean="0"/>
          </a:p>
          <a:p>
            <a:r>
              <a:rPr lang="en-US" b="1" i="1" dirty="0" smtClean="0"/>
              <a:t>          The Journey for the Bill- Green Paper- White paper-Draft Bill </a:t>
            </a:r>
          </a:p>
          <a:p>
            <a:endParaRPr lang="en-US" b="1" i="1" dirty="0" smtClean="0"/>
          </a:p>
          <a:p>
            <a:endParaRPr lang="en-US" b="1" i="1" dirty="0" smtClean="0"/>
          </a:p>
          <a:p>
            <a:endParaRPr lang="en-US" b="1" i="1" dirty="0" smtClean="0"/>
          </a:p>
          <a:p>
            <a:r>
              <a:rPr lang="en-US" b="1" i="1" dirty="0" smtClean="0"/>
              <a:t>        Adequate time for consideration of Bills </a:t>
            </a:r>
          </a:p>
          <a:p>
            <a:r>
              <a:rPr lang="en-US" b="1" i="1" dirty="0" smtClean="0"/>
              <a:t>        </a:t>
            </a:r>
          </a:p>
          <a:p>
            <a:r>
              <a:rPr lang="en-US" b="1" i="1" dirty="0" smtClean="0"/>
              <a:t>       Engaging the law makers</a:t>
            </a:r>
          </a:p>
          <a:p>
            <a:r>
              <a:rPr lang="en-US" b="1" i="1" dirty="0" smtClean="0"/>
              <a:t>          </a:t>
            </a:r>
          </a:p>
          <a:p>
            <a:r>
              <a:rPr lang="en-US" b="1" i="1" dirty="0" smtClean="0"/>
              <a:t>        Public Awareness Programmes</a:t>
            </a:r>
          </a:p>
          <a:p>
            <a:endParaRPr lang="en-US" b="1" i="1" dirty="0" smtClean="0"/>
          </a:p>
          <a:p>
            <a:r>
              <a:rPr lang="en-US" b="1" i="1" dirty="0" smtClean="0"/>
              <a:t>       Voluntary Disclosure </a:t>
            </a:r>
          </a:p>
          <a:p>
            <a:endParaRPr lang="en-US" b="1" i="1" dirty="0" smtClean="0"/>
          </a:p>
          <a:p>
            <a:r>
              <a:rPr lang="en-US" b="1" i="1" dirty="0" smtClean="0"/>
              <a:t>       Digitization</a:t>
            </a:r>
          </a:p>
        </p:txBody>
      </p:sp>
      <p:sp>
        <p:nvSpPr>
          <p:cNvPr id="5" name="TextBox 4"/>
          <p:cNvSpPr txBox="1"/>
          <p:nvPr/>
        </p:nvSpPr>
        <p:spPr>
          <a:xfrm>
            <a:off x="2997200" y="559832"/>
            <a:ext cx="3166540" cy="486287"/>
          </a:xfrm>
          <a:prstGeom prst="rect">
            <a:avLst/>
          </a:prstGeom>
          <a:noFill/>
        </p:spPr>
        <p:txBody>
          <a:bodyPr wrap="square" rtlCol="0">
            <a:spAutoFit/>
          </a:bodyPr>
          <a:lstStyle/>
          <a:p>
            <a:pPr algn="ctr">
              <a:lnSpc>
                <a:spcPct val="80000"/>
              </a:lnSpc>
            </a:pPr>
            <a:r>
              <a:rPr lang="en-US" sz="3200" b="1" dirty="0" smtClean="0">
                <a:solidFill>
                  <a:srgbClr val="0070C0"/>
                </a:solidFill>
              </a:rPr>
              <a:t>The Road Ahead</a:t>
            </a:r>
          </a:p>
        </p:txBody>
      </p:sp>
      <p:sp>
        <p:nvSpPr>
          <p:cNvPr id="22" name="Footer Placeholder 21"/>
          <p:cNvSpPr>
            <a:spLocks noGrp="1"/>
          </p:cNvSpPr>
          <p:nvPr>
            <p:ph type="ftr" sz="quarter" idx="11"/>
          </p:nvPr>
        </p:nvSpPr>
        <p:spPr>
          <a:xfrm>
            <a:off x="343594" y="6373735"/>
            <a:ext cx="3315927" cy="273051"/>
          </a:xfrm>
        </p:spPr>
        <p:txBody>
          <a:bodyPr/>
          <a:lstStyle/>
          <a:p>
            <a:pPr algn="l">
              <a:defRPr/>
            </a:pPr>
            <a:r>
              <a:rPr lang="en-US" sz="1050" b="1" i="1" dirty="0" smtClean="0"/>
              <a:t>What deters the unveiling of Legislative Process?</a:t>
            </a:r>
            <a:endParaRPr lang="en-US" sz="1050" b="1" i="1" dirty="0"/>
          </a:p>
        </p:txBody>
      </p:sp>
      <p:sp>
        <p:nvSpPr>
          <p:cNvPr id="27" name="Slide Number Placeholder 26"/>
          <p:cNvSpPr>
            <a:spLocks noGrp="1"/>
          </p:cNvSpPr>
          <p:nvPr>
            <p:ph type="sldNum" sz="quarter" idx="12"/>
          </p:nvPr>
        </p:nvSpPr>
        <p:spPr/>
        <p:txBody>
          <a:bodyPr/>
          <a:lstStyle/>
          <a:p>
            <a:fld id="{EA72F2ED-C0F1-A14B-BA46-C5847C658EB2}" type="slidenum">
              <a:rPr lang="en-US" smtClean="0"/>
              <a:pPr/>
              <a:t>23</a:t>
            </a:fld>
            <a:endParaRPr lang="en-US" dirty="0"/>
          </a:p>
        </p:txBody>
      </p:sp>
      <p:grpSp>
        <p:nvGrpSpPr>
          <p:cNvPr id="194" name="Group 71"/>
          <p:cNvGrpSpPr>
            <a:grpSpLocks/>
          </p:cNvGrpSpPr>
          <p:nvPr/>
        </p:nvGrpSpPr>
        <p:grpSpPr bwMode="auto">
          <a:xfrm>
            <a:off x="623753" y="2785026"/>
            <a:ext cx="478692" cy="883348"/>
            <a:chOff x="4212399" y="2133722"/>
            <a:chExt cx="975551" cy="1801955"/>
          </a:xfrm>
        </p:grpSpPr>
        <p:grpSp>
          <p:nvGrpSpPr>
            <p:cNvPr id="195" name="Group 72"/>
            <p:cNvGrpSpPr>
              <a:grpSpLocks/>
            </p:cNvGrpSpPr>
            <p:nvPr/>
          </p:nvGrpSpPr>
          <p:grpSpPr bwMode="auto">
            <a:xfrm>
              <a:off x="4212399" y="3437110"/>
              <a:ext cx="498086" cy="498567"/>
              <a:chOff x="5627209" y="1515183"/>
              <a:chExt cx="498086" cy="498567"/>
            </a:xfrm>
          </p:grpSpPr>
          <p:sp>
            <p:nvSpPr>
              <p:cNvPr id="200" name="Oval 199"/>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a:solidFill>
                    <a:srgbClr val="FFFFFF"/>
                  </a:solidFill>
                  <a:latin typeface="Calibri" charset="0"/>
                </a:endParaRPr>
              </a:p>
            </p:txBody>
          </p:sp>
          <p:sp>
            <p:nvSpPr>
              <p:cNvPr id="201" name="Oval 200"/>
              <p:cNvSpPr/>
              <p:nvPr/>
            </p:nvSpPr>
            <p:spPr>
              <a:xfrm>
                <a:off x="5765213" y="1650145"/>
                <a:ext cx="228422" cy="228642"/>
              </a:xfrm>
              <a:prstGeom prst="ellipse">
                <a:avLst/>
              </a:prstGeom>
              <a:solidFill>
                <a:srgbClr val="CE2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pSp>
        <p:sp>
          <p:nvSpPr>
            <p:cNvPr id="196"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a:latin typeface="Calibri" charset="0"/>
              </a:endParaRPr>
            </a:p>
          </p:txBody>
        </p:sp>
        <p:grpSp>
          <p:nvGrpSpPr>
            <p:cNvPr id="197" name="Group 133"/>
            <p:cNvGrpSpPr>
              <a:grpSpLocks/>
            </p:cNvGrpSpPr>
            <p:nvPr/>
          </p:nvGrpSpPr>
          <p:grpSpPr bwMode="auto">
            <a:xfrm flipH="1">
              <a:off x="4501488" y="2133722"/>
              <a:ext cx="650367" cy="1241653"/>
              <a:chOff x="6900420" y="1601534"/>
              <a:chExt cx="999336" cy="1834351"/>
            </a:xfrm>
          </p:grpSpPr>
          <p:sp>
            <p:nvSpPr>
              <p:cNvPr id="198" name="Freeform 57"/>
              <p:cNvSpPr>
                <a:spLocks/>
              </p:cNvSpPr>
              <p:nvPr/>
            </p:nvSpPr>
            <p:spPr bwMode="auto">
              <a:xfrm>
                <a:off x="6900420" y="1601534"/>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CE202A">
                      <a:shade val="30000"/>
                      <a:satMod val="115000"/>
                    </a:srgbClr>
                  </a:gs>
                  <a:gs pos="83000">
                    <a:srgbClr val="CE202A">
                      <a:shade val="100000"/>
                      <a:satMod val="115000"/>
                    </a:srgb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99" name="Oval 198"/>
              <p:cNvSpPr/>
              <p:nvPr/>
            </p:nvSpPr>
            <p:spPr>
              <a:xfrm flipV="1">
                <a:off x="7183764" y="1894923"/>
                <a:ext cx="687490" cy="623788"/>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grpSp>
      </p:grpSp>
      <p:grpSp>
        <p:nvGrpSpPr>
          <p:cNvPr id="214" name="Group 71"/>
          <p:cNvGrpSpPr>
            <a:grpSpLocks/>
          </p:cNvGrpSpPr>
          <p:nvPr/>
        </p:nvGrpSpPr>
        <p:grpSpPr bwMode="auto">
          <a:xfrm>
            <a:off x="640309" y="2253627"/>
            <a:ext cx="478692" cy="703639"/>
            <a:chOff x="4212399" y="2500313"/>
            <a:chExt cx="975551" cy="1435364"/>
          </a:xfrm>
        </p:grpSpPr>
        <p:grpSp>
          <p:nvGrpSpPr>
            <p:cNvPr id="215" name="Group 72"/>
            <p:cNvGrpSpPr>
              <a:grpSpLocks/>
            </p:cNvGrpSpPr>
            <p:nvPr/>
          </p:nvGrpSpPr>
          <p:grpSpPr bwMode="auto">
            <a:xfrm>
              <a:off x="4212399" y="3437110"/>
              <a:ext cx="498086" cy="498567"/>
              <a:chOff x="5627209" y="1515183"/>
              <a:chExt cx="498086" cy="498567"/>
            </a:xfrm>
          </p:grpSpPr>
          <p:sp>
            <p:nvSpPr>
              <p:cNvPr id="220" name="Oval 219"/>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a:solidFill>
                    <a:srgbClr val="FFFFFF"/>
                  </a:solidFill>
                  <a:latin typeface="Calibri" charset="0"/>
                </a:endParaRPr>
              </a:p>
            </p:txBody>
          </p:sp>
          <p:sp>
            <p:nvSpPr>
              <p:cNvPr id="221" name="Oval 220"/>
              <p:cNvSpPr/>
              <p:nvPr/>
            </p:nvSpPr>
            <p:spPr>
              <a:xfrm>
                <a:off x="5765213" y="1650145"/>
                <a:ext cx="228422" cy="228642"/>
              </a:xfrm>
              <a:prstGeom prst="ellipse">
                <a:avLst/>
              </a:prstGeom>
              <a:solidFill>
                <a:srgbClr val="2A9B1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pSp>
        <p:sp>
          <p:nvSpPr>
            <p:cNvPr id="216"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a:latin typeface="Calibri" charset="0"/>
              </a:endParaRPr>
            </a:p>
          </p:txBody>
        </p:sp>
        <p:grpSp>
          <p:nvGrpSpPr>
            <p:cNvPr id="217" name="Group 133"/>
            <p:cNvGrpSpPr>
              <a:grpSpLocks/>
            </p:cNvGrpSpPr>
            <p:nvPr/>
          </p:nvGrpSpPr>
          <p:grpSpPr bwMode="auto">
            <a:xfrm flipH="1">
              <a:off x="4436064" y="2500313"/>
              <a:ext cx="650367" cy="1241653"/>
              <a:chOff x="7000949" y="2143116"/>
              <a:chExt cx="999336" cy="1834351"/>
            </a:xfrm>
          </p:grpSpPr>
          <p:sp>
            <p:nvSpPr>
              <p:cNvPr id="218"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2A9B18">
                      <a:shade val="30000"/>
                      <a:satMod val="115000"/>
                    </a:srgbClr>
                  </a:gs>
                  <a:gs pos="100000">
                    <a:srgbClr val="2A9B18">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19" name="Oval 218"/>
              <p:cNvSpPr/>
              <p:nvPr/>
            </p:nvSpPr>
            <p:spPr>
              <a:xfrm flipV="1">
                <a:off x="7128300" y="2206820"/>
                <a:ext cx="687491" cy="623788"/>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grpSp>
      </p:grpSp>
      <p:grpSp>
        <p:nvGrpSpPr>
          <p:cNvPr id="222" name="Group 71"/>
          <p:cNvGrpSpPr>
            <a:grpSpLocks/>
          </p:cNvGrpSpPr>
          <p:nvPr/>
        </p:nvGrpSpPr>
        <p:grpSpPr bwMode="auto">
          <a:xfrm>
            <a:off x="714236" y="1687329"/>
            <a:ext cx="478692" cy="703639"/>
            <a:chOff x="4212399" y="2500313"/>
            <a:chExt cx="975551" cy="1435364"/>
          </a:xfrm>
        </p:grpSpPr>
        <p:grpSp>
          <p:nvGrpSpPr>
            <p:cNvPr id="223" name="Group 72"/>
            <p:cNvGrpSpPr>
              <a:grpSpLocks/>
            </p:cNvGrpSpPr>
            <p:nvPr/>
          </p:nvGrpSpPr>
          <p:grpSpPr bwMode="auto">
            <a:xfrm>
              <a:off x="4212399" y="3437110"/>
              <a:ext cx="498086" cy="498567"/>
              <a:chOff x="5627209" y="1515183"/>
              <a:chExt cx="498086" cy="498567"/>
            </a:xfrm>
          </p:grpSpPr>
          <p:sp>
            <p:nvSpPr>
              <p:cNvPr id="228" name="Oval 227"/>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a:solidFill>
                    <a:srgbClr val="FFFFFF"/>
                  </a:solidFill>
                  <a:latin typeface="Calibri" charset="0"/>
                </a:endParaRPr>
              </a:p>
            </p:txBody>
          </p:sp>
          <p:sp>
            <p:nvSpPr>
              <p:cNvPr id="229" name="Oval 228"/>
              <p:cNvSpPr/>
              <p:nvPr/>
            </p:nvSpPr>
            <p:spPr>
              <a:xfrm>
                <a:off x="5765213" y="1650145"/>
                <a:ext cx="228422" cy="228642"/>
              </a:xfrm>
              <a:prstGeom prst="ellipse">
                <a:avLst/>
              </a:prstGeom>
              <a:solidFill>
                <a:srgbClr val="F0B7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pSp>
        <p:sp>
          <p:nvSpPr>
            <p:cNvPr id="224"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a:latin typeface="Calibri" charset="0"/>
              </a:endParaRPr>
            </a:p>
          </p:txBody>
        </p:sp>
        <p:grpSp>
          <p:nvGrpSpPr>
            <p:cNvPr id="225" name="Group 133"/>
            <p:cNvGrpSpPr>
              <a:grpSpLocks/>
            </p:cNvGrpSpPr>
            <p:nvPr/>
          </p:nvGrpSpPr>
          <p:grpSpPr bwMode="auto">
            <a:xfrm flipH="1">
              <a:off x="4436064" y="2500313"/>
              <a:ext cx="650367" cy="1241653"/>
              <a:chOff x="7000949" y="2143116"/>
              <a:chExt cx="999336" cy="1834351"/>
            </a:xfrm>
          </p:grpSpPr>
          <p:sp>
            <p:nvSpPr>
              <p:cNvPr id="226"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ED9901">
                      <a:lumMod val="87000"/>
                    </a:srgbClr>
                  </a:gs>
                  <a:gs pos="100000">
                    <a:srgbClr val="F0B71F">
                      <a:shade val="100000"/>
                      <a:satMod val="115000"/>
                    </a:srgb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27" name="Oval 226"/>
              <p:cNvSpPr/>
              <p:nvPr/>
            </p:nvSpPr>
            <p:spPr>
              <a:xfrm flipV="1">
                <a:off x="7128300" y="2206820"/>
                <a:ext cx="687491" cy="623788"/>
              </a:xfrm>
              <a:prstGeom prst="ellipse">
                <a:avLst/>
              </a:prstGeom>
              <a:gradFill>
                <a:gsLst>
                  <a:gs pos="0">
                    <a:schemeClr val="bg1">
                      <a:alpha val="0"/>
                    </a:schemeClr>
                  </a:gs>
                  <a:gs pos="100000">
                    <a:schemeClr val="bg1">
                      <a:alpha val="35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grpSp>
      </p:grpSp>
      <p:sp>
        <p:nvSpPr>
          <p:cNvPr id="30" name="Oval 29"/>
          <p:cNvSpPr/>
          <p:nvPr/>
        </p:nvSpPr>
        <p:spPr>
          <a:xfrm>
            <a:off x="2232983" y="4649027"/>
            <a:ext cx="98474" cy="68981"/>
          </a:xfrm>
          <a:prstGeom prst="ellipse">
            <a:avLst/>
          </a:prstGeom>
          <a:gradFill flip="none" rotWithShape="1">
            <a:gsLst>
              <a:gs pos="0">
                <a:schemeClr val="tx1">
                  <a:alpha val="47000"/>
                </a:schemeClr>
              </a:gs>
              <a:gs pos="100000">
                <a:schemeClr val="accent1">
                  <a:tint val="50000"/>
                  <a:shade val="100000"/>
                  <a:satMod val="350000"/>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2" name="Oval 231"/>
          <p:cNvSpPr/>
          <p:nvPr/>
        </p:nvSpPr>
        <p:spPr>
          <a:xfrm>
            <a:off x="3659522" y="4180558"/>
            <a:ext cx="98474" cy="68981"/>
          </a:xfrm>
          <a:prstGeom prst="ellipse">
            <a:avLst/>
          </a:prstGeom>
          <a:gradFill flip="none" rotWithShape="1">
            <a:gsLst>
              <a:gs pos="0">
                <a:schemeClr val="tx1">
                  <a:alpha val="47000"/>
                </a:schemeClr>
              </a:gs>
              <a:gs pos="100000">
                <a:schemeClr val="accent1">
                  <a:tint val="50000"/>
                  <a:shade val="100000"/>
                  <a:satMod val="350000"/>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4" name="Oval 233"/>
          <p:cNvSpPr/>
          <p:nvPr/>
        </p:nvSpPr>
        <p:spPr>
          <a:xfrm>
            <a:off x="5162780" y="3342724"/>
            <a:ext cx="98474" cy="68981"/>
          </a:xfrm>
          <a:prstGeom prst="ellipse">
            <a:avLst/>
          </a:prstGeom>
          <a:gradFill flip="none" rotWithShape="1">
            <a:gsLst>
              <a:gs pos="0">
                <a:schemeClr val="tx1">
                  <a:alpha val="47000"/>
                </a:schemeClr>
              </a:gs>
              <a:gs pos="100000">
                <a:schemeClr val="accent1">
                  <a:tint val="50000"/>
                  <a:shade val="100000"/>
                  <a:satMod val="350000"/>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6" name="Oval 235"/>
          <p:cNvSpPr/>
          <p:nvPr/>
        </p:nvSpPr>
        <p:spPr>
          <a:xfrm>
            <a:off x="4033575" y="3590179"/>
            <a:ext cx="98474" cy="68981"/>
          </a:xfrm>
          <a:prstGeom prst="ellipse">
            <a:avLst/>
          </a:prstGeom>
          <a:gradFill flip="none" rotWithShape="1">
            <a:gsLst>
              <a:gs pos="0">
                <a:schemeClr val="tx1">
                  <a:alpha val="47000"/>
                </a:schemeClr>
              </a:gs>
              <a:gs pos="100000">
                <a:schemeClr val="accent1">
                  <a:tint val="50000"/>
                  <a:shade val="100000"/>
                  <a:satMod val="350000"/>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5" name="TextBox 314"/>
          <p:cNvSpPr txBox="1"/>
          <p:nvPr/>
        </p:nvSpPr>
        <p:spPr>
          <a:xfrm>
            <a:off x="6550925" y="1921420"/>
            <a:ext cx="2095499" cy="246221"/>
          </a:xfrm>
          <a:prstGeom prst="rect">
            <a:avLst/>
          </a:prstGeom>
          <a:noFill/>
        </p:spPr>
        <p:txBody>
          <a:bodyPr wrap="square" rtlCol="0" anchor="t">
            <a:spAutoFit/>
          </a:bodyPr>
          <a:lstStyle/>
          <a:p>
            <a:pPr>
              <a:spcAft>
                <a:spcPts val="600"/>
              </a:spcAft>
            </a:pPr>
            <a:r>
              <a:rPr lang="en-US" sz="1000" dirty="0" smtClean="0"/>
              <a:t>. </a:t>
            </a:r>
            <a:endParaRPr lang="en-US" sz="1000" dirty="0"/>
          </a:p>
        </p:txBody>
      </p:sp>
      <p:sp>
        <p:nvSpPr>
          <p:cNvPr id="80" name="TextBox 79"/>
          <p:cNvSpPr txBox="1"/>
          <p:nvPr/>
        </p:nvSpPr>
        <p:spPr>
          <a:xfrm>
            <a:off x="985462" y="2601204"/>
            <a:ext cx="7116990" cy="923330"/>
          </a:xfrm>
          <a:prstGeom prst="rect">
            <a:avLst/>
          </a:prstGeom>
          <a:noFill/>
        </p:spPr>
        <p:txBody>
          <a:bodyPr wrap="square" rtlCol="0">
            <a:spAutoFit/>
          </a:bodyPr>
          <a:lstStyle/>
          <a:p>
            <a:r>
              <a:rPr lang="en-US" b="1" i="1" dirty="0" smtClean="0"/>
              <a:t>Identifying and Consulting Stakeholders  &amp; Public Discussion on Draft Legislation</a:t>
            </a:r>
          </a:p>
          <a:p>
            <a:endParaRPr lang="en-US" dirty="0"/>
          </a:p>
        </p:txBody>
      </p:sp>
      <p:grpSp>
        <p:nvGrpSpPr>
          <p:cNvPr id="82" name="Group 71"/>
          <p:cNvGrpSpPr>
            <a:grpSpLocks/>
          </p:cNvGrpSpPr>
          <p:nvPr/>
        </p:nvGrpSpPr>
        <p:grpSpPr bwMode="auto">
          <a:xfrm>
            <a:off x="590495" y="3476919"/>
            <a:ext cx="478692" cy="703639"/>
            <a:chOff x="4212399" y="2500313"/>
            <a:chExt cx="975551" cy="1435364"/>
          </a:xfrm>
        </p:grpSpPr>
        <p:grpSp>
          <p:nvGrpSpPr>
            <p:cNvPr id="83" name="Group 72"/>
            <p:cNvGrpSpPr>
              <a:grpSpLocks/>
            </p:cNvGrpSpPr>
            <p:nvPr/>
          </p:nvGrpSpPr>
          <p:grpSpPr bwMode="auto">
            <a:xfrm>
              <a:off x="4212399" y="3437110"/>
              <a:ext cx="498086" cy="498567"/>
              <a:chOff x="5627209" y="1515183"/>
              <a:chExt cx="498086" cy="498567"/>
            </a:xfrm>
          </p:grpSpPr>
          <p:sp>
            <p:nvSpPr>
              <p:cNvPr id="89" name="Oval 88"/>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a:solidFill>
                    <a:srgbClr val="FFFFFF"/>
                  </a:solidFill>
                  <a:latin typeface="Calibri" charset="0"/>
                </a:endParaRPr>
              </a:p>
            </p:txBody>
          </p:sp>
          <p:sp>
            <p:nvSpPr>
              <p:cNvPr id="90" name="Oval 89"/>
              <p:cNvSpPr/>
              <p:nvPr/>
            </p:nvSpPr>
            <p:spPr>
              <a:xfrm>
                <a:off x="5765213" y="1650145"/>
                <a:ext cx="228422" cy="228642"/>
              </a:xfrm>
              <a:prstGeom prst="ellipse">
                <a:avLst/>
              </a:prstGeom>
              <a:solidFill>
                <a:srgbClr val="F0B7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pSp>
        <p:sp>
          <p:nvSpPr>
            <p:cNvPr id="85"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a:latin typeface="Calibri" charset="0"/>
              </a:endParaRPr>
            </a:p>
          </p:txBody>
        </p:sp>
        <p:grpSp>
          <p:nvGrpSpPr>
            <p:cNvPr id="86" name="Group 133"/>
            <p:cNvGrpSpPr>
              <a:grpSpLocks/>
            </p:cNvGrpSpPr>
            <p:nvPr/>
          </p:nvGrpSpPr>
          <p:grpSpPr bwMode="auto">
            <a:xfrm flipH="1">
              <a:off x="4436064" y="2500313"/>
              <a:ext cx="650367" cy="1241653"/>
              <a:chOff x="7000949" y="2143116"/>
              <a:chExt cx="999336" cy="1834351"/>
            </a:xfrm>
          </p:grpSpPr>
          <p:sp>
            <p:nvSpPr>
              <p:cNvPr id="87"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ED9901">
                      <a:lumMod val="87000"/>
                    </a:srgbClr>
                  </a:gs>
                  <a:gs pos="100000">
                    <a:srgbClr val="F0B71F">
                      <a:shade val="100000"/>
                      <a:satMod val="115000"/>
                    </a:srgb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88" name="Oval 87"/>
              <p:cNvSpPr/>
              <p:nvPr/>
            </p:nvSpPr>
            <p:spPr>
              <a:xfrm flipV="1">
                <a:off x="7128300" y="2206820"/>
                <a:ext cx="687491" cy="623788"/>
              </a:xfrm>
              <a:prstGeom prst="ellipse">
                <a:avLst/>
              </a:prstGeom>
              <a:gradFill>
                <a:gsLst>
                  <a:gs pos="0">
                    <a:schemeClr val="bg1">
                      <a:alpha val="0"/>
                    </a:schemeClr>
                  </a:gs>
                  <a:gs pos="100000">
                    <a:schemeClr val="bg1">
                      <a:alpha val="35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grpSp>
      </p:grpSp>
      <p:grpSp>
        <p:nvGrpSpPr>
          <p:cNvPr id="91" name="Group 71"/>
          <p:cNvGrpSpPr>
            <a:grpSpLocks/>
          </p:cNvGrpSpPr>
          <p:nvPr/>
        </p:nvGrpSpPr>
        <p:grpSpPr bwMode="auto">
          <a:xfrm>
            <a:off x="590495" y="4026587"/>
            <a:ext cx="478692" cy="703639"/>
            <a:chOff x="4212399" y="2500313"/>
            <a:chExt cx="975551" cy="1435364"/>
          </a:xfrm>
        </p:grpSpPr>
        <p:grpSp>
          <p:nvGrpSpPr>
            <p:cNvPr id="92" name="Group 72"/>
            <p:cNvGrpSpPr>
              <a:grpSpLocks/>
            </p:cNvGrpSpPr>
            <p:nvPr/>
          </p:nvGrpSpPr>
          <p:grpSpPr bwMode="auto">
            <a:xfrm>
              <a:off x="4212399" y="3437110"/>
              <a:ext cx="498086" cy="498567"/>
              <a:chOff x="5627209" y="1515183"/>
              <a:chExt cx="498086" cy="498567"/>
            </a:xfrm>
          </p:grpSpPr>
          <p:sp>
            <p:nvSpPr>
              <p:cNvPr id="97" name="Oval 96"/>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a:solidFill>
                    <a:srgbClr val="FFFFFF"/>
                  </a:solidFill>
                  <a:latin typeface="Calibri" charset="0"/>
                </a:endParaRPr>
              </a:p>
            </p:txBody>
          </p:sp>
          <p:sp>
            <p:nvSpPr>
              <p:cNvPr id="98" name="Oval 97"/>
              <p:cNvSpPr/>
              <p:nvPr/>
            </p:nvSpPr>
            <p:spPr>
              <a:xfrm>
                <a:off x="5765213" y="1650145"/>
                <a:ext cx="228422" cy="228642"/>
              </a:xfrm>
              <a:prstGeom prst="ellipse">
                <a:avLst/>
              </a:prstGeom>
              <a:solidFill>
                <a:srgbClr val="2A9B1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pSp>
        <p:sp>
          <p:nvSpPr>
            <p:cNvPr id="93"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a:latin typeface="Calibri" charset="0"/>
              </a:endParaRPr>
            </a:p>
          </p:txBody>
        </p:sp>
        <p:grpSp>
          <p:nvGrpSpPr>
            <p:cNvPr id="94" name="Group 133"/>
            <p:cNvGrpSpPr>
              <a:grpSpLocks/>
            </p:cNvGrpSpPr>
            <p:nvPr/>
          </p:nvGrpSpPr>
          <p:grpSpPr bwMode="auto">
            <a:xfrm flipH="1">
              <a:off x="4436064" y="2500313"/>
              <a:ext cx="650367" cy="1241653"/>
              <a:chOff x="7000949" y="2143116"/>
              <a:chExt cx="999336" cy="1834351"/>
            </a:xfrm>
          </p:grpSpPr>
          <p:sp>
            <p:nvSpPr>
              <p:cNvPr id="95"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2A9B18">
                      <a:shade val="30000"/>
                      <a:satMod val="115000"/>
                    </a:srgbClr>
                  </a:gs>
                  <a:gs pos="100000">
                    <a:srgbClr val="2A9B18">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96" name="Oval 95"/>
              <p:cNvSpPr/>
              <p:nvPr/>
            </p:nvSpPr>
            <p:spPr>
              <a:xfrm flipV="1">
                <a:off x="7128300" y="2206820"/>
                <a:ext cx="687491" cy="623788"/>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grpSp>
      </p:grpSp>
      <p:grpSp>
        <p:nvGrpSpPr>
          <p:cNvPr id="59" name="Group 71"/>
          <p:cNvGrpSpPr>
            <a:grpSpLocks/>
          </p:cNvGrpSpPr>
          <p:nvPr/>
        </p:nvGrpSpPr>
        <p:grpSpPr bwMode="auto">
          <a:xfrm>
            <a:off x="606042" y="4443017"/>
            <a:ext cx="478692" cy="883348"/>
            <a:chOff x="4212399" y="2133722"/>
            <a:chExt cx="975551" cy="1801955"/>
          </a:xfrm>
        </p:grpSpPr>
        <p:grpSp>
          <p:nvGrpSpPr>
            <p:cNvPr id="60" name="Group 72"/>
            <p:cNvGrpSpPr>
              <a:grpSpLocks/>
            </p:cNvGrpSpPr>
            <p:nvPr/>
          </p:nvGrpSpPr>
          <p:grpSpPr bwMode="auto">
            <a:xfrm>
              <a:off x="4212399" y="3437110"/>
              <a:ext cx="498086" cy="498567"/>
              <a:chOff x="5627209" y="1515183"/>
              <a:chExt cx="498086" cy="498567"/>
            </a:xfrm>
          </p:grpSpPr>
          <p:sp>
            <p:nvSpPr>
              <p:cNvPr id="65" name="Oval 64"/>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a:solidFill>
                    <a:srgbClr val="FFFFFF"/>
                  </a:solidFill>
                  <a:latin typeface="Calibri" charset="0"/>
                </a:endParaRPr>
              </a:p>
            </p:txBody>
          </p:sp>
          <p:sp>
            <p:nvSpPr>
              <p:cNvPr id="66" name="Oval 65"/>
              <p:cNvSpPr/>
              <p:nvPr/>
            </p:nvSpPr>
            <p:spPr>
              <a:xfrm>
                <a:off x="5765213" y="1650145"/>
                <a:ext cx="228422" cy="228642"/>
              </a:xfrm>
              <a:prstGeom prst="ellipse">
                <a:avLst/>
              </a:prstGeom>
              <a:solidFill>
                <a:srgbClr val="CE2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pSp>
        <p:sp>
          <p:nvSpPr>
            <p:cNvPr id="61"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a:latin typeface="Calibri" charset="0"/>
              </a:endParaRPr>
            </a:p>
          </p:txBody>
        </p:sp>
        <p:grpSp>
          <p:nvGrpSpPr>
            <p:cNvPr id="62" name="Group 133"/>
            <p:cNvGrpSpPr>
              <a:grpSpLocks/>
            </p:cNvGrpSpPr>
            <p:nvPr/>
          </p:nvGrpSpPr>
          <p:grpSpPr bwMode="auto">
            <a:xfrm flipH="1">
              <a:off x="4501488" y="2133722"/>
              <a:ext cx="650367" cy="1241653"/>
              <a:chOff x="6900420" y="1601534"/>
              <a:chExt cx="999336" cy="1834351"/>
            </a:xfrm>
          </p:grpSpPr>
          <p:sp>
            <p:nvSpPr>
              <p:cNvPr id="63" name="Freeform 57"/>
              <p:cNvSpPr>
                <a:spLocks/>
              </p:cNvSpPr>
              <p:nvPr/>
            </p:nvSpPr>
            <p:spPr bwMode="auto">
              <a:xfrm>
                <a:off x="6900420" y="1601534"/>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CE202A">
                      <a:shade val="30000"/>
                      <a:satMod val="115000"/>
                    </a:srgbClr>
                  </a:gs>
                  <a:gs pos="83000">
                    <a:srgbClr val="CE202A">
                      <a:shade val="100000"/>
                      <a:satMod val="115000"/>
                    </a:srgb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64" name="Oval 63"/>
              <p:cNvSpPr/>
              <p:nvPr/>
            </p:nvSpPr>
            <p:spPr>
              <a:xfrm flipV="1">
                <a:off x="7183764" y="1894923"/>
                <a:ext cx="687490" cy="623788"/>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grpSp>
      </p:grpSp>
      <p:grpSp>
        <p:nvGrpSpPr>
          <p:cNvPr id="67" name="Group 71"/>
          <p:cNvGrpSpPr>
            <a:grpSpLocks/>
          </p:cNvGrpSpPr>
          <p:nvPr/>
        </p:nvGrpSpPr>
        <p:grpSpPr bwMode="auto">
          <a:xfrm>
            <a:off x="606042" y="5148120"/>
            <a:ext cx="478692" cy="703639"/>
            <a:chOff x="4212399" y="2500313"/>
            <a:chExt cx="975551" cy="1435364"/>
          </a:xfrm>
        </p:grpSpPr>
        <p:grpSp>
          <p:nvGrpSpPr>
            <p:cNvPr id="68" name="Group 72"/>
            <p:cNvGrpSpPr>
              <a:grpSpLocks/>
            </p:cNvGrpSpPr>
            <p:nvPr/>
          </p:nvGrpSpPr>
          <p:grpSpPr bwMode="auto">
            <a:xfrm>
              <a:off x="4212399" y="3437110"/>
              <a:ext cx="498086" cy="498567"/>
              <a:chOff x="5627209" y="1515183"/>
              <a:chExt cx="498086" cy="498567"/>
            </a:xfrm>
          </p:grpSpPr>
          <p:sp>
            <p:nvSpPr>
              <p:cNvPr id="73" name="Oval 72"/>
              <p:cNvSpPr>
                <a:spLocks noChangeArrowheads="1"/>
              </p:cNvSpPr>
              <p:nvPr/>
            </p:nvSpPr>
            <p:spPr bwMode="auto">
              <a:xfrm>
                <a:off x="5627209" y="1515183"/>
                <a:ext cx="498086" cy="498567"/>
              </a:xfrm>
              <a:prstGeom prst="ellipse">
                <a:avLst/>
              </a:prstGeom>
              <a:gradFill rotWithShape="0">
                <a:gsLst>
                  <a:gs pos="0">
                    <a:schemeClr val="bg1"/>
                  </a:gs>
                  <a:gs pos="100000">
                    <a:srgbClr val="D9D9D9"/>
                  </a:gs>
                </a:gsLst>
                <a:lin ang="5400000"/>
              </a:gradFill>
              <a:ln w="3175">
                <a:solidFill>
                  <a:schemeClr val="bg1"/>
                </a:solidFill>
                <a:round/>
                <a:headEnd/>
                <a:tailEnd/>
              </a:ln>
              <a:effectLst>
                <a:outerShdw blurRad="63500" sx="102000" sy="102000" algn="ctr" rotWithShape="0">
                  <a:srgbClr val="000000">
                    <a:alpha val="39999"/>
                  </a:srgbClr>
                </a:outerShdw>
              </a:effectLst>
            </p:spPr>
            <p:txBody>
              <a:bodyPr anchor="ctr"/>
              <a:lstStyle/>
              <a:p>
                <a:pPr algn="ctr">
                  <a:defRPr/>
                </a:pPr>
                <a:endParaRPr lang="nb-NO">
                  <a:solidFill>
                    <a:srgbClr val="FFFFFF"/>
                  </a:solidFill>
                  <a:latin typeface="Calibri" charset="0"/>
                </a:endParaRPr>
              </a:p>
            </p:txBody>
          </p:sp>
          <p:sp>
            <p:nvSpPr>
              <p:cNvPr id="74" name="Oval 73"/>
              <p:cNvSpPr/>
              <p:nvPr/>
            </p:nvSpPr>
            <p:spPr>
              <a:xfrm>
                <a:off x="5765213" y="1650145"/>
                <a:ext cx="228422" cy="228642"/>
              </a:xfrm>
              <a:prstGeom prst="ellipse">
                <a:avLst/>
              </a:prstGeom>
              <a:solidFill>
                <a:srgbClr val="2A9B1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pSp>
        <p:sp>
          <p:nvSpPr>
            <p:cNvPr id="69" name="Freeform 57"/>
            <p:cNvSpPr>
              <a:spLocks/>
            </p:cNvSpPr>
            <p:nvPr/>
          </p:nvSpPr>
          <p:spPr bwMode="auto">
            <a:xfrm rot="15813706" flipH="1" flipV="1">
              <a:off x="4658809" y="3157252"/>
              <a:ext cx="255634" cy="802649"/>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solidFill>
              <a:schemeClr val="bg1">
                <a:lumMod val="50000"/>
                <a:alpha val="25000"/>
              </a:schemeClr>
            </a:solidFill>
            <a:ln w="9525">
              <a:noFill/>
              <a:round/>
              <a:headEnd/>
              <a:tailEnd/>
            </a:ln>
            <a:effectLst/>
          </p:spPr>
          <p:txBody>
            <a:bodyPr/>
            <a:lstStyle/>
            <a:p>
              <a:pPr>
                <a:defRPr/>
              </a:pPr>
              <a:endParaRPr lang="nb-NO">
                <a:latin typeface="Calibri" charset="0"/>
              </a:endParaRPr>
            </a:p>
          </p:txBody>
        </p:sp>
        <p:grpSp>
          <p:nvGrpSpPr>
            <p:cNvPr id="70" name="Group 133"/>
            <p:cNvGrpSpPr>
              <a:grpSpLocks/>
            </p:cNvGrpSpPr>
            <p:nvPr/>
          </p:nvGrpSpPr>
          <p:grpSpPr bwMode="auto">
            <a:xfrm flipH="1">
              <a:off x="4436064" y="2500313"/>
              <a:ext cx="650367" cy="1241653"/>
              <a:chOff x="7000949" y="2143116"/>
              <a:chExt cx="999336" cy="1834351"/>
            </a:xfrm>
          </p:grpSpPr>
          <p:sp>
            <p:nvSpPr>
              <p:cNvPr id="71" name="Freeform 57"/>
              <p:cNvSpPr>
                <a:spLocks/>
              </p:cNvSpPr>
              <p:nvPr/>
            </p:nvSpPr>
            <p:spPr bwMode="auto">
              <a:xfrm>
                <a:off x="7000949" y="2143116"/>
                <a:ext cx="999336" cy="1834351"/>
              </a:xfrm>
              <a:custGeom>
                <a:avLst/>
                <a:gdLst/>
                <a:ahLst/>
                <a:cxnLst>
                  <a:cxn ang="0">
                    <a:pos x="1431" y="75"/>
                  </a:cxn>
                  <a:cxn ang="0">
                    <a:pos x="1720" y="15"/>
                  </a:cxn>
                  <a:cxn ang="0">
                    <a:pos x="2010" y="0"/>
                  </a:cxn>
                  <a:cxn ang="0">
                    <a:pos x="2296" y="27"/>
                  </a:cxn>
                  <a:cxn ang="0">
                    <a:pos x="2573" y="93"/>
                  </a:cxn>
                  <a:cxn ang="0">
                    <a:pos x="2838" y="199"/>
                  </a:cxn>
                  <a:cxn ang="0">
                    <a:pos x="3086" y="341"/>
                  </a:cxn>
                  <a:cxn ang="0">
                    <a:pos x="3310" y="517"/>
                  </a:cxn>
                  <a:cxn ang="0">
                    <a:pos x="3509" y="727"/>
                  </a:cxn>
                  <a:cxn ang="0">
                    <a:pos x="3677" y="968"/>
                  </a:cxn>
                  <a:cxn ang="0">
                    <a:pos x="3811" y="1239"/>
                  </a:cxn>
                  <a:cxn ang="0">
                    <a:pos x="3856" y="1364"/>
                  </a:cxn>
                  <a:cxn ang="0">
                    <a:pos x="3893" y="1490"/>
                  </a:cxn>
                  <a:cxn ang="0">
                    <a:pos x="3920" y="1617"/>
                  </a:cxn>
                  <a:cxn ang="0">
                    <a:pos x="3940" y="1744"/>
                  </a:cxn>
                  <a:cxn ang="0">
                    <a:pos x="3950" y="1871"/>
                  </a:cxn>
                  <a:cxn ang="0">
                    <a:pos x="3953" y="1998"/>
                  </a:cxn>
                  <a:cxn ang="0">
                    <a:pos x="3947" y="2123"/>
                  </a:cxn>
                  <a:cxn ang="0">
                    <a:pos x="3933" y="2249"/>
                  </a:cxn>
                  <a:cxn ang="0">
                    <a:pos x="3912" y="2372"/>
                  </a:cxn>
                  <a:cxn ang="0">
                    <a:pos x="3882" y="2494"/>
                  </a:cxn>
                  <a:cxn ang="0">
                    <a:pos x="3809" y="2742"/>
                  </a:cxn>
                  <a:cxn ang="0">
                    <a:pos x="3693" y="3249"/>
                  </a:cxn>
                  <a:cxn ang="0">
                    <a:pos x="3626" y="3756"/>
                  </a:cxn>
                  <a:cxn ang="0">
                    <a:pos x="3605" y="4264"/>
                  </a:cxn>
                  <a:cxn ang="0">
                    <a:pos x="3623" y="4770"/>
                  </a:cxn>
                  <a:cxn ang="0">
                    <a:pos x="3675" y="5276"/>
                  </a:cxn>
                  <a:cxn ang="0">
                    <a:pos x="3758" y="5780"/>
                  </a:cxn>
                  <a:cxn ang="0">
                    <a:pos x="3864" y="6282"/>
                  </a:cxn>
                  <a:cxn ang="0">
                    <a:pos x="3991" y="6781"/>
                  </a:cxn>
                  <a:cxn ang="0">
                    <a:pos x="4130" y="7278"/>
                  </a:cxn>
                  <a:cxn ang="0">
                    <a:pos x="4279" y="7771"/>
                  </a:cxn>
                  <a:cxn ang="0">
                    <a:pos x="4318" y="7913"/>
                  </a:cxn>
                  <a:cxn ang="0">
                    <a:pos x="4192" y="7656"/>
                  </a:cxn>
                  <a:cxn ang="0">
                    <a:pos x="3944" y="7179"/>
                  </a:cxn>
                  <a:cxn ang="0">
                    <a:pos x="3689" y="6718"/>
                  </a:cxn>
                  <a:cxn ang="0">
                    <a:pos x="3382" y="6202"/>
                  </a:cxn>
                  <a:cxn ang="0">
                    <a:pos x="3034" y="5663"/>
                  </a:cxn>
                  <a:cxn ang="0">
                    <a:pos x="2648" y="5130"/>
                  </a:cxn>
                  <a:cxn ang="0">
                    <a:pos x="2235" y="4634"/>
                  </a:cxn>
                  <a:cxn ang="0">
                    <a:pos x="1800" y="4206"/>
                  </a:cxn>
                  <a:cxn ang="0">
                    <a:pos x="1352" y="3875"/>
                  </a:cxn>
                  <a:cxn ang="0">
                    <a:pos x="1117" y="3749"/>
                  </a:cxn>
                  <a:cxn ang="0">
                    <a:pos x="993" y="3677"/>
                  </a:cxn>
                  <a:cxn ang="0">
                    <a:pos x="873" y="3600"/>
                  </a:cxn>
                  <a:cxn ang="0">
                    <a:pos x="758" y="3514"/>
                  </a:cxn>
                  <a:cxn ang="0">
                    <a:pos x="648" y="3422"/>
                  </a:cxn>
                  <a:cxn ang="0">
                    <a:pos x="544" y="3323"/>
                  </a:cxn>
                  <a:cxn ang="0">
                    <a:pos x="447" y="3217"/>
                  </a:cxn>
                  <a:cxn ang="0">
                    <a:pos x="357" y="3103"/>
                  </a:cxn>
                  <a:cxn ang="0">
                    <a:pos x="276" y="2980"/>
                  </a:cxn>
                  <a:cxn ang="0">
                    <a:pos x="204" y="2851"/>
                  </a:cxn>
                  <a:cxn ang="0">
                    <a:pos x="142" y="2713"/>
                  </a:cxn>
                  <a:cxn ang="0">
                    <a:pos x="51" y="2425"/>
                  </a:cxn>
                  <a:cxn ang="0">
                    <a:pos x="6" y="2136"/>
                  </a:cxn>
                  <a:cxn ang="0">
                    <a:pos x="4" y="1846"/>
                  </a:cxn>
                  <a:cxn ang="0">
                    <a:pos x="45" y="1562"/>
                  </a:cxn>
                  <a:cxn ang="0">
                    <a:pos x="124" y="1289"/>
                  </a:cxn>
                  <a:cxn ang="0">
                    <a:pos x="243" y="1029"/>
                  </a:cxn>
                  <a:cxn ang="0">
                    <a:pos x="397" y="790"/>
                  </a:cxn>
                  <a:cxn ang="0">
                    <a:pos x="585" y="572"/>
                  </a:cxn>
                  <a:cxn ang="0">
                    <a:pos x="805" y="384"/>
                  </a:cxn>
                  <a:cxn ang="0">
                    <a:pos x="1056" y="227"/>
                  </a:cxn>
                </a:cxnLst>
                <a:rect l="0" t="0" r="r" b="b"/>
                <a:pathLst>
                  <a:path w="4330" h="7934">
                    <a:moveTo>
                      <a:pt x="1240" y="142"/>
                    </a:moveTo>
                    <a:lnTo>
                      <a:pt x="1335" y="106"/>
                    </a:lnTo>
                    <a:lnTo>
                      <a:pt x="1431" y="75"/>
                    </a:lnTo>
                    <a:lnTo>
                      <a:pt x="1526" y="51"/>
                    </a:lnTo>
                    <a:lnTo>
                      <a:pt x="1623" y="31"/>
                    </a:lnTo>
                    <a:lnTo>
                      <a:pt x="1720" y="15"/>
                    </a:lnTo>
                    <a:lnTo>
                      <a:pt x="1817" y="5"/>
                    </a:lnTo>
                    <a:lnTo>
                      <a:pt x="1914" y="0"/>
                    </a:lnTo>
                    <a:lnTo>
                      <a:pt x="2010" y="0"/>
                    </a:lnTo>
                    <a:lnTo>
                      <a:pt x="2106" y="4"/>
                    </a:lnTo>
                    <a:lnTo>
                      <a:pt x="2202" y="13"/>
                    </a:lnTo>
                    <a:lnTo>
                      <a:pt x="2296" y="27"/>
                    </a:lnTo>
                    <a:lnTo>
                      <a:pt x="2390" y="44"/>
                    </a:lnTo>
                    <a:lnTo>
                      <a:pt x="2483" y="66"/>
                    </a:lnTo>
                    <a:lnTo>
                      <a:pt x="2573" y="93"/>
                    </a:lnTo>
                    <a:lnTo>
                      <a:pt x="2663" y="124"/>
                    </a:lnTo>
                    <a:lnTo>
                      <a:pt x="2752" y="159"/>
                    </a:lnTo>
                    <a:lnTo>
                      <a:pt x="2838" y="199"/>
                    </a:lnTo>
                    <a:lnTo>
                      <a:pt x="2922" y="242"/>
                    </a:lnTo>
                    <a:lnTo>
                      <a:pt x="3005" y="290"/>
                    </a:lnTo>
                    <a:lnTo>
                      <a:pt x="3086" y="341"/>
                    </a:lnTo>
                    <a:lnTo>
                      <a:pt x="3163" y="396"/>
                    </a:lnTo>
                    <a:lnTo>
                      <a:pt x="3238" y="455"/>
                    </a:lnTo>
                    <a:lnTo>
                      <a:pt x="3310" y="517"/>
                    </a:lnTo>
                    <a:lnTo>
                      <a:pt x="3379" y="585"/>
                    </a:lnTo>
                    <a:lnTo>
                      <a:pt x="3446" y="654"/>
                    </a:lnTo>
                    <a:lnTo>
                      <a:pt x="3509" y="727"/>
                    </a:lnTo>
                    <a:lnTo>
                      <a:pt x="3569" y="805"/>
                    </a:lnTo>
                    <a:lnTo>
                      <a:pt x="3625" y="885"/>
                    </a:lnTo>
                    <a:lnTo>
                      <a:pt x="3677" y="968"/>
                    </a:lnTo>
                    <a:lnTo>
                      <a:pt x="3726" y="1056"/>
                    </a:lnTo>
                    <a:lnTo>
                      <a:pt x="3770" y="1146"/>
                    </a:lnTo>
                    <a:lnTo>
                      <a:pt x="3811" y="1239"/>
                    </a:lnTo>
                    <a:lnTo>
                      <a:pt x="3826" y="1280"/>
                    </a:lnTo>
                    <a:lnTo>
                      <a:pt x="3842" y="1322"/>
                    </a:lnTo>
                    <a:lnTo>
                      <a:pt x="3856" y="1364"/>
                    </a:lnTo>
                    <a:lnTo>
                      <a:pt x="3869" y="1406"/>
                    </a:lnTo>
                    <a:lnTo>
                      <a:pt x="3881" y="1448"/>
                    </a:lnTo>
                    <a:lnTo>
                      <a:pt x="3893" y="1490"/>
                    </a:lnTo>
                    <a:lnTo>
                      <a:pt x="3903" y="1533"/>
                    </a:lnTo>
                    <a:lnTo>
                      <a:pt x="3912" y="1574"/>
                    </a:lnTo>
                    <a:lnTo>
                      <a:pt x="3920" y="1617"/>
                    </a:lnTo>
                    <a:lnTo>
                      <a:pt x="3927" y="1659"/>
                    </a:lnTo>
                    <a:lnTo>
                      <a:pt x="3935" y="1702"/>
                    </a:lnTo>
                    <a:lnTo>
                      <a:pt x="3940" y="1744"/>
                    </a:lnTo>
                    <a:lnTo>
                      <a:pt x="3944" y="1787"/>
                    </a:lnTo>
                    <a:lnTo>
                      <a:pt x="3948" y="1828"/>
                    </a:lnTo>
                    <a:lnTo>
                      <a:pt x="3950" y="1871"/>
                    </a:lnTo>
                    <a:lnTo>
                      <a:pt x="3952" y="1913"/>
                    </a:lnTo>
                    <a:lnTo>
                      <a:pt x="3953" y="1956"/>
                    </a:lnTo>
                    <a:lnTo>
                      <a:pt x="3953" y="1998"/>
                    </a:lnTo>
                    <a:lnTo>
                      <a:pt x="3952" y="2040"/>
                    </a:lnTo>
                    <a:lnTo>
                      <a:pt x="3950" y="2081"/>
                    </a:lnTo>
                    <a:lnTo>
                      <a:pt x="3947" y="2123"/>
                    </a:lnTo>
                    <a:lnTo>
                      <a:pt x="3944" y="2165"/>
                    </a:lnTo>
                    <a:lnTo>
                      <a:pt x="3939" y="2207"/>
                    </a:lnTo>
                    <a:lnTo>
                      <a:pt x="3933" y="2249"/>
                    </a:lnTo>
                    <a:lnTo>
                      <a:pt x="3927" y="2290"/>
                    </a:lnTo>
                    <a:lnTo>
                      <a:pt x="3920" y="2331"/>
                    </a:lnTo>
                    <a:lnTo>
                      <a:pt x="3912" y="2372"/>
                    </a:lnTo>
                    <a:lnTo>
                      <a:pt x="3903" y="2413"/>
                    </a:lnTo>
                    <a:lnTo>
                      <a:pt x="3894" y="2453"/>
                    </a:lnTo>
                    <a:lnTo>
                      <a:pt x="3882" y="2494"/>
                    </a:lnTo>
                    <a:lnTo>
                      <a:pt x="3871" y="2533"/>
                    </a:lnTo>
                    <a:lnTo>
                      <a:pt x="3859" y="2573"/>
                    </a:lnTo>
                    <a:lnTo>
                      <a:pt x="3809" y="2742"/>
                    </a:lnTo>
                    <a:lnTo>
                      <a:pt x="3764" y="2911"/>
                    </a:lnTo>
                    <a:lnTo>
                      <a:pt x="3725" y="3080"/>
                    </a:lnTo>
                    <a:lnTo>
                      <a:pt x="3693" y="3249"/>
                    </a:lnTo>
                    <a:lnTo>
                      <a:pt x="3665" y="3418"/>
                    </a:lnTo>
                    <a:lnTo>
                      <a:pt x="3644" y="3587"/>
                    </a:lnTo>
                    <a:lnTo>
                      <a:pt x="3626" y="3756"/>
                    </a:lnTo>
                    <a:lnTo>
                      <a:pt x="3614" y="3925"/>
                    </a:lnTo>
                    <a:lnTo>
                      <a:pt x="3607" y="4095"/>
                    </a:lnTo>
                    <a:lnTo>
                      <a:pt x="3605" y="4264"/>
                    </a:lnTo>
                    <a:lnTo>
                      <a:pt x="3607" y="4432"/>
                    </a:lnTo>
                    <a:lnTo>
                      <a:pt x="3613" y="4602"/>
                    </a:lnTo>
                    <a:lnTo>
                      <a:pt x="3623" y="4770"/>
                    </a:lnTo>
                    <a:lnTo>
                      <a:pt x="3637" y="4939"/>
                    </a:lnTo>
                    <a:lnTo>
                      <a:pt x="3655" y="5108"/>
                    </a:lnTo>
                    <a:lnTo>
                      <a:pt x="3675" y="5276"/>
                    </a:lnTo>
                    <a:lnTo>
                      <a:pt x="3700" y="5444"/>
                    </a:lnTo>
                    <a:lnTo>
                      <a:pt x="3727" y="5613"/>
                    </a:lnTo>
                    <a:lnTo>
                      <a:pt x="3758" y="5780"/>
                    </a:lnTo>
                    <a:lnTo>
                      <a:pt x="3791" y="5947"/>
                    </a:lnTo>
                    <a:lnTo>
                      <a:pt x="3826" y="6115"/>
                    </a:lnTo>
                    <a:lnTo>
                      <a:pt x="3864" y="6282"/>
                    </a:lnTo>
                    <a:lnTo>
                      <a:pt x="3905" y="6448"/>
                    </a:lnTo>
                    <a:lnTo>
                      <a:pt x="3947" y="6616"/>
                    </a:lnTo>
                    <a:lnTo>
                      <a:pt x="3991" y="6781"/>
                    </a:lnTo>
                    <a:lnTo>
                      <a:pt x="4036" y="6947"/>
                    </a:lnTo>
                    <a:lnTo>
                      <a:pt x="4082" y="7113"/>
                    </a:lnTo>
                    <a:lnTo>
                      <a:pt x="4130" y="7278"/>
                    </a:lnTo>
                    <a:lnTo>
                      <a:pt x="4179" y="7442"/>
                    </a:lnTo>
                    <a:lnTo>
                      <a:pt x="4229" y="7606"/>
                    </a:lnTo>
                    <a:lnTo>
                      <a:pt x="4279" y="7771"/>
                    </a:lnTo>
                    <a:lnTo>
                      <a:pt x="4330" y="7934"/>
                    </a:lnTo>
                    <a:lnTo>
                      <a:pt x="4329" y="7933"/>
                    </a:lnTo>
                    <a:lnTo>
                      <a:pt x="4318" y="7913"/>
                    </a:lnTo>
                    <a:lnTo>
                      <a:pt x="4299" y="7873"/>
                    </a:lnTo>
                    <a:lnTo>
                      <a:pt x="4271" y="7817"/>
                    </a:lnTo>
                    <a:lnTo>
                      <a:pt x="4192" y="7656"/>
                    </a:lnTo>
                    <a:lnTo>
                      <a:pt x="4081" y="7441"/>
                    </a:lnTo>
                    <a:lnTo>
                      <a:pt x="4016" y="7316"/>
                    </a:lnTo>
                    <a:lnTo>
                      <a:pt x="3944" y="7179"/>
                    </a:lnTo>
                    <a:lnTo>
                      <a:pt x="3864" y="7033"/>
                    </a:lnTo>
                    <a:lnTo>
                      <a:pt x="3779" y="6879"/>
                    </a:lnTo>
                    <a:lnTo>
                      <a:pt x="3689" y="6718"/>
                    </a:lnTo>
                    <a:lnTo>
                      <a:pt x="3592" y="6550"/>
                    </a:lnTo>
                    <a:lnTo>
                      <a:pt x="3490" y="6378"/>
                    </a:lnTo>
                    <a:lnTo>
                      <a:pt x="3382" y="6202"/>
                    </a:lnTo>
                    <a:lnTo>
                      <a:pt x="3270" y="6024"/>
                    </a:lnTo>
                    <a:lnTo>
                      <a:pt x="3154" y="5843"/>
                    </a:lnTo>
                    <a:lnTo>
                      <a:pt x="3034" y="5663"/>
                    </a:lnTo>
                    <a:lnTo>
                      <a:pt x="2908" y="5483"/>
                    </a:lnTo>
                    <a:lnTo>
                      <a:pt x="2780" y="5305"/>
                    </a:lnTo>
                    <a:lnTo>
                      <a:pt x="2648" y="5130"/>
                    </a:lnTo>
                    <a:lnTo>
                      <a:pt x="2513" y="4960"/>
                    </a:lnTo>
                    <a:lnTo>
                      <a:pt x="2375" y="4793"/>
                    </a:lnTo>
                    <a:lnTo>
                      <a:pt x="2235" y="4634"/>
                    </a:lnTo>
                    <a:lnTo>
                      <a:pt x="2092" y="4482"/>
                    </a:lnTo>
                    <a:lnTo>
                      <a:pt x="1947" y="4339"/>
                    </a:lnTo>
                    <a:lnTo>
                      <a:pt x="1800" y="4206"/>
                    </a:lnTo>
                    <a:lnTo>
                      <a:pt x="1652" y="4083"/>
                    </a:lnTo>
                    <a:lnTo>
                      <a:pt x="1503" y="3973"/>
                    </a:lnTo>
                    <a:lnTo>
                      <a:pt x="1352" y="3875"/>
                    </a:lnTo>
                    <a:lnTo>
                      <a:pt x="1201" y="3792"/>
                    </a:lnTo>
                    <a:lnTo>
                      <a:pt x="1159" y="3771"/>
                    </a:lnTo>
                    <a:lnTo>
                      <a:pt x="1117" y="3749"/>
                    </a:lnTo>
                    <a:lnTo>
                      <a:pt x="1075" y="3725"/>
                    </a:lnTo>
                    <a:lnTo>
                      <a:pt x="1034" y="3702"/>
                    </a:lnTo>
                    <a:lnTo>
                      <a:pt x="993" y="3677"/>
                    </a:lnTo>
                    <a:lnTo>
                      <a:pt x="953" y="3652"/>
                    </a:lnTo>
                    <a:lnTo>
                      <a:pt x="912" y="3626"/>
                    </a:lnTo>
                    <a:lnTo>
                      <a:pt x="873" y="3600"/>
                    </a:lnTo>
                    <a:lnTo>
                      <a:pt x="834" y="3572"/>
                    </a:lnTo>
                    <a:lnTo>
                      <a:pt x="796" y="3544"/>
                    </a:lnTo>
                    <a:lnTo>
                      <a:pt x="758" y="3514"/>
                    </a:lnTo>
                    <a:lnTo>
                      <a:pt x="720" y="3484"/>
                    </a:lnTo>
                    <a:lnTo>
                      <a:pt x="684" y="3454"/>
                    </a:lnTo>
                    <a:lnTo>
                      <a:pt x="648" y="3422"/>
                    </a:lnTo>
                    <a:lnTo>
                      <a:pt x="612" y="3390"/>
                    </a:lnTo>
                    <a:lnTo>
                      <a:pt x="577" y="3357"/>
                    </a:lnTo>
                    <a:lnTo>
                      <a:pt x="544" y="3323"/>
                    </a:lnTo>
                    <a:lnTo>
                      <a:pt x="511" y="3288"/>
                    </a:lnTo>
                    <a:lnTo>
                      <a:pt x="479" y="3253"/>
                    </a:lnTo>
                    <a:lnTo>
                      <a:pt x="447" y="3217"/>
                    </a:lnTo>
                    <a:lnTo>
                      <a:pt x="416" y="3179"/>
                    </a:lnTo>
                    <a:lnTo>
                      <a:pt x="387" y="3142"/>
                    </a:lnTo>
                    <a:lnTo>
                      <a:pt x="357" y="3103"/>
                    </a:lnTo>
                    <a:lnTo>
                      <a:pt x="330" y="3063"/>
                    </a:lnTo>
                    <a:lnTo>
                      <a:pt x="302" y="3022"/>
                    </a:lnTo>
                    <a:lnTo>
                      <a:pt x="276" y="2980"/>
                    </a:lnTo>
                    <a:lnTo>
                      <a:pt x="251" y="2938"/>
                    </a:lnTo>
                    <a:lnTo>
                      <a:pt x="227" y="2895"/>
                    </a:lnTo>
                    <a:lnTo>
                      <a:pt x="204" y="2851"/>
                    </a:lnTo>
                    <a:lnTo>
                      <a:pt x="183" y="2806"/>
                    </a:lnTo>
                    <a:lnTo>
                      <a:pt x="162" y="2760"/>
                    </a:lnTo>
                    <a:lnTo>
                      <a:pt x="142" y="2713"/>
                    </a:lnTo>
                    <a:lnTo>
                      <a:pt x="107" y="2618"/>
                    </a:lnTo>
                    <a:lnTo>
                      <a:pt x="76" y="2522"/>
                    </a:lnTo>
                    <a:lnTo>
                      <a:pt x="51" y="2425"/>
                    </a:lnTo>
                    <a:lnTo>
                      <a:pt x="32" y="2329"/>
                    </a:lnTo>
                    <a:lnTo>
                      <a:pt x="16" y="2232"/>
                    </a:lnTo>
                    <a:lnTo>
                      <a:pt x="6" y="2136"/>
                    </a:lnTo>
                    <a:lnTo>
                      <a:pt x="1" y="2039"/>
                    </a:lnTo>
                    <a:lnTo>
                      <a:pt x="0" y="1942"/>
                    </a:lnTo>
                    <a:lnTo>
                      <a:pt x="4" y="1846"/>
                    </a:lnTo>
                    <a:lnTo>
                      <a:pt x="13" y="1751"/>
                    </a:lnTo>
                    <a:lnTo>
                      <a:pt x="26" y="1656"/>
                    </a:lnTo>
                    <a:lnTo>
                      <a:pt x="45" y="1562"/>
                    </a:lnTo>
                    <a:lnTo>
                      <a:pt x="67" y="1470"/>
                    </a:lnTo>
                    <a:lnTo>
                      <a:pt x="94" y="1378"/>
                    </a:lnTo>
                    <a:lnTo>
                      <a:pt x="124" y="1289"/>
                    </a:lnTo>
                    <a:lnTo>
                      <a:pt x="160" y="1201"/>
                    </a:lnTo>
                    <a:lnTo>
                      <a:pt x="199" y="1114"/>
                    </a:lnTo>
                    <a:lnTo>
                      <a:pt x="243" y="1029"/>
                    </a:lnTo>
                    <a:lnTo>
                      <a:pt x="290" y="947"/>
                    </a:lnTo>
                    <a:lnTo>
                      <a:pt x="341" y="867"/>
                    </a:lnTo>
                    <a:lnTo>
                      <a:pt x="397" y="790"/>
                    </a:lnTo>
                    <a:lnTo>
                      <a:pt x="455" y="714"/>
                    </a:lnTo>
                    <a:lnTo>
                      <a:pt x="518" y="642"/>
                    </a:lnTo>
                    <a:lnTo>
                      <a:pt x="585" y="572"/>
                    </a:lnTo>
                    <a:lnTo>
                      <a:pt x="655" y="506"/>
                    </a:lnTo>
                    <a:lnTo>
                      <a:pt x="728" y="443"/>
                    </a:lnTo>
                    <a:lnTo>
                      <a:pt x="805" y="384"/>
                    </a:lnTo>
                    <a:lnTo>
                      <a:pt x="886" y="328"/>
                    </a:lnTo>
                    <a:lnTo>
                      <a:pt x="969" y="274"/>
                    </a:lnTo>
                    <a:lnTo>
                      <a:pt x="1056" y="227"/>
                    </a:lnTo>
                    <a:lnTo>
                      <a:pt x="1146" y="182"/>
                    </a:lnTo>
                    <a:lnTo>
                      <a:pt x="1240" y="142"/>
                    </a:lnTo>
                    <a:close/>
                  </a:path>
                </a:pathLst>
              </a:custGeom>
              <a:gradFill flip="none" rotWithShape="1">
                <a:gsLst>
                  <a:gs pos="0">
                    <a:srgbClr val="2A9B18">
                      <a:shade val="30000"/>
                      <a:satMod val="115000"/>
                    </a:srgbClr>
                  </a:gs>
                  <a:gs pos="100000">
                    <a:srgbClr val="2A9B18">
                      <a:shade val="100000"/>
                      <a:satMod val="115000"/>
                    </a:srgbClr>
                  </a:gs>
                </a:gsLst>
                <a:lin ang="135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72" name="Oval 71"/>
              <p:cNvSpPr/>
              <p:nvPr/>
            </p:nvSpPr>
            <p:spPr>
              <a:xfrm flipV="1">
                <a:off x="7128300" y="2206820"/>
                <a:ext cx="687491" cy="623788"/>
              </a:xfrm>
              <a:prstGeom prst="ellipse">
                <a:avLst/>
              </a:prstGeom>
              <a:gradFill>
                <a:gsLst>
                  <a:gs pos="0">
                    <a:schemeClr val="bg1">
                      <a:alpha val="0"/>
                    </a:schemeClr>
                  </a:gs>
                  <a:gs pos="100000">
                    <a:schemeClr val="bg1">
                      <a:alpha val="30000"/>
                    </a:schemeClr>
                  </a:gs>
                  <a:gs pos="100000">
                    <a:schemeClr val="accent1">
                      <a:tint val="23500"/>
                      <a:satMod val="160000"/>
                      <a:alpha val="41000"/>
                    </a:schemeClr>
                  </a:gs>
                  <a:gs pos="100000">
                    <a:schemeClr val="accent1">
                      <a:tint val="23500"/>
                      <a:satMod val="160000"/>
                      <a:alpha val="0"/>
                    </a:schemeClr>
                  </a:gs>
                </a:gsLst>
                <a:lin ang="5400000" scaled="1"/>
              </a:gradFill>
              <a:ln>
                <a:noFill/>
              </a:ln>
              <a:effectLst>
                <a:outerShdw blurRad="114300" sx="104000" sy="104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srgbClr val="FFFFFF"/>
                  </a:solidFill>
                  <a:cs typeface="Arial" charset="0"/>
                </a:endParaRPr>
              </a:p>
            </p:txBody>
          </p:sp>
        </p:grpSp>
      </p:grpSp>
      <p:sp>
        <p:nvSpPr>
          <p:cNvPr id="75" name="TextBox 74"/>
          <p:cNvSpPr txBox="1"/>
          <p:nvPr/>
        </p:nvSpPr>
        <p:spPr>
          <a:xfrm>
            <a:off x="7480092" y="6397401"/>
            <a:ext cx="1357403" cy="369332"/>
          </a:xfrm>
          <a:prstGeom prst="rect">
            <a:avLst/>
          </a:prstGeom>
          <a:solidFill>
            <a:schemeClr val="bg1">
              <a:lumMod val="95000"/>
            </a:schemeClr>
          </a:solidFill>
        </p:spPr>
        <p:txBody>
          <a:bodyPr wrap="square" rtlCol="0">
            <a:spAutoFit/>
          </a:bodyPr>
          <a:lstStyle/>
          <a:p>
            <a:endParaRPr lang="en-US" dirty="0"/>
          </a:p>
        </p:txBody>
      </p:sp>
      <p:cxnSp>
        <p:nvCxnSpPr>
          <p:cNvPr id="76" name="Straight Connector 75"/>
          <p:cNvCxnSpPr/>
          <p:nvPr/>
        </p:nvCxnSpPr>
        <p:spPr>
          <a:xfrm rot="10800000" flipV="1">
            <a:off x="2232983" y="1270365"/>
            <a:ext cx="4647502" cy="2"/>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1236320750"/>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2"/>
                                        </p:tgtEl>
                                        <p:attrNameLst>
                                          <p:attrName>style.visibility</p:attrName>
                                        </p:attrNameLst>
                                      </p:cBhvr>
                                      <p:to>
                                        <p:strVal val="visible"/>
                                      </p:to>
                                    </p:set>
                                    <p:animEffect transition="in" filter="fade">
                                      <p:cBhvr>
                                        <p:cTn id="10" dur="1000"/>
                                        <p:tgtEl>
                                          <p:spTgt spid="2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4"/>
                                        </p:tgtEl>
                                        <p:attrNameLst>
                                          <p:attrName>style.visibility</p:attrName>
                                        </p:attrNameLst>
                                      </p:cBhvr>
                                      <p:to>
                                        <p:strVal val="visible"/>
                                      </p:to>
                                    </p:set>
                                    <p:animEffect transition="in" filter="fade">
                                      <p:cBhvr>
                                        <p:cTn id="13" dur="1000"/>
                                        <p:tgtEl>
                                          <p:spTgt spid="23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6"/>
                                        </p:tgtEl>
                                        <p:attrNameLst>
                                          <p:attrName>style.visibility</p:attrName>
                                        </p:attrNameLst>
                                      </p:cBhvr>
                                      <p:to>
                                        <p:strVal val="visible"/>
                                      </p:to>
                                    </p:set>
                                    <p:animEffect transition="in" filter="fade">
                                      <p:cBhvr>
                                        <p:cTn id="16" dur="1000"/>
                                        <p:tgtEl>
                                          <p:spTgt spid="2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32" grpId="0" animBg="1"/>
      <p:bldP spid="234" grpId="0" animBg="1"/>
      <p:bldP spid="23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xmlns="" val="3043410389"/>
              </p:ext>
            </p:extLst>
          </p:nvPr>
        </p:nvGraphicFramePr>
        <p:xfrm>
          <a:off x="1588" y="1588"/>
          <a:ext cx="1587" cy="1587"/>
        </p:xfrm>
        <a:graphic>
          <a:graphicData uri="http://schemas.openxmlformats.org/presentationml/2006/ole">
            <p:oleObj spid="_x0000_s13329" name="think-cell Slide" r:id="rId5" imgW="360" imgH="360" progId="">
              <p:embed/>
            </p:oleObj>
          </a:graphicData>
        </a:graphic>
      </p:graphicFrame>
      <p:grpSp>
        <p:nvGrpSpPr>
          <p:cNvPr id="2" name="Group 1"/>
          <p:cNvGrpSpPr/>
          <p:nvPr/>
        </p:nvGrpSpPr>
        <p:grpSpPr>
          <a:xfrm>
            <a:off x="38558" y="-122994"/>
            <a:ext cx="8790649" cy="6529600"/>
            <a:chOff x="1769533" y="751062"/>
            <a:chExt cx="4707467" cy="3483850"/>
          </a:xfrm>
        </p:grpSpPr>
        <p:sp>
          <p:nvSpPr>
            <p:cNvPr id="75" name="Oval 74"/>
            <p:cNvSpPr/>
            <p:nvPr/>
          </p:nvSpPr>
          <p:spPr>
            <a:xfrm>
              <a:off x="2722679" y="4056923"/>
              <a:ext cx="3698643" cy="177989"/>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p>
              <a:pPr algn="ctr"/>
              <a:endParaRPr lang="en-US">
                <a:solidFill>
                  <a:srgbClr val="FFFFFF"/>
                </a:solidFill>
                <a:latin typeface="Calibri" charset="0"/>
                <a:ea typeface="ＭＳ Ｐゴシック" charset="-128"/>
                <a:cs typeface="ＭＳ Ｐゴシック" charset="0"/>
              </a:endParaRPr>
            </a:p>
          </p:txBody>
        </p:sp>
        <p:pic>
          <p:nvPicPr>
            <p:cNvPr id="30" name="Picture 2" descr="D:\OFFICE\logo slideshop.pn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rot="18407532">
              <a:off x="3494190" y="2217894"/>
              <a:ext cx="1325824" cy="300169"/>
            </a:xfrm>
            <a:prstGeom prst="rect">
              <a:avLst/>
            </a:prstGeom>
            <a:noFill/>
            <a:extLst>
              <a:ext uri="{909E8E84-426E-40DD-AFC4-6F175D3DCCD1}">
                <a14:hiddenFill xmlns:a14="http://schemas.microsoft.com/office/drawing/2010/main" xmlns="">
                  <a:solidFill>
                    <a:srgbClr val="FFFFFF"/>
                  </a:solidFill>
                </a14:hiddenFill>
              </a:ext>
            </a:extLst>
          </p:spPr>
        </p:pic>
        <p:sp>
          <p:nvSpPr>
            <p:cNvPr id="54" name="Rectangle 53"/>
            <p:cNvSpPr/>
            <p:nvPr/>
          </p:nvSpPr>
          <p:spPr>
            <a:xfrm>
              <a:off x="2439366" y="1464520"/>
              <a:ext cx="4037634" cy="2770392"/>
            </a:xfrm>
            <a:prstGeom prst="rect">
              <a:avLst/>
            </a:prstGeom>
            <a:gradFill flip="none" rotWithShape="1">
              <a:gsLst>
                <a:gs pos="27000">
                  <a:schemeClr val="bg1"/>
                </a:gs>
                <a:gs pos="0">
                  <a:schemeClr val="bg1">
                    <a:lumMod val="85000"/>
                  </a:schemeClr>
                </a:gs>
              </a:gsLst>
              <a:lin ang="13500000" scaled="1"/>
              <a:tileRect/>
            </a:gradFill>
            <a:ln>
              <a:noFill/>
            </a:ln>
            <a:effectLst>
              <a:outerShdw blurRad="50800" dist="12700" dir="5400000" algn="t"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2667000" y="1728107"/>
              <a:ext cx="3810000" cy="48381"/>
            </a:xfrm>
            <a:prstGeom prst="rect">
              <a:avLst/>
            </a:prstGeom>
            <a:gradFill flip="none" rotWithShape="1">
              <a:gsLst>
                <a:gs pos="18000">
                  <a:srgbClr val="F0B71F"/>
                </a:gs>
                <a:gs pos="55000">
                  <a:srgbClr val="FFC000"/>
                </a:gs>
                <a:gs pos="90000">
                  <a:srgbClr val="ED990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2" name="Picture 51" descr="layer2.png"/>
            <p:cNvPicPr>
              <a:picLocks noChangeAspect="1"/>
            </p:cNvPicPr>
            <p:nvPr/>
          </p:nvPicPr>
          <p:blipFill>
            <a:blip r:embed="rId7">
              <a:extLst>
                <a:ext uri="{BEBA8EAE-BF5A-486C-A8C5-ECC9F3942E4B}">
                  <a14:imgProps xmlns:a14="http://schemas.microsoft.com/office/drawing/2010/main" xmlns="">
                    <a14:imgLayer r:embed="rId8">
                      <a14:imgEffect>
                        <a14:colorTemperature colorTemp="11200"/>
                      </a14:imgEffect>
                      <a14:imgEffect>
                        <a14:saturation sat="105000"/>
                      </a14:imgEffect>
                      <a14:imgEffect>
                        <a14:brightnessContrast bright="-15000" contrast="29000"/>
                      </a14:imgEffect>
                    </a14:imgLayer>
                  </a14:imgProps>
                </a:ext>
                <a:ext uri="{28A0092B-C50C-407E-A947-70E740481C1C}">
                  <a14:useLocalDpi xmlns:a14="http://schemas.microsoft.com/office/drawing/2010/main" xmlns="" val="0"/>
                </a:ext>
              </a:extLst>
            </a:blip>
            <a:srcRect/>
            <a:stretch>
              <a:fillRect/>
            </a:stretch>
          </p:blipFill>
          <p:spPr bwMode="auto">
            <a:xfrm rot="20346305">
              <a:off x="1769533" y="751062"/>
              <a:ext cx="1931350" cy="1448195"/>
            </a:xfrm>
            <a:prstGeom prst="rect">
              <a:avLst/>
            </a:prstGeom>
            <a:noFill/>
            <a:ln>
              <a:noFill/>
            </a:ln>
            <a:effectLst>
              <a:outerShdw blurRad="101600" dist="50800" dir="5400000" algn="t" rotWithShape="0">
                <a:prstClr val="black">
                  <a:alpha val="11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0" name="TextBox 59"/>
            <p:cNvSpPr txBox="1"/>
            <p:nvPr/>
          </p:nvSpPr>
          <p:spPr>
            <a:xfrm>
              <a:off x="3578068" y="3525912"/>
              <a:ext cx="184730" cy="276999"/>
            </a:xfrm>
            <a:prstGeom prst="rect">
              <a:avLst/>
            </a:prstGeom>
            <a:noFill/>
          </p:spPr>
          <p:txBody>
            <a:bodyPr wrap="none">
              <a:spAutoFit/>
            </a:bodyPr>
            <a:lstStyle/>
            <a:p>
              <a:pPr algn="ctr">
                <a:defRPr/>
              </a:pPr>
              <a:endParaRPr lang="en-US" sz="1200" b="1" dirty="0">
                <a:solidFill>
                  <a:srgbClr val="0D65AC"/>
                </a:solidFill>
                <a:latin typeface="Neo Sans Std" pitchFamily="34" charset="0"/>
              </a:endParaRPr>
            </a:p>
          </p:txBody>
        </p:sp>
        <p:sp>
          <p:nvSpPr>
            <p:cNvPr id="61" name="TextBox 41"/>
            <p:cNvSpPr txBox="1">
              <a:spLocks noChangeArrowheads="1"/>
            </p:cNvSpPr>
            <p:nvPr/>
          </p:nvSpPr>
          <p:spPr bwMode="auto">
            <a:xfrm>
              <a:off x="3615610" y="3267519"/>
              <a:ext cx="184731"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endParaRPr lang="en-US" sz="1200" dirty="0">
                <a:solidFill>
                  <a:schemeClr val="tx1">
                    <a:lumMod val="75000"/>
                    <a:lumOff val="25000"/>
                  </a:schemeClr>
                </a:solidFill>
                <a:latin typeface="Neo Sans Std" pitchFamily="34" charset="0"/>
              </a:endParaRPr>
            </a:p>
          </p:txBody>
        </p:sp>
        <p:sp>
          <p:nvSpPr>
            <p:cNvPr id="66" name="Rectangle 65"/>
            <p:cNvSpPr/>
            <p:nvPr/>
          </p:nvSpPr>
          <p:spPr>
            <a:xfrm>
              <a:off x="2667000" y="4009211"/>
              <a:ext cx="3810000" cy="48381"/>
            </a:xfrm>
            <a:prstGeom prst="rect">
              <a:avLst/>
            </a:prstGeom>
            <a:gradFill flip="none" rotWithShape="1">
              <a:gsLst>
                <a:gs pos="18000">
                  <a:srgbClr val="F0B71F"/>
                </a:gs>
                <a:gs pos="55000">
                  <a:srgbClr val="FFC000"/>
                </a:gs>
                <a:gs pos="90000">
                  <a:srgbClr val="ED9901"/>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p:cNvSpPr/>
            <p:nvPr/>
          </p:nvSpPr>
          <p:spPr>
            <a:xfrm>
              <a:off x="2554981" y="2062609"/>
              <a:ext cx="3807050" cy="584775"/>
            </a:xfrm>
            <a:prstGeom prst="rect">
              <a:avLst/>
            </a:prstGeom>
          </p:spPr>
          <p:txBody>
            <a:bodyPr wrap="square">
              <a:spAutoFit/>
            </a:bodyPr>
            <a:lstStyle/>
            <a:p>
              <a:pPr algn="ctr" eaLnBrk="1" fontAlgn="auto" hangingPunct="1">
                <a:spcBef>
                  <a:spcPts val="0"/>
                </a:spcBef>
                <a:spcAft>
                  <a:spcPts val="0"/>
                </a:spcAft>
                <a:defRPr/>
              </a:pPr>
              <a:endParaRPr lang="en-US" sz="3200" b="1" dirty="0">
                <a:ln w="1905"/>
                <a:solidFill>
                  <a:srgbClr val="0B538F"/>
                </a:solidFill>
                <a:latin typeface="Neo Sans Std"/>
                <a:cs typeface="Neo Sans Std"/>
              </a:endParaRPr>
            </a:p>
          </p:txBody>
        </p:sp>
      </p:grpSp>
      <p:sp>
        <p:nvSpPr>
          <p:cNvPr id="19" name="Rectangle 18"/>
          <p:cNvSpPr/>
          <p:nvPr/>
        </p:nvSpPr>
        <p:spPr>
          <a:xfrm>
            <a:off x="1841844" y="1798909"/>
            <a:ext cx="6288846" cy="4478149"/>
          </a:xfrm>
          <a:prstGeom prst="rect">
            <a:avLst/>
          </a:prstGeom>
        </p:spPr>
        <p:txBody>
          <a:bodyPr wrap="square">
            <a:spAutoFit/>
          </a:bodyPr>
          <a:lstStyle/>
          <a:p>
            <a:pPr algn="just">
              <a:buNone/>
            </a:pPr>
            <a:r>
              <a:rPr lang="en-US" sz="1400" b="1" i="1" dirty="0" smtClean="0">
                <a:latin typeface="Candara" pitchFamily="34" charset="0"/>
              </a:rPr>
              <a:t>	</a:t>
            </a:r>
            <a:r>
              <a:rPr lang="en-US" sz="1500" b="1" i="1" dirty="0" smtClean="0">
                <a:latin typeface="Candara" pitchFamily="34" charset="0"/>
              </a:rPr>
              <a:t>In 2011, the State government of Kerala went all out to ensure true public participation in drafting its police law. The draft Bill was first placed on the Kerala police’s website with an email address inviting feedback from the public at large. Some of the suggestions that were received were incorporated into the draft.</a:t>
            </a:r>
          </a:p>
          <a:p>
            <a:pPr algn="just">
              <a:buNone/>
            </a:pPr>
            <a:r>
              <a:rPr lang="en-US" sz="1500" b="1" i="1" dirty="0" smtClean="0">
                <a:latin typeface="Candara" pitchFamily="34" charset="0"/>
              </a:rPr>
              <a:t>Different groups began lobbying MLAs on the contents of the Bill and its possible impact on people. When the draft Bill was introduced in the House, many MLAs knew about it and acknowledged that, it needed to be referred to a select committee.</a:t>
            </a:r>
          </a:p>
          <a:p>
            <a:pPr algn="just">
              <a:buNone/>
            </a:pPr>
            <a:r>
              <a:rPr lang="en-US" sz="1500" b="1" i="1" dirty="0" smtClean="0">
                <a:latin typeface="Candara" pitchFamily="34" charset="0"/>
              </a:rPr>
              <a:t>From October to November 2011, the 19-member Select Committee, headed by the then Home Minister and comprising MLAs from almost every party, decided to tour the State and hold district-wide town hall meetings. Notices were placed in leading newspapers </a:t>
            </a:r>
            <a:r>
              <a:rPr lang="en-US" sz="1500" b="1" i="1" dirty="0" err="1" smtClean="0">
                <a:latin typeface="Candara" pitchFamily="34" charset="0"/>
              </a:rPr>
              <a:t>publicising</a:t>
            </a:r>
            <a:r>
              <a:rPr lang="en-US" sz="1500" b="1" i="1" dirty="0" smtClean="0">
                <a:latin typeface="Candara" pitchFamily="34" charset="0"/>
              </a:rPr>
              <a:t> the committee, its visit and its mandate. In the end, town hall meetings were held in all 14 districts of the State. At least 400-500 people attended every meeting.</a:t>
            </a:r>
          </a:p>
          <a:p>
            <a:pPr algn="just">
              <a:buNone/>
            </a:pPr>
            <a:r>
              <a:rPr lang="en-US" sz="1500" b="1" i="1" dirty="0" smtClean="0">
                <a:latin typeface="Candara" pitchFamily="34" charset="0"/>
              </a:rPr>
              <a:t>The select committee suggested 790 amendments to the original Bill introduced in the House. The Bill was then debated for almost four hours and 240 amendments —many based on the public’s feedback — were accepted and passed</a:t>
            </a:r>
            <a:r>
              <a:rPr lang="en-US" sz="1400" b="1" i="1" dirty="0" smtClean="0">
                <a:latin typeface="Candara" pitchFamily="34" charset="0"/>
              </a:rPr>
              <a:t>					</a:t>
            </a:r>
          </a:p>
        </p:txBody>
      </p:sp>
      <p:sp>
        <p:nvSpPr>
          <p:cNvPr id="20" name="Rectangle 19"/>
          <p:cNvSpPr/>
          <p:nvPr/>
        </p:nvSpPr>
        <p:spPr>
          <a:xfrm>
            <a:off x="472081" y="6417724"/>
            <a:ext cx="4572000" cy="253916"/>
          </a:xfrm>
          <a:prstGeom prst="rect">
            <a:avLst/>
          </a:prstGeom>
        </p:spPr>
        <p:txBody>
          <a:bodyPr>
            <a:spAutoFit/>
          </a:bodyPr>
          <a:lstStyle/>
          <a:p>
            <a:pPr algn="just"/>
            <a:r>
              <a:rPr lang="en-US" sz="1050" b="1" i="1" dirty="0" smtClean="0"/>
              <a:t>What deters the unveiling of Legislative Process?</a:t>
            </a:r>
            <a:endParaRPr lang="en-US" sz="1050" b="1" dirty="0">
              <a:solidFill>
                <a:schemeClr val="accent1">
                  <a:lumMod val="75000"/>
                </a:schemeClr>
              </a:solidFill>
              <a:latin typeface="Neo Sans Std Medium" pitchFamily="34" charset="0"/>
            </a:endParaRPr>
          </a:p>
        </p:txBody>
      </p:sp>
      <p:sp>
        <p:nvSpPr>
          <p:cNvPr id="16" name="TextBox 15"/>
          <p:cNvSpPr txBox="1"/>
          <p:nvPr/>
        </p:nvSpPr>
        <p:spPr>
          <a:xfrm>
            <a:off x="3187255" y="539646"/>
            <a:ext cx="4277847" cy="461665"/>
          </a:xfrm>
          <a:prstGeom prst="rect">
            <a:avLst/>
          </a:prstGeom>
          <a:noFill/>
        </p:spPr>
        <p:txBody>
          <a:bodyPr wrap="square" rtlCol="0">
            <a:spAutoFit/>
          </a:bodyPr>
          <a:lstStyle/>
          <a:p>
            <a:pPr algn="ctr"/>
            <a:r>
              <a:rPr lang="en-US" sz="2400" b="1" dirty="0" smtClean="0">
                <a:solidFill>
                  <a:srgbClr val="0070C0"/>
                </a:solidFill>
              </a:rPr>
              <a:t>Kerala Police Reforms Act</a:t>
            </a:r>
            <a:endParaRPr lang="en-US" sz="2400" b="1" dirty="0">
              <a:solidFill>
                <a:srgbClr val="0070C0"/>
              </a:solidFill>
            </a:endParaRPr>
          </a:p>
        </p:txBody>
      </p:sp>
      <p:cxnSp>
        <p:nvCxnSpPr>
          <p:cNvPr id="17" name="Straight Connector 16"/>
          <p:cNvCxnSpPr/>
          <p:nvPr/>
        </p:nvCxnSpPr>
        <p:spPr>
          <a:xfrm rot="10800000">
            <a:off x="3187256" y="1001310"/>
            <a:ext cx="4277847" cy="3"/>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5465636" y="6417724"/>
            <a:ext cx="3148880" cy="276999"/>
          </a:xfrm>
          <a:prstGeom prst="rect">
            <a:avLst/>
          </a:prstGeom>
          <a:noFill/>
        </p:spPr>
        <p:txBody>
          <a:bodyPr wrap="square" rtlCol="0">
            <a:spAutoFit/>
          </a:bodyPr>
          <a:lstStyle/>
          <a:p>
            <a:r>
              <a:rPr lang="en-US" sz="1200" b="1" i="1" dirty="0" smtClean="0"/>
              <a:t>Source: The Hindu, 21</a:t>
            </a:r>
            <a:r>
              <a:rPr lang="en-US" sz="1200" b="1" i="1" baseline="30000" dirty="0" smtClean="0"/>
              <a:t>st</a:t>
            </a:r>
            <a:r>
              <a:rPr lang="en-US" sz="1200" b="1" i="1" dirty="0" smtClean="0"/>
              <a:t> February, 2014</a:t>
            </a:r>
            <a:endParaRPr lang="en-US" sz="1200" b="1" i="1" dirty="0"/>
          </a:p>
        </p:txBody>
      </p:sp>
    </p:spTree>
    <p:extLst>
      <p:ext uri="{BB962C8B-B14F-4D97-AF65-F5344CB8AC3E}">
        <p14:creationId xmlns:p14="http://schemas.microsoft.com/office/powerpoint/2010/main" xmlns="" val="2381401152"/>
      </p:ext>
    </p:extLst>
  </p:cSld>
  <p:clrMapOvr>
    <a:masterClrMapping/>
  </p:clrMapOvr>
  <p:transition spd="med">
    <p:plus/>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xmlns="" val="1087555561"/>
              </p:ext>
            </p:extLst>
          </p:nvPr>
        </p:nvGraphicFramePr>
        <p:xfrm>
          <a:off x="1588" y="1588"/>
          <a:ext cx="1587" cy="1587"/>
        </p:xfrm>
        <a:graphic>
          <a:graphicData uri="http://schemas.openxmlformats.org/presentationml/2006/ole">
            <p:oleObj spid="_x0000_s11280" name="think-cell Slide" r:id="rId19" imgW="360" imgH="360" progId="">
              <p:embed/>
            </p:oleObj>
          </a:graphicData>
        </a:graphic>
      </p:graphicFrame>
      <p:sp>
        <p:nvSpPr>
          <p:cNvPr id="352" name="Rectangle 351"/>
          <p:cNvSpPr/>
          <p:nvPr/>
        </p:nvSpPr>
        <p:spPr>
          <a:xfrm>
            <a:off x="1384034" y="2701079"/>
            <a:ext cx="7148406" cy="2732105"/>
          </a:xfrm>
          <a:prstGeom prst="rect">
            <a:avLst/>
          </a:prstGeom>
          <a:solidFill>
            <a:schemeClr val="bg1"/>
          </a:solidFill>
          <a:ln>
            <a:solidFill>
              <a:schemeClr val="bg1"/>
            </a:solidFill>
          </a:ln>
          <a:effectLst>
            <a:innerShdw blurRad="38100">
              <a:prstClr val="black">
                <a:alpha val="78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p>
        </p:txBody>
      </p:sp>
      <p:cxnSp>
        <p:nvCxnSpPr>
          <p:cNvPr id="336" name="Straight Connector 335"/>
          <p:cNvCxnSpPr/>
          <p:nvPr/>
        </p:nvCxnSpPr>
        <p:spPr>
          <a:xfrm rot="16200000">
            <a:off x="3624301" y="4029023"/>
            <a:ext cx="717044" cy="0"/>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3327400" y="559832"/>
            <a:ext cx="2489201" cy="319446"/>
          </a:xfrm>
          <a:prstGeom prst="rect">
            <a:avLst/>
          </a:prstGeom>
          <a:noFill/>
        </p:spPr>
        <p:txBody>
          <a:bodyPr wrap="square" rtlCol="0">
            <a:spAutoFit/>
          </a:bodyPr>
          <a:lstStyle/>
          <a:p>
            <a:pPr algn="ctr">
              <a:lnSpc>
                <a:spcPct val="80000"/>
              </a:lnSpc>
            </a:pPr>
            <a:r>
              <a:rPr lang="en-US" b="1" dirty="0" smtClean="0"/>
              <a:t>CLOSING</a:t>
            </a:r>
          </a:p>
        </p:txBody>
      </p:sp>
      <p:cxnSp>
        <p:nvCxnSpPr>
          <p:cNvPr id="5" name="Straight Connector 4"/>
          <p:cNvCxnSpPr/>
          <p:nvPr/>
        </p:nvCxnSpPr>
        <p:spPr>
          <a:xfrm>
            <a:off x="2921000" y="1073329"/>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p:nvSpPr>
        <p:spPr>
          <a:xfrm>
            <a:off x="3563524" y="2773373"/>
            <a:ext cx="1861600" cy="584775"/>
          </a:xfrm>
          <a:prstGeom prst="rect">
            <a:avLst/>
          </a:prstGeom>
          <a:noFill/>
        </p:spPr>
        <p:txBody>
          <a:bodyPr wrap="none" rtlCol="0">
            <a:spAutoFit/>
          </a:bodyPr>
          <a:lstStyle/>
          <a:p>
            <a:r>
              <a:rPr lang="en-US" sz="3200" dirty="0" smtClean="0">
                <a:latin typeface="+mj-lt"/>
                <a:cs typeface="Market-Regular"/>
              </a:rPr>
              <a:t>Questions</a:t>
            </a:r>
            <a:endParaRPr lang="en-US" sz="3200" dirty="0">
              <a:latin typeface="+mj-lt"/>
              <a:cs typeface="Market-Regular"/>
            </a:endParaRPr>
          </a:p>
        </p:txBody>
      </p:sp>
      <p:sp>
        <p:nvSpPr>
          <p:cNvPr id="12" name="Footer Placeholder 11"/>
          <p:cNvSpPr>
            <a:spLocks noGrp="1"/>
          </p:cNvSpPr>
          <p:nvPr>
            <p:ph type="ftr" sz="quarter" idx="11"/>
          </p:nvPr>
        </p:nvSpPr>
        <p:spPr>
          <a:xfrm>
            <a:off x="343595" y="6373735"/>
            <a:ext cx="3639228" cy="273051"/>
          </a:xfrm>
        </p:spPr>
        <p:txBody>
          <a:bodyPr/>
          <a:lstStyle/>
          <a:p>
            <a:pPr algn="l">
              <a:defRPr/>
            </a:pPr>
            <a:r>
              <a:rPr lang="en-US" sz="1050" b="1" i="1" dirty="0" smtClean="0"/>
              <a:t>What deters the unveiling of Legislative Process?</a:t>
            </a:r>
            <a:endParaRPr lang="en-US" sz="1050" b="1" i="1" dirty="0"/>
          </a:p>
        </p:txBody>
      </p:sp>
      <p:sp>
        <p:nvSpPr>
          <p:cNvPr id="13" name="Slide Number Placeholder 12"/>
          <p:cNvSpPr>
            <a:spLocks noGrp="1"/>
          </p:cNvSpPr>
          <p:nvPr>
            <p:ph type="sldNum" sz="quarter" idx="12"/>
          </p:nvPr>
        </p:nvSpPr>
        <p:spPr/>
        <p:txBody>
          <a:bodyPr/>
          <a:lstStyle/>
          <a:p>
            <a:fld id="{EA72F2ED-C0F1-A14B-BA46-C5847C658EB2}" type="slidenum">
              <a:rPr lang="en-US" smtClean="0"/>
              <a:pPr/>
              <a:t>25</a:t>
            </a:fld>
            <a:endParaRPr lang="en-US" dirty="0"/>
          </a:p>
        </p:txBody>
      </p:sp>
      <p:grpSp>
        <p:nvGrpSpPr>
          <p:cNvPr id="23" name="Group 22"/>
          <p:cNvGrpSpPr/>
          <p:nvPr/>
        </p:nvGrpSpPr>
        <p:grpSpPr>
          <a:xfrm>
            <a:off x="597417" y="1610182"/>
            <a:ext cx="1139456" cy="4212402"/>
            <a:chOff x="2858713" y="1568450"/>
            <a:chExt cx="890265" cy="3291180"/>
          </a:xfrm>
        </p:grpSpPr>
        <p:sp>
          <p:nvSpPr>
            <p:cNvPr id="22" name="Oval 21"/>
            <p:cNvSpPr/>
            <p:nvPr>
              <p:custDataLst>
                <p:tags r:id="rId15"/>
              </p:custDataLst>
            </p:nvPr>
          </p:nvSpPr>
          <p:spPr>
            <a:xfrm>
              <a:off x="2912209" y="4364061"/>
              <a:ext cx="778211" cy="32790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p>
              <a:pPr algn="ctr"/>
              <a:endParaRPr lang="en-US">
                <a:solidFill>
                  <a:srgbClr val="FFFFFF"/>
                </a:solidFill>
                <a:latin typeface="Calibri" charset="0"/>
                <a:ea typeface="ＭＳ Ｐゴシック" charset="-128"/>
                <a:cs typeface="ＭＳ Ｐゴシック" charset="0"/>
              </a:endParaRPr>
            </a:p>
          </p:txBody>
        </p:sp>
        <p:sp>
          <p:nvSpPr>
            <p:cNvPr id="302" name="Oval 301"/>
            <p:cNvSpPr/>
            <p:nvPr>
              <p:custDataLst>
                <p:tags r:id="rId16"/>
              </p:custDataLst>
            </p:nvPr>
          </p:nvSpPr>
          <p:spPr>
            <a:xfrm>
              <a:off x="3028167" y="4499005"/>
              <a:ext cx="466507" cy="36062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p>
              <a:pPr algn="ctr"/>
              <a:endParaRPr lang="en-US">
                <a:solidFill>
                  <a:srgbClr val="FFFFFF"/>
                </a:solidFill>
                <a:latin typeface="Calibri" charset="0"/>
                <a:ea typeface="ＭＳ Ｐゴシック" charset="-128"/>
                <a:cs typeface="ＭＳ Ｐゴシック" charset="0"/>
              </a:endParaRPr>
            </a:p>
          </p:txBody>
        </p:sp>
        <p:grpSp>
          <p:nvGrpSpPr>
            <p:cNvPr id="249" name="Group 248"/>
            <p:cNvGrpSpPr/>
            <p:nvPr>
              <p:custDataLst>
                <p:tags r:id="rId17"/>
              </p:custDataLst>
            </p:nvPr>
          </p:nvGrpSpPr>
          <p:grpSpPr>
            <a:xfrm flipH="1">
              <a:off x="2858713" y="1568450"/>
              <a:ext cx="890265" cy="3245066"/>
              <a:chOff x="2862827" y="3366484"/>
              <a:chExt cx="255778" cy="932325"/>
            </a:xfrm>
          </p:grpSpPr>
          <p:sp>
            <p:nvSpPr>
              <p:cNvPr id="250" name="Freeform 289"/>
              <p:cNvSpPr>
                <a:spLocks/>
              </p:cNvSpPr>
              <p:nvPr/>
            </p:nvSpPr>
            <p:spPr bwMode="auto">
              <a:xfrm>
                <a:off x="2862827" y="3519079"/>
                <a:ext cx="62491" cy="254325"/>
              </a:xfrm>
              <a:custGeom>
                <a:avLst/>
                <a:gdLst>
                  <a:gd name="T0" fmla="*/ 77 w 86"/>
                  <a:gd name="T1" fmla="*/ 1 h 350"/>
                  <a:gd name="T2" fmla="*/ 84 w 86"/>
                  <a:gd name="T3" fmla="*/ 0 h 350"/>
                  <a:gd name="T4" fmla="*/ 84 w 86"/>
                  <a:gd name="T5" fmla="*/ 0 h 350"/>
                  <a:gd name="T6" fmla="*/ 77 w 86"/>
                  <a:gd name="T7" fmla="*/ 3 h 350"/>
                  <a:gd name="T8" fmla="*/ 72 w 86"/>
                  <a:gd name="T9" fmla="*/ 8 h 350"/>
                  <a:gd name="T10" fmla="*/ 68 w 86"/>
                  <a:gd name="T11" fmla="*/ 15 h 350"/>
                  <a:gd name="T12" fmla="*/ 65 w 86"/>
                  <a:gd name="T13" fmla="*/ 22 h 350"/>
                  <a:gd name="T14" fmla="*/ 61 w 86"/>
                  <a:gd name="T15" fmla="*/ 38 h 350"/>
                  <a:gd name="T16" fmla="*/ 60 w 86"/>
                  <a:gd name="T17" fmla="*/ 57 h 350"/>
                  <a:gd name="T18" fmla="*/ 25 w 86"/>
                  <a:gd name="T19" fmla="*/ 199 h 350"/>
                  <a:gd name="T20" fmla="*/ 25 w 86"/>
                  <a:gd name="T21" fmla="*/ 199 h 350"/>
                  <a:gd name="T22" fmla="*/ 26 w 86"/>
                  <a:gd name="T23" fmla="*/ 218 h 350"/>
                  <a:gd name="T24" fmla="*/ 30 w 86"/>
                  <a:gd name="T25" fmla="*/ 238 h 350"/>
                  <a:gd name="T26" fmla="*/ 35 w 86"/>
                  <a:gd name="T27" fmla="*/ 255 h 350"/>
                  <a:gd name="T28" fmla="*/ 40 w 86"/>
                  <a:gd name="T29" fmla="*/ 271 h 350"/>
                  <a:gd name="T30" fmla="*/ 49 w 86"/>
                  <a:gd name="T31" fmla="*/ 287 h 350"/>
                  <a:gd name="T32" fmla="*/ 60 w 86"/>
                  <a:gd name="T33" fmla="*/ 299 h 350"/>
                  <a:gd name="T34" fmla="*/ 72 w 86"/>
                  <a:gd name="T35" fmla="*/ 311 h 350"/>
                  <a:gd name="T36" fmla="*/ 86 w 86"/>
                  <a:gd name="T37" fmla="*/ 322 h 350"/>
                  <a:gd name="T38" fmla="*/ 86 w 86"/>
                  <a:gd name="T39" fmla="*/ 322 h 350"/>
                  <a:gd name="T40" fmla="*/ 75 w 86"/>
                  <a:gd name="T41" fmla="*/ 330 h 350"/>
                  <a:gd name="T42" fmla="*/ 70 w 86"/>
                  <a:gd name="T43" fmla="*/ 343 h 350"/>
                  <a:gd name="T44" fmla="*/ 70 w 86"/>
                  <a:gd name="T45" fmla="*/ 343 h 350"/>
                  <a:gd name="T46" fmla="*/ 68 w 86"/>
                  <a:gd name="T47" fmla="*/ 350 h 350"/>
                  <a:gd name="T48" fmla="*/ 56 w 86"/>
                  <a:gd name="T49" fmla="*/ 332 h 350"/>
                  <a:gd name="T50" fmla="*/ 16 w 86"/>
                  <a:gd name="T51" fmla="*/ 278 h 350"/>
                  <a:gd name="T52" fmla="*/ 16 w 86"/>
                  <a:gd name="T53" fmla="*/ 278 h 350"/>
                  <a:gd name="T54" fmla="*/ 7 w 86"/>
                  <a:gd name="T55" fmla="*/ 259 h 350"/>
                  <a:gd name="T56" fmla="*/ 2 w 86"/>
                  <a:gd name="T57" fmla="*/ 239 h 350"/>
                  <a:gd name="T58" fmla="*/ 0 w 86"/>
                  <a:gd name="T59" fmla="*/ 220 h 350"/>
                  <a:gd name="T60" fmla="*/ 4 w 86"/>
                  <a:gd name="T61" fmla="*/ 199 h 350"/>
                  <a:gd name="T62" fmla="*/ 4 w 86"/>
                  <a:gd name="T63" fmla="*/ 199 h 350"/>
                  <a:gd name="T64" fmla="*/ 4 w 86"/>
                  <a:gd name="T65" fmla="*/ 197 h 350"/>
                  <a:gd name="T66" fmla="*/ 46 w 86"/>
                  <a:gd name="T67" fmla="*/ 49 h 350"/>
                  <a:gd name="T68" fmla="*/ 46 w 86"/>
                  <a:gd name="T69" fmla="*/ 49 h 350"/>
                  <a:gd name="T70" fmla="*/ 51 w 86"/>
                  <a:gd name="T71" fmla="*/ 31 h 350"/>
                  <a:gd name="T72" fmla="*/ 58 w 86"/>
                  <a:gd name="T73" fmla="*/ 17 h 350"/>
                  <a:gd name="T74" fmla="*/ 67 w 86"/>
                  <a:gd name="T75" fmla="*/ 8 h 350"/>
                  <a:gd name="T76" fmla="*/ 77 w 86"/>
                  <a:gd name="T77" fmla="*/ 1 h 350"/>
                  <a:gd name="T78" fmla="*/ 77 w 86"/>
                  <a:gd name="T79" fmla="*/ 1 h 350"/>
                  <a:gd name="T80" fmla="*/ 77 w 86"/>
                  <a:gd name="T81" fmla="*/ 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350">
                    <a:moveTo>
                      <a:pt x="77" y="1"/>
                    </a:moveTo>
                    <a:lnTo>
                      <a:pt x="84" y="0"/>
                    </a:lnTo>
                    <a:lnTo>
                      <a:pt x="84" y="0"/>
                    </a:lnTo>
                    <a:lnTo>
                      <a:pt x="77" y="3"/>
                    </a:lnTo>
                    <a:lnTo>
                      <a:pt x="72" y="8"/>
                    </a:lnTo>
                    <a:lnTo>
                      <a:pt x="68" y="15"/>
                    </a:lnTo>
                    <a:lnTo>
                      <a:pt x="65" y="22"/>
                    </a:lnTo>
                    <a:lnTo>
                      <a:pt x="61" y="38"/>
                    </a:lnTo>
                    <a:lnTo>
                      <a:pt x="60" y="57"/>
                    </a:lnTo>
                    <a:lnTo>
                      <a:pt x="25" y="199"/>
                    </a:lnTo>
                    <a:lnTo>
                      <a:pt x="25" y="199"/>
                    </a:lnTo>
                    <a:lnTo>
                      <a:pt x="26" y="218"/>
                    </a:lnTo>
                    <a:lnTo>
                      <a:pt x="30" y="238"/>
                    </a:lnTo>
                    <a:lnTo>
                      <a:pt x="35" y="255"/>
                    </a:lnTo>
                    <a:lnTo>
                      <a:pt x="40" y="271"/>
                    </a:lnTo>
                    <a:lnTo>
                      <a:pt x="49" y="287"/>
                    </a:lnTo>
                    <a:lnTo>
                      <a:pt x="60" y="299"/>
                    </a:lnTo>
                    <a:lnTo>
                      <a:pt x="72" y="311"/>
                    </a:lnTo>
                    <a:lnTo>
                      <a:pt x="86" y="322"/>
                    </a:lnTo>
                    <a:lnTo>
                      <a:pt x="86" y="322"/>
                    </a:lnTo>
                    <a:lnTo>
                      <a:pt x="75" y="330"/>
                    </a:lnTo>
                    <a:lnTo>
                      <a:pt x="70" y="343"/>
                    </a:lnTo>
                    <a:lnTo>
                      <a:pt x="70" y="343"/>
                    </a:lnTo>
                    <a:lnTo>
                      <a:pt x="68" y="350"/>
                    </a:lnTo>
                    <a:lnTo>
                      <a:pt x="56" y="332"/>
                    </a:lnTo>
                    <a:lnTo>
                      <a:pt x="16" y="278"/>
                    </a:lnTo>
                    <a:lnTo>
                      <a:pt x="16" y="278"/>
                    </a:lnTo>
                    <a:lnTo>
                      <a:pt x="7" y="259"/>
                    </a:lnTo>
                    <a:lnTo>
                      <a:pt x="2" y="239"/>
                    </a:lnTo>
                    <a:lnTo>
                      <a:pt x="0" y="220"/>
                    </a:lnTo>
                    <a:lnTo>
                      <a:pt x="4" y="199"/>
                    </a:lnTo>
                    <a:lnTo>
                      <a:pt x="4" y="199"/>
                    </a:lnTo>
                    <a:lnTo>
                      <a:pt x="4" y="197"/>
                    </a:lnTo>
                    <a:lnTo>
                      <a:pt x="46" y="49"/>
                    </a:lnTo>
                    <a:lnTo>
                      <a:pt x="46" y="49"/>
                    </a:lnTo>
                    <a:lnTo>
                      <a:pt x="51" y="31"/>
                    </a:lnTo>
                    <a:lnTo>
                      <a:pt x="58" y="17"/>
                    </a:lnTo>
                    <a:lnTo>
                      <a:pt x="67" y="8"/>
                    </a:lnTo>
                    <a:lnTo>
                      <a:pt x="77" y="1"/>
                    </a:lnTo>
                    <a:lnTo>
                      <a:pt x="77" y="1"/>
                    </a:lnTo>
                    <a:lnTo>
                      <a:pt x="77" y="1"/>
                    </a:lnTo>
                    <a:close/>
                  </a:path>
                </a:pathLst>
              </a:custGeom>
              <a:solidFill>
                <a:srgbClr val="0B538F"/>
              </a:solidFill>
              <a:ln w="9525">
                <a:solidFill>
                  <a:srgbClr val="0B538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51" name="Freeform 290"/>
              <p:cNvSpPr>
                <a:spLocks/>
              </p:cNvSpPr>
              <p:nvPr/>
            </p:nvSpPr>
            <p:spPr bwMode="auto">
              <a:xfrm>
                <a:off x="2942031" y="3482020"/>
                <a:ext cx="56678" cy="156228"/>
              </a:xfrm>
              <a:custGeom>
                <a:avLst/>
                <a:gdLst>
                  <a:gd name="T0" fmla="*/ 0 w 78"/>
                  <a:gd name="T1" fmla="*/ 65 h 215"/>
                  <a:gd name="T2" fmla="*/ 24 w 78"/>
                  <a:gd name="T3" fmla="*/ 31 h 215"/>
                  <a:gd name="T4" fmla="*/ 47 w 78"/>
                  <a:gd name="T5" fmla="*/ 0 h 215"/>
                  <a:gd name="T6" fmla="*/ 31 w 78"/>
                  <a:gd name="T7" fmla="*/ 45 h 215"/>
                  <a:gd name="T8" fmla="*/ 49 w 78"/>
                  <a:gd name="T9" fmla="*/ 45 h 215"/>
                  <a:gd name="T10" fmla="*/ 49 w 78"/>
                  <a:gd name="T11" fmla="*/ 45 h 215"/>
                  <a:gd name="T12" fmla="*/ 52 w 78"/>
                  <a:gd name="T13" fmla="*/ 82 h 215"/>
                  <a:gd name="T14" fmla="*/ 59 w 78"/>
                  <a:gd name="T15" fmla="*/ 117 h 215"/>
                  <a:gd name="T16" fmla="*/ 68 w 78"/>
                  <a:gd name="T17" fmla="*/ 149 h 215"/>
                  <a:gd name="T18" fmla="*/ 78 w 78"/>
                  <a:gd name="T19" fmla="*/ 178 h 215"/>
                  <a:gd name="T20" fmla="*/ 63 w 78"/>
                  <a:gd name="T21" fmla="*/ 215 h 215"/>
                  <a:gd name="T22" fmla="*/ 56 w 78"/>
                  <a:gd name="T23" fmla="*/ 180 h 215"/>
                  <a:gd name="T24" fmla="*/ 56 w 78"/>
                  <a:gd name="T25" fmla="*/ 180 h 215"/>
                  <a:gd name="T26" fmla="*/ 49 w 78"/>
                  <a:gd name="T27" fmla="*/ 152 h 215"/>
                  <a:gd name="T28" fmla="*/ 45 w 78"/>
                  <a:gd name="T29" fmla="*/ 121 h 215"/>
                  <a:gd name="T30" fmla="*/ 45 w 78"/>
                  <a:gd name="T31" fmla="*/ 89 h 215"/>
                  <a:gd name="T32" fmla="*/ 45 w 78"/>
                  <a:gd name="T33" fmla="*/ 54 h 215"/>
                  <a:gd name="T34" fmla="*/ 29 w 78"/>
                  <a:gd name="T35" fmla="*/ 58 h 215"/>
                  <a:gd name="T36" fmla="*/ 0 w 78"/>
                  <a:gd name="T37" fmla="*/ 65 h 215"/>
                  <a:gd name="T38" fmla="*/ 0 w 78"/>
                  <a:gd name="T39" fmla="*/ 65 h 215"/>
                  <a:gd name="T40" fmla="*/ 0 w 78"/>
                  <a:gd name="T41" fmla="*/ 6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215">
                    <a:moveTo>
                      <a:pt x="0" y="65"/>
                    </a:moveTo>
                    <a:lnTo>
                      <a:pt x="24" y="31"/>
                    </a:lnTo>
                    <a:lnTo>
                      <a:pt x="47" y="0"/>
                    </a:lnTo>
                    <a:lnTo>
                      <a:pt x="31" y="45"/>
                    </a:lnTo>
                    <a:lnTo>
                      <a:pt x="49" y="45"/>
                    </a:lnTo>
                    <a:lnTo>
                      <a:pt x="49" y="45"/>
                    </a:lnTo>
                    <a:lnTo>
                      <a:pt x="52" y="82"/>
                    </a:lnTo>
                    <a:lnTo>
                      <a:pt x="59" y="117"/>
                    </a:lnTo>
                    <a:lnTo>
                      <a:pt x="68" y="149"/>
                    </a:lnTo>
                    <a:lnTo>
                      <a:pt x="78" y="178"/>
                    </a:lnTo>
                    <a:lnTo>
                      <a:pt x="63" y="215"/>
                    </a:lnTo>
                    <a:lnTo>
                      <a:pt x="56" y="180"/>
                    </a:lnTo>
                    <a:lnTo>
                      <a:pt x="56" y="180"/>
                    </a:lnTo>
                    <a:lnTo>
                      <a:pt x="49" y="152"/>
                    </a:lnTo>
                    <a:lnTo>
                      <a:pt x="45" y="121"/>
                    </a:lnTo>
                    <a:lnTo>
                      <a:pt x="45" y="89"/>
                    </a:lnTo>
                    <a:lnTo>
                      <a:pt x="45" y="54"/>
                    </a:lnTo>
                    <a:lnTo>
                      <a:pt x="29" y="58"/>
                    </a:lnTo>
                    <a:lnTo>
                      <a:pt x="0" y="65"/>
                    </a:lnTo>
                    <a:lnTo>
                      <a:pt x="0" y="65"/>
                    </a:lnTo>
                    <a:lnTo>
                      <a:pt x="0" y="65"/>
                    </a:lnTo>
                    <a:close/>
                  </a:path>
                </a:pathLst>
              </a:custGeom>
              <a:solidFill>
                <a:srgbClr val="C9CD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91"/>
              <p:cNvSpPr>
                <a:spLocks/>
              </p:cNvSpPr>
              <p:nvPr/>
            </p:nvSpPr>
            <p:spPr bwMode="auto">
              <a:xfrm>
                <a:off x="2928952" y="3504546"/>
                <a:ext cx="58858" cy="133702"/>
              </a:xfrm>
              <a:custGeom>
                <a:avLst/>
                <a:gdLst>
                  <a:gd name="T0" fmla="*/ 42 w 81"/>
                  <a:gd name="T1" fmla="*/ 0 h 184"/>
                  <a:gd name="T2" fmla="*/ 18 w 81"/>
                  <a:gd name="T3" fmla="*/ 34 h 184"/>
                  <a:gd name="T4" fmla="*/ 47 w 81"/>
                  <a:gd name="T5" fmla="*/ 27 h 184"/>
                  <a:gd name="T6" fmla="*/ 11 w 81"/>
                  <a:gd name="T7" fmla="*/ 74 h 184"/>
                  <a:gd name="T8" fmla="*/ 81 w 81"/>
                  <a:gd name="T9" fmla="*/ 184 h 184"/>
                  <a:gd name="T10" fmla="*/ 0 w 81"/>
                  <a:gd name="T11" fmla="*/ 77 h 184"/>
                  <a:gd name="T12" fmla="*/ 26 w 81"/>
                  <a:gd name="T13" fmla="*/ 41 h 184"/>
                  <a:gd name="T14" fmla="*/ 5 w 81"/>
                  <a:gd name="T15" fmla="*/ 41 h 184"/>
                  <a:gd name="T16" fmla="*/ 25 w 81"/>
                  <a:gd name="T17" fmla="*/ 7 h 184"/>
                  <a:gd name="T18" fmla="*/ 42 w 81"/>
                  <a:gd name="T19" fmla="*/ 0 h 184"/>
                  <a:gd name="T20" fmla="*/ 42 w 81"/>
                  <a:gd name="T21" fmla="*/ 0 h 184"/>
                  <a:gd name="T22" fmla="*/ 42 w 81"/>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184">
                    <a:moveTo>
                      <a:pt x="42" y="0"/>
                    </a:moveTo>
                    <a:lnTo>
                      <a:pt x="18" y="34"/>
                    </a:lnTo>
                    <a:lnTo>
                      <a:pt x="47" y="27"/>
                    </a:lnTo>
                    <a:lnTo>
                      <a:pt x="11" y="74"/>
                    </a:lnTo>
                    <a:lnTo>
                      <a:pt x="81" y="184"/>
                    </a:lnTo>
                    <a:lnTo>
                      <a:pt x="0" y="77"/>
                    </a:lnTo>
                    <a:lnTo>
                      <a:pt x="26" y="41"/>
                    </a:lnTo>
                    <a:lnTo>
                      <a:pt x="5" y="41"/>
                    </a:lnTo>
                    <a:lnTo>
                      <a:pt x="25" y="7"/>
                    </a:lnTo>
                    <a:lnTo>
                      <a:pt x="42" y="0"/>
                    </a:lnTo>
                    <a:lnTo>
                      <a:pt x="42" y="0"/>
                    </a:lnTo>
                    <a:lnTo>
                      <a:pt x="42" y="0"/>
                    </a:lnTo>
                    <a:close/>
                  </a:path>
                </a:pathLst>
              </a:custGeom>
              <a:solidFill>
                <a:srgbClr val="0B538F"/>
              </a:solidFill>
              <a:ln w="9525">
                <a:solidFill>
                  <a:srgbClr val="0B538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53" name="Freeform 292"/>
              <p:cNvSpPr>
                <a:spLocks noEditPoints="1"/>
              </p:cNvSpPr>
              <p:nvPr/>
            </p:nvSpPr>
            <p:spPr bwMode="auto">
              <a:xfrm>
                <a:off x="2880993" y="3509632"/>
                <a:ext cx="106816" cy="243425"/>
              </a:xfrm>
              <a:custGeom>
                <a:avLst/>
                <a:gdLst>
                  <a:gd name="T0" fmla="*/ 92 w 147"/>
                  <a:gd name="T1" fmla="*/ 34 h 335"/>
                  <a:gd name="T2" fmla="*/ 91 w 147"/>
                  <a:gd name="T3" fmla="*/ 0 h 335"/>
                  <a:gd name="T4" fmla="*/ 59 w 147"/>
                  <a:gd name="T5" fmla="*/ 13 h 335"/>
                  <a:gd name="T6" fmla="*/ 47 w 147"/>
                  <a:gd name="T7" fmla="*/ 21 h 335"/>
                  <a:gd name="T8" fmla="*/ 40 w 147"/>
                  <a:gd name="T9" fmla="*/ 35 h 335"/>
                  <a:gd name="T10" fmla="*/ 35 w 147"/>
                  <a:gd name="T11" fmla="*/ 70 h 335"/>
                  <a:gd name="T12" fmla="*/ 0 w 147"/>
                  <a:gd name="T13" fmla="*/ 212 h 335"/>
                  <a:gd name="T14" fmla="*/ 5 w 147"/>
                  <a:gd name="T15" fmla="*/ 251 h 335"/>
                  <a:gd name="T16" fmla="*/ 15 w 147"/>
                  <a:gd name="T17" fmla="*/ 284 h 335"/>
                  <a:gd name="T18" fmla="*/ 35 w 147"/>
                  <a:gd name="T19" fmla="*/ 312 h 335"/>
                  <a:gd name="T20" fmla="*/ 61 w 147"/>
                  <a:gd name="T21" fmla="*/ 335 h 335"/>
                  <a:gd name="T22" fmla="*/ 70 w 147"/>
                  <a:gd name="T23" fmla="*/ 328 h 335"/>
                  <a:gd name="T24" fmla="*/ 82 w 147"/>
                  <a:gd name="T25" fmla="*/ 322 h 335"/>
                  <a:gd name="T26" fmla="*/ 49 w 147"/>
                  <a:gd name="T27" fmla="*/ 270 h 335"/>
                  <a:gd name="T28" fmla="*/ 38 w 147"/>
                  <a:gd name="T29" fmla="*/ 254 h 335"/>
                  <a:gd name="T30" fmla="*/ 59 w 147"/>
                  <a:gd name="T31" fmla="*/ 158 h 335"/>
                  <a:gd name="T32" fmla="*/ 52 w 147"/>
                  <a:gd name="T33" fmla="*/ 132 h 335"/>
                  <a:gd name="T34" fmla="*/ 49 w 147"/>
                  <a:gd name="T35" fmla="*/ 81 h 335"/>
                  <a:gd name="T36" fmla="*/ 54 w 147"/>
                  <a:gd name="T37" fmla="*/ 56 h 335"/>
                  <a:gd name="T38" fmla="*/ 63 w 147"/>
                  <a:gd name="T39" fmla="*/ 116 h 335"/>
                  <a:gd name="T40" fmla="*/ 84 w 147"/>
                  <a:gd name="T41" fmla="*/ 168 h 335"/>
                  <a:gd name="T42" fmla="*/ 84 w 147"/>
                  <a:gd name="T43" fmla="*/ 252 h 335"/>
                  <a:gd name="T44" fmla="*/ 87 w 147"/>
                  <a:gd name="T45" fmla="*/ 280 h 335"/>
                  <a:gd name="T46" fmla="*/ 96 w 147"/>
                  <a:gd name="T47" fmla="*/ 303 h 335"/>
                  <a:gd name="T48" fmla="*/ 108 w 147"/>
                  <a:gd name="T49" fmla="*/ 319 h 335"/>
                  <a:gd name="T50" fmla="*/ 127 w 147"/>
                  <a:gd name="T51" fmla="*/ 328 h 335"/>
                  <a:gd name="T52" fmla="*/ 124 w 147"/>
                  <a:gd name="T53" fmla="*/ 307 h 335"/>
                  <a:gd name="T54" fmla="*/ 126 w 147"/>
                  <a:gd name="T55" fmla="*/ 284 h 335"/>
                  <a:gd name="T56" fmla="*/ 133 w 147"/>
                  <a:gd name="T57" fmla="*/ 233 h 335"/>
                  <a:gd name="T58" fmla="*/ 147 w 147"/>
                  <a:gd name="T59" fmla="*/ 177 h 335"/>
                  <a:gd name="T60" fmla="*/ 92 w 147"/>
                  <a:gd name="T61" fmla="*/ 34 h 335"/>
                  <a:gd name="T62" fmla="*/ 56 w 147"/>
                  <a:gd name="T63" fmla="*/ 158 h 335"/>
                  <a:gd name="T64" fmla="*/ 35 w 147"/>
                  <a:gd name="T65" fmla="*/ 210 h 335"/>
                  <a:gd name="T66" fmla="*/ 35 w 147"/>
                  <a:gd name="T67" fmla="*/ 254 h 335"/>
                  <a:gd name="T68" fmla="*/ 35 w 147"/>
                  <a:gd name="T69" fmla="*/ 258 h 335"/>
                  <a:gd name="T70" fmla="*/ 45 w 147"/>
                  <a:gd name="T71" fmla="*/ 272 h 335"/>
                  <a:gd name="T72" fmla="*/ 47 w 147"/>
                  <a:gd name="T73" fmla="*/ 273 h 335"/>
                  <a:gd name="T74" fmla="*/ 28 w 147"/>
                  <a:gd name="T75" fmla="*/ 256 h 335"/>
                  <a:gd name="T76" fmla="*/ 50 w 147"/>
                  <a:gd name="T77" fmla="*/ 146 h 335"/>
                  <a:gd name="T78" fmla="*/ 56 w 147"/>
                  <a:gd name="T79" fmla="*/ 158 h 335"/>
                  <a:gd name="T80" fmla="*/ 141 w 147"/>
                  <a:gd name="T81" fmla="*/ 179 h 335"/>
                  <a:gd name="T82" fmla="*/ 141 w 147"/>
                  <a:gd name="T83" fmla="*/ 179 h 335"/>
                  <a:gd name="T84" fmla="*/ 129 w 147"/>
                  <a:gd name="T85" fmla="*/ 233 h 335"/>
                  <a:gd name="T86" fmla="*/ 122 w 147"/>
                  <a:gd name="T87" fmla="*/ 284 h 335"/>
                  <a:gd name="T88" fmla="*/ 120 w 147"/>
                  <a:gd name="T89" fmla="*/ 303 h 335"/>
                  <a:gd name="T90" fmla="*/ 122 w 147"/>
                  <a:gd name="T91" fmla="*/ 322 h 335"/>
                  <a:gd name="T92" fmla="*/ 110 w 147"/>
                  <a:gd name="T93" fmla="*/ 315 h 335"/>
                  <a:gd name="T94" fmla="*/ 117 w 147"/>
                  <a:gd name="T95" fmla="*/ 238 h 335"/>
                  <a:gd name="T96" fmla="*/ 134 w 147"/>
                  <a:gd name="T97" fmla="*/ 167 h 335"/>
                  <a:gd name="T98" fmla="*/ 141 w 147"/>
                  <a:gd name="T99" fmla="*/ 17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7" h="335">
                    <a:moveTo>
                      <a:pt x="92" y="34"/>
                    </a:moveTo>
                    <a:lnTo>
                      <a:pt x="92" y="34"/>
                    </a:lnTo>
                    <a:lnTo>
                      <a:pt x="71" y="34"/>
                    </a:lnTo>
                    <a:lnTo>
                      <a:pt x="91" y="0"/>
                    </a:lnTo>
                    <a:lnTo>
                      <a:pt x="59" y="13"/>
                    </a:lnTo>
                    <a:lnTo>
                      <a:pt x="59" y="13"/>
                    </a:lnTo>
                    <a:lnTo>
                      <a:pt x="52" y="16"/>
                    </a:lnTo>
                    <a:lnTo>
                      <a:pt x="47" y="21"/>
                    </a:lnTo>
                    <a:lnTo>
                      <a:pt x="43" y="28"/>
                    </a:lnTo>
                    <a:lnTo>
                      <a:pt x="40" y="35"/>
                    </a:lnTo>
                    <a:lnTo>
                      <a:pt x="36" y="51"/>
                    </a:lnTo>
                    <a:lnTo>
                      <a:pt x="35" y="70"/>
                    </a:lnTo>
                    <a:lnTo>
                      <a:pt x="0" y="212"/>
                    </a:lnTo>
                    <a:lnTo>
                      <a:pt x="0" y="212"/>
                    </a:lnTo>
                    <a:lnTo>
                      <a:pt x="1" y="231"/>
                    </a:lnTo>
                    <a:lnTo>
                      <a:pt x="5" y="251"/>
                    </a:lnTo>
                    <a:lnTo>
                      <a:pt x="10" y="268"/>
                    </a:lnTo>
                    <a:lnTo>
                      <a:pt x="15" y="284"/>
                    </a:lnTo>
                    <a:lnTo>
                      <a:pt x="24" y="300"/>
                    </a:lnTo>
                    <a:lnTo>
                      <a:pt x="35" y="312"/>
                    </a:lnTo>
                    <a:lnTo>
                      <a:pt x="47" y="324"/>
                    </a:lnTo>
                    <a:lnTo>
                      <a:pt x="61" y="335"/>
                    </a:lnTo>
                    <a:lnTo>
                      <a:pt x="61" y="335"/>
                    </a:lnTo>
                    <a:lnTo>
                      <a:pt x="70" y="328"/>
                    </a:lnTo>
                    <a:lnTo>
                      <a:pt x="82" y="322"/>
                    </a:lnTo>
                    <a:lnTo>
                      <a:pt x="82" y="322"/>
                    </a:lnTo>
                    <a:lnTo>
                      <a:pt x="85" y="322"/>
                    </a:lnTo>
                    <a:lnTo>
                      <a:pt x="49" y="270"/>
                    </a:lnTo>
                    <a:lnTo>
                      <a:pt x="49" y="270"/>
                    </a:lnTo>
                    <a:lnTo>
                      <a:pt x="38" y="254"/>
                    </a:lnTo>
                    <a:lnTo>
                      <a:pt x="38" y="212"/>
                    </a:lnTo>
                    <a:lnTo>
                      <a:pt x="59" y="158"/>
                    </a:lnTo>
                    <a:lnTo>
                      <a:pt x="59" y="158"/>
                    </a:lnTo>
                    <a:lnTo>
                      <a:pt x="52" y="132"/>
                    </a:lnTo>
                    <a:lnTo>
                      <a:pt x="49" y="107"/>
                    </a:lnTo>
                    <a:lnTo>
                      <a:pt x="49" y="81"/>
                    </a:lnTo>
                    <a:lnTo>
                      <a:pt x="54" y="56"/>
                    </a:lnTo>
                    <a:lnTo>
                      <a:pt x="54" y="56"/>
                    </a:lnTo>
                    <a:lnTo>
                      <a:pt x="57" y="88"/>
                    </a:lnTo>
                    <a:lnTo>
                      <a:pt x="63" y="116"/>
                    </a:lnTo>
                    <a:lnTo>
                      <a:pt x="71" y="144"/>
                    </a:lnTo>
                    <a:lnTo>
                      <a:pt x="84" y="168"/>
                    </a:lnTo>
                    <a:lnTo>
                      <a:pt x="84" y="252"/>
                    </a:lnTo>
                    <a:lnTo>
                      <a:pt x="84" y="252"/>
                    </a:lnTo>
                    <a:lnTo>
                      <a:pt x="84" y="268"/>
                    </a:lnTo>
                    <a:lnTo>
                      <a:pt x="87" y="280"/>
                    </a:lnTo>
                    <a:lnTo>
                      <a:pt x="91" y="293"/>
                    </a:lnTo>
                    <a:lnTo>
                      <a:pt x="96" y="303"/>
                    </a:lnTo>
                    <a:lnTo>
                      <a:pt x="101" y="312"/>
                    </a:lnTo>
                    <a:lnTo>
                      <a:pt x="108" y="319"/>
                    </a:lnTo>
                    <a:lnTo>
                      <a:pt x="117" y="324"/>
                    </a:lnTo>
                    <a:lnTo>
                      <a:pt x="127" y="328"/>
                    </a:lnTo>
                    <a:lnTo>
                      <a:pt x="127" y="328"/>
                    </a:lnTo>
                    <a:lnTo>
                      <a:pt x="124" y="307"/>
                    </a:lnTo>
                    <a:lnTo>
                      <a:pt x="126" y="284"/>
                    </a:lnTo>
                    <a:lnTo>
                      <a:pt x="126" y="284"/>
                    </a:lnTo>
                    <a:lnTo>
                      <a:pt x="127" y="259"/>
                    </a:lnTo>
                    <a:lnTo>
                      <a:pt x="133" y="233"/>
                    </a:lnTo>
                    <a:lnTo>
                      <a:pt x="140" y="205"/>
                    </a:lnTo>
                    <a:lnTo>
                      <a:pt x="147" y="177"/>
                    </a:lnTo>
                    <a:lnTo>
                      <a:pt x="66" y="70"/>
                    </a:lnTo>
                    <a:lnTo>
                      <a:pt x="92" y="34"/>
                    </a:lnTo>
                    <a:lnTo>
                      <a:pt x="92" y="34"/>
                    </a:lnTo>
                    <a:close/>
                    <a:moveTo>
                      <a:pt x="56" y="158"/>
                    </a:moveTo>
                    <a:lnTo>
                      <a:pt x="56" y="158"/>
                    </a:lnTo>
                    <a:lnTo>
                      <a:pt x="35" y="210"/>
                    </a:lnTo>
                    <a:lnTo>
                      <a:pt x="35" y="212"/>
                    </a:lnTo>
                    <a:lnTo>
                      <a:pt x="35" y="254"/>
                    </a:lnTo>
                    <a:lnTo>
                      <a:pt x="35" y="254"/>
                    </a:lnTo>
                    <a:lnTo>
                      <a:pt x="35" y="258"/>
                    </a:lnTo>
                    <a:lnTo>
                      <a:pt x="45" y="272"/>
                    </a:lnTo>
                    <a:lnTo>
                      <a:pt x="45" y="272"/>
                    </a:lnTo>
                    <a:lnTo>
                      <a:pt x="47" y="273"/>
                    </a:lnTo>
                    <a:lnTo>
                      <a:pt x="47" y="273"/>
                    </a:lnTo>
                    <a:lnTo>
                      <a:pt x="80" y="319"/>
                    </a:lnTo>
                    <a:lnTo>
                      <a:pt x="28" y="256"/>
                    </a:lnTo>
                    <a:lnTo>
                      <a:pt x="28" y="207"/>
                    </a:lnTo>
                    <a:lnTo>
                      <a:pt x="50" y="146"/>
                    </a:lnTo>
                    <a:lnTo>
                      <a:pt x="50" y="146"/>
                    </a:lnTo>
                    <a:lnTo>
                      <a:pt x="56" y="158"/>
                    </a:lnTo>
                    <a:lnTo>
                      <a:pt x="56" y="158"/>
                    </a:lnTo>
                    <a:close/>
                    <a:moveTo>
                      <a:pt x="141" y="179"/>
                    </a:moveTo>
                    <a:lnTo>
                      <a:pt x="141" y="179"/>
                    </a:lnTo>
                    <a:lnTo>
                      <a:pt x="141" y="179"/>
                    </a:lnTo>
                    <a:lnTo>
                      <a:pt x="134" y="207"/>
                    </a:lnTo>
                    <a:lnTo>
                      <a:pt x="129" y="233"/>
                    </a:lnTo>
                    <a:lnTo>
                      <a:pt x="124" y="259"/>
                    </a:lnTo>
                    <a:lnTo>
                      <a:pt x="122" y="284"/>
                    </a:lnTo>
                    <a:lnTo>
                      <a:pt x="122" y="284"/>
                    </a:lnTo>
                    <a:lnTo>
                      <a:pt x="120" y="303"/>
                    </a:lnTo>
                    <a:lnTo>
                      <a:pt x="122" y="322"/>
                    </a:lnTo>
                    <a:lnTo>
                      <a:pt x="122" y="322"/>
                    </a:lnTo>
                    <a:lnTo>
                      <a:pt x="110" y="315"/>
                    </a:lnTo>
                    <a:lnTo>
                      <a:pt x="110" y="315"/>
                    </a:lnTo>
                    <a:lnTo>
                      <a:pt x="112" y="275"/>
                    </a:lnTo>
                    <a:lnTo>
                      <a:pt x="117" y="238"/>
                    </a:lnTo>
                    <a:lnTo>
                      <a:pt x="124" y="202"/>
                    </a:lnTo>
                    <a:lnTo>
                      <a:pt x="134" y="167"/>
                    </a:lnTo>
                    <a:lnTo>
                      <a:pt x="141" y="179"/>
                    </a:lnTo>
                    <a:lnTo>
                      <a:pt x="141" y="179"/>
                    </a:lnTo>
                    <a:close/>
                  </a:path>
                </a:pathLst>
              </a:custGeom>
              <a:solidFill>
                <a:srgbClr val="0D65A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293"/>
              <p:cNvSpPr>
                <a:spLocks/>
              </p:cNvSpPr>
              <p:nvPr/>
            </p:nvSpPr>
            <p:spPr bwMode="auto">
              <a:xfrm>
                <a:off x="2901339" y="3615722"/>
                <a:ext cx="37785" cy="125709"/>
              </a:xfrm>
              <a:custGeom>
                <a:avLst/>
                <a:gdLst>
                  <a:gd name="T0" fmla="*/ 22 w 52"/>
                  <a:gd name="T1" fmla="*/ 0 h 173"/>
                  <a:gd name="T2" fmla="*/ 22 w 52"/>
                  <a:gd name="T3" fmla="*/ 0 h 173"/>
                  <a:gd name="T4" fmla="*/ 28 w 52"/>
                  <a:gd name="T5" fmla="*/ 12 h 173"/>
                  <a:gd name="T6" fmla="*/ 7 w 52"/>
                  <a:gd name="T7" fmla="*/ 64 h 173"/>
                  <a:gd name="T8" fmla="*/ 7 w 52"/>
                  <a:gd name="T9" fmla="*/ 66 h 173"/>
                  <a:gd name="T10" fmla="*/ 7 w 52"/>
                  <a:gd name="T11" fmla="*/ 108 h 173"/>
                  <a:gd name="T12" fmla="*/ 7 w 52"/>
                  <a:gd name="T13" fmla="*/ 108 h 173"/>
                  <a:gd name="T14" fmla="*/ 7 w 52"/>
                  <a:gd name="T15" fmla="*/ 112 h 173"/>
                  <a:gd name="T16" fmla="*/ 17 w 52"/>
                  <a:gd name="T17" fmla="*/ 126 h 173"/>
                  <a:gd name="T18" fmla="*/ 17 w 52"/>
                  <a:gd name="T19" fmla="*/ 126 h 173"/>
                  <a:gd name="T20" fmla="*/ 19 w 52"/>
                  <a:gd name="T21" fmla="*/ 127 h 173"/>
                  <a:gd name="T22" fmla="*/ 19 w 52"/>
                  <a:gd name="T23" fmla="*/ 127 h 173"/>
                  <a:gd name="T24" fmla="*/ 52 w 52"/>
                  <a:gd name="T25" fmla="*/ 173 h 173"/>
                  <a:gd name="T26" fmla="*/ 0 w 52"/>
                  <a:gd name="T27" fmla="*/ 110 h 173"/>
                  <a:gd name="T28" fmla="*/ 0 w 52"/>
                  <a:gd name="T29" fmla="*/ 61 h 173"/>
                  <a:gd name="T30" fmla="*/ 22 w 52"/>
                  <a:gd name="T31" fmla="*/ 0 h 173"/>
                  <a:gd name="T32" fmla="*/ 22 w 52"/>
                  <a:gd name="T33" fmla="*/ 0 h 173"/>
                  <a:gd name="T34" fmla="*/ 22 w 52"/>
                  <a:gd name="T3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73">
                    <a:moveTo>
                      <a:pt x="22" y="0"/>
                    </a:moveTo>
                    <a:lnTo>
                      <a:pt x="22" y="0"/>
                    </a:lnTo>
                    <a:lnTo>
                      <a:pt x="28" y="12"/>
                    </a:lnTo>
                    <a:lnTo>
                      <a:pt x="7" y="64"/>
                    </a:lnTo>
                    <a:lnTo>
                      <a:pt x="7" y="66"/>
                    </a:lnTo>
                    <a:lnTo>
                      <a:pt x="7" y="108"/>
                    </a:lnTo>
                    <a:lnTo>
                      <a:pt x="7" y="108"/>
                    </a:lnTo>
                    <a:lnTo>
                      <a:pt x="7" y="112"/>
                    </a:lnTo>
                    <a:lnTo>
                      <a:pt x="17" y="126"/>
                    </a:lnTo>
                    <a:lnTo>
                      <a:pt x="17" y="126"/>
                    </a:lnTo>
                    <a:lnTo>
                      <a:pt x="19" y="127"/>
                    </a:lnTo>
                    <a:lnTo>
                      <a:pt x="19" y="127"/>
                    </a:lnTo>
                    <a:lnTo>
                      <a:pt x="52" y="173"/>
                    </a:lnTo>
                    <a:lnTo>
                      <a:pt x="0" y="110"/>
                    </a:lnTo>
                    <a:lnTo>
                      <a:pt x="0" y="61"/>
                    </a:lnTo>
                    <a:lnTo>
                      <a:pt x="22" y="0"/>
                    </a:lnTo>
                    <a:lnTo>
                      <a:pt x="22" y="0"/>
                    </a:lnTo>
                    <a:lnTo>
                      <a:pt x="22" y="0"/>
                    </a:lnTo>
                    <a:close/>
                  </a:path>
                </a:pathLst>
              </a:custGeom>
              <a:solidFill>
                <a:schemeClr val="accent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55" name="Freeform 294"/>
              <p:cNvSpPr>
                <a:spLocks/>
              </p:cNvSpPr>
              <p:nvPr/>
            </p:nvSpPr>
            <p:spPr bwMode="auto">
              <a:xfrm>
                <a:off x="2960924" y="3630982"/>
                <a:ext cx="22526" cy="112630"/>
              </a:xfrm>
              <a:custGeom>
                <a:avLst/>
                <a:gdLst>
                  <a:gd name="T0" fmla="*/ 24 w 31"/>
                  <a:gd name="T1" fmla="*/ 0 h 155"/>
                  <a:gd name="T2" fmla="*/ 31 w 31"/>
                  <a:gd name="T3" fmla="*/ 12 h 155"/>
                  <a:gd name="T4" fmla="*/ 31 w 31"/>
                  <a:gd name="T5" fmla="*/ 12 h 155"/>
                  <a:gd name="T6" fmla="*/ 24 w 31"/>
                  <a:gd name="T7" fmla="*/ 40 h 155"/>
                  <a:gd name="T8" fmla="*/ 19 w 31"/>
                  <a:gd name="T9" fmla="*/ 66 h 155"/>
                  <a:gd name="T10" fmla="*/ 14 w 31"/>
                  <a:gd name="T11" fmla="*/ 92 h 155"/>
                  <a:gd name="T12" fmla="*/ 12 w 31"/>
                  <a:gd name="T13" fmla="*/ 117 h 155"/>
                  <a:gd name="T14" fmla="*/ 12 w 31"/>
                  <a:gd name="T15" fmla="*/ 117 h 155"/>
                  <a:gd name="T16" fmla="*/ 10 w 31"/>
                  <a:gd name="T17" fmla="*/ 136 h 155"/>
                  <a:gd name="T18" fmla="*/ 12 w 31"/>
                  <a:gd name="T19" fmla="*/ 155 h 155"/>
                  <a:gd name="T20" fmla="*/ 12 w 31"/>
                  <a:gd name="T21" fmla="*/ 155 h 155"/>
                  <a:gd name="T22" fmla="*/ 0 w 31"/>
                  <a:gd name="T23" fmla="*/ 148 h 155"/>
                  <a:gd name="T24" fmla="*/ 0 w 31"/>
                  <a:gd name="T25" fmla="*/ 148 h 155"/>
                  <a:gd name="T26" fmla="*/ 2 w 31"/>
                  <a:gd name="T27" fmla="*/ 108 h 155"/>
                  <a:gd name="T28" fmla="*/ 7 w 31"/>
                  <a:gd name="T29" fmla="*/ 71 h 155"/>
                  <a:gd name="T30" fmla="*/ 14 w 31"/>
                  <a:gd name="T31" fmla="*/ 35 h 155"/>
                  <a:gd name="T32" fmla="*/ 24 w 31"/>
                  <a:gd name="T33" fmla="*/ 0 h 155"/>
                  <a:gd name="T34" fmla="*/ 24 w 31"/>
                  <a:gd name="T35" fmla="*/ 0 h 155"/>
                  <a:gd name="T36" fmla="*/ 24 w 31"/>
                  <a:gd name="T3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155">
                    <a:moveTo>
                      <a:pt x="24" y="0"/>
                    </a:moveTo>
                    <a:lnTo>
                      <a:pt x="31" y="12"/>
                    </a:lnTo>
                    <a:lnTo>
                      <a:pt x="31" y="12"/>
                    </a:lnTo>
                    <a:lnTo>
                      <a:pt x="24" y="40"/>
                    </a:lnTo>
                    <a:lnTo>
                      <a:pt x="19" y="66"/>
                    </a:lnTo>
                    <a:lnTo>
                      <a:pt x="14" y="92"/>
                    </a:lnTo>
                    <a:lnTo>
                      <a:pt x="12" y="117"/>
                    </a:lnTo>
                    <a:lnTo>
                      <a:pt x="12" y="117"/>
                    </a:lnTo>
                    <a:lnTo>
                      <a:pt x="10" y="136"/>
                    </a:lnTo>
                    <a:lnTo>
                      <a:pt x="12" y="155"/>
                    </a:lnTo>
                    <a:lnTo>
                      <a:pt x="12" y="155"/>
                    </a:lnTo>
                    <a:lnTo>
                      <a:pt x="0" y="148"/>
                    </a:lnTo>
                    <a:lnTo>
                      <a:pt x="0" y="148"/>
                    </a:lnTo>
                    <a:lnTo>
                      <a:pt x="2" y="108"/>
                    </a:lnTo>
                    <a:lnTo>
                      <a:pt x="7" y="71"/>
                    </a:lnTo>
                    <a:lnTo>
                      <a:pt x="14" y="35"/>
                    </a:lnTo>
                    <a:lnTo>
                      <a:pt x="24" y="0"/>
                    </a:lnTo>
                    <a:lnTo>
                      <a:pt x="24" y="0"/>
                    </a:lnTo>
                    <a:lnTo>
                      <a:pt x="24" y="0"/>
                    </a:lnTo>
                    <a:close/>
                  </a:path>
                </a:pathLst>
              </a:custGeom>
              <a:solidFill>
                <a:schemeClr val="accent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56" name="Freeform 295"/>
              <p:cNvSpPr>
                <a:spLocks noEditPoints="1"/>
              </p:cNvSpPr>
              <p:nvPr/>
            </p:nvSpPr>
            <p:spPr bwMode="auto">
              <a:xfrm>
                <a:off x="2936945" y="3521259"/>
                <a:ext cx="50865" cy="116989"/>
              </a:xfrm>
              <a:custGeom>
                <a:avLst/>
                <a:gdLst>
                  <a:gd name="T0" fmla="*/ 0 w 70"/>
                  <a:gd name="T1" fmla="*/ 51 h 161"/>
                  <a:gd name="T2" fmla="*/ 0 w 70"/>
                  <a:gd name="T3" fmla="*/ 51 h 161"/>
                  <a:gd name="T4" fmla="*/ 70 w 70"/>
                  <a:gd name="T5" fmla="*/ 161 h 161"/>
                  <a:gd name="T6" fmla="*/ 63 w 70"/>
                  <a:gd name="T7" fmla="*/ 126 h 161"/>
                  <a:gd name="T8" fmla="*/ 63 w 70"/>
                  <a:gd name="T9" fmla="*/ 126 h 161"/>
                  <a:gd name="T10" fmla="*/ 56 w 70"/>
                  <a:gd name="T11" fmla="*/ 98 h 161"/>
                  <a:gd name="T12" fmla="*/ 52 w 70"/>
                  <a:gd name="T13" fmla="*/ 67 h 161"/>
                  <a:gd name="T14" fmla="*/ 52 w 70"/>
                  <a:gd name="T15" fmla="*/ 35 h 161"/>
                  <a:gd name="T16" fmla="*/ 52 w 70"/>
                  <a:gd name="T17" fmla="*/ 0 h 161"/>
                  <a:gd name="T18" fmla="*/ 36 w 70"/>
                  <a:gd name="T19" fmla="*/ 4 h 161"/>
                  <a:gd name="T20" fmla="*/ 0 w 70"/>
                  <a:gd name="T21" fmla="*/ 51 h 161"/>
                  <a:gd name="T22" fmla="*/ 0 w 70"/>
                  <a:gd name="T23" fmla="*/ 51 h 161"/>
                  <a:gd name="T24" fmla="*/ 56 w 70"/>
                  <a:gd name="T25" fmla="*/ 123 h 161"/>
                  <a:gd name="T26" fmla="*/ 56 w 70"/>
                  <a:gd name="T27" fmla="*/ 123 h 161"/>
                  <a:gd name="T28" fmla="*/ 56 w 70"/>
                  <a:gd name="T29" fmla="*/ 123 h 161"/>
                  <a:gd name="T30" fmla="*/ 49 w 70"/>
                  <a:gd name="T31" fmla="*/ 96 h 161"/>
                  <a:gd name="T32" fmla="*/ 43 w 70"/>
                  <a:gd name="T33" fmla="*/ 68 h 161"/>
                  <a:gd name="T34" fmla="*/ 40 w 70"/>
                  <a:gd name="T35" fmla="*/ 39 h 161"/>
                  <a:gd name="T36" fmla="*/ 38 w 70"/>
                  <a:gd name="T37" fmla="*/ 11 h 161"/>
                  <a:gd name="T38" fmla="*/ 45 w 70"/>
                  <a:gd name="T39" fmla="*/ 11 h 161"/>
                  <a:gd name="T40" fmla="*/ 45 w 70"/>
                  <a:gd name="T41" fmla="*/ 11 h 161"/>
                  <a:gd name="T42" fmla="*/ 49 w 70"/>
                  <a:gd name="T43" fmla="*/ 67 h 161"/>
                  <a:gd name="T44" fmla="*/ 56 w 70"/>
                  <a:gd name="T45" fmla="*/ 123 h 161"/>
                  <a:gd name="T46" fmla="*/ 56 w 70"/>
                  <a:gd name="T47"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161">
                    <a:moveTo>
                      <a:pt x="0" y="51"/>
                    </a:moveTo>
                    <a:lnTo>
                      <a:pt x="0" y="51"/>
                    </a:lnTo>
                    <a:lnTo>
                      <a:pt x="70" y="161"/>
                    </a:lnTo>
                    <a:lnTo>
                      <a:pt x="63" y="126"/>
                    </a:lnTo>
                    <a:lnTo>
                      <a:pt x="63" y="126"/>
                    </a:lnTo>
                    <a:lnTo>
                      <a:pt x="56" y="98"/>
                    </a:lnTo>
                    <a:lnTo>
                      <a:pt x="52" y="67"/>
                    </a:lnTo>
                    <a:lnTo>
                      <a:pt x="52" y="35"/>
                    </a:lnTo>
                    <a:lnTo>
                      <a:pt x="52" y="0"/>
                    </a:lnTo>
                    <a:lnTo>
                      <a:pt x="36" y="4"/>
                    </a:lnTo>
                    <a:lnTo>
                      <a:pt x="0" y="51"/>
                    </a:lnTo>
                    <a:lnTo>
                      <a:pt x="0" y="51"/>
                    </a:lnTo>
                    <a:close/>
                    <a:moveTo>
                      <a:pt x="56" y="123"/>
                    </a:moveTo>
                    <a:lnTo>
                      <a:pt x="56" y="123"/>
                    </a:lnTo>
                    <a:lnTo>
                      <a:pt x="56" y="123"/>
                    </a:lnTo>
                    <a:lnTo>
                      <a:pt x="49" y="96"/>
                    </a:lnTo>
                    <a:lnTo>
                      <a:pt x="43" y="68"/>
                    </a:lnTo>
                    <a:lnTo>
                      <a:pt x="40" y="39"/>
                    </a:lnTo>
                    <a:lnTo>
                      <a:pt x="38" y="11"/>
                    </a:lnTo>
                    <a:lnTo>
                      <a:pt x="45" y="11"/>
                    </a:lnTo>
                    <a:lnTo>
                      <a:pt x="45" y="11"/>
                    </a:lnTo>
                    <a:lnTo>
                      <a:pt x="49" y="67"/>
                    </a:lnTo>
                    <a:lnTo>
                      <a:pt x="56" y="123"/>
                    </a:lnTo>
                    <a:lnTo>
                      <a:pt x="56" y="123"/>
                    </a:lnTo>
                    <a:close/>
                  </a:path>
                </a:pathLst>
              </a:custGeom>
              <a:solidFill>
                <a:srgbClr val="0D65A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296"/>
              <p:cNvSpPr>
                <a:spLocks/>
              </p:cNvSpPr>
              <p:nvPr/>
            </p:nvSpPr>
            <p:spPr bwMode="auto">
              <a:xfrm>
                <a:off x="2964557" y="3529252"/>
                <a:ext cx="13080" cy="81384"/>
              </a:xfrm>
              <a:custGeom>
                <a:avLst/>
                <a:gdLst>
                  <a:gd name="T0" fmla="*/ 7 w 18"/>
                  <a:gd name="T1" fmla="*/ 0 h 112"/>
                  <a:gd name="T2" fmla="*/ 7 w 18"/>
                  <a:gd name="T3" fmla="*/ 0 h 112"/>
                  <a:gd name="T4" fmla="*/ 11 w 18"/>
                  <a:gd name="T5" fmla="*/ 56 h 112"/>
                  <a:gd name="T6" fmla="*/ 18 w 18"/>
                  <a:gd name="T7" fmla="*/ 112 h 112"/>
                  <a:gd name="T8" fmla="*/ 18 w 18"/>
                  <a:gd name="T9" fmla="*/ 112 h 112"/>
                  <a:gd name="T10" fmla="*/ 11 w 18"/>
                  <a:gd name="T11" fmla="*/ 85 h 112"/>
                  <a:gd name="T12" fmla="*/ 5 w 18"/>
                  <a:gd name="T13" fmla="*/ 57 h 112"/>
                  <a:gd name="T14" fmla="*/ 2 w 18"/>
                  <a:gd name="T15" fmla="*/ 28 h 112"/>
                  <a:gd name="T16" fmla="*/ 0 w 18"/>
                  <a:gd name="T17" fmla="*/ 0 h 112"/>
                  <a:gd name="T18" fmla="*/ 7 w 18"/>
                  <a:gd name="T19" fmla="*/ 0 h 112"/>
                  <a:gd name="T20" fmla="*/ 7 w 18"/>
                  <a:gd name="T21" fmla="*/ 0 h 112"/>
                  <a:gd name="T22" fmla="*/ 7 w 18"/>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12">
                    <a:moveTo>
                      <a:pt x="7" y="0"/>
                    </a:moveTo>
                    <a:lnTo>
                      <a:pt x="7" y="0"/>
                    </a:lnTo>
                    <a:lnTo>
                      <a:pt x="11" y="56"/>
                    </a:lnTo>
                    <a:lnTo>
                      <a:pt x="18" y="112"/>
                    </a:lnTo>
                    <a:lnTo>
                      <a:pt x="18" y="112"/>
                    </a:lnTo>
                    <a:lnTo>
                      <a:pt x="11" y="85"/>
                    </a:lnTo>
                    <a:lnTo>
                      <a:pt x="5" y="57"/>
                    </a:lnTo>
                    <a:lnTo>
                      <a:pt x="2" y="28"/>
                    </a:lnTo>
                    <a:lnTo>
                      <a:pt x="0" y="0"/>
                    </a:lnTo>
                    <a:lnTo>
                      <a:pt x="7" y="0"/>
                    </a:lnTo>
                    <a:lnTo>
                      <a:pt x="7" y="0"/>
                    </a:lnTo>
                    <a:lnTo>
                      <a:pt x="7" y="0"/>
                    </a:lnTo>
                    <a:close/>
                  </a:path>
                </a:pathLst>
              </a:custGeom>
              <a:solidFill>
                <a:schemeClr val="accent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58" name="Freeform 297"/>
              <p:cNvSpPr>
                <a:spLocks/>
              </p:cNvSpPr>
              <p:nvPr/>
            </p:nvSpPr>
            <p:spPr bwMode="auto">
              <a:xfrm>
                <a:off x="2908606" y="3624442"/>
                <a:ext cx="20346" cy="81384"/>
              </a:xfrm>
              <a:custGeom>
                <a:avLst/>
                <a:gdLst>
                  <a:gd name="T0" fmla="*/ 21 w 28"/>
                  <a:gd name="T1" fmla="*/ 0 h 112"/>
                  <a:gd name="T2" fmla="*/ 21 w 28"/>
                  <a:gd name="T3" fmla="*/ 0 h 112"/>
                  <a:gd name="T4" fmla="*/ 23 w 28"/>
                  <a:gd name="T5" fmla="*/ 5 h 112"/>
                  <a:gd name="T6" fmla="*/ 28 w 28"/>
                  <a:gd name="T7" fmla="*/ 73 h 112"/>
                  <a:gd name="T8" fmla="*/ 11 w 28"/>
                  <a:gd name="T9" fmla="*/ 112 h 112"/>
                  <a:gd name="T10" fmla="*/ 11 w 28"/>
                  <a:gd name="T11" fmla="*/ 112 h 112"/>
                  <a:gd name="T12" fmla="*/ 0 w 28"/>
                  <a:gd name="T13" fmla="*/ 96 h 112"/>
                  <a:gd name="T14" fmla="*/ 0 w 28"/>
                  <a:gd name="T15" fmla="*/ 54 h 112"/>
                  <a:gd name="T16" fmla="*/ 21 w 28"/>
                  <a:gd name="T17" fmla="*/ 0 h 112"/>
                  <a:gd name="T18" fmla="*/ 21 w 28"/>
                  <a:gd name="T19" fmla="*/ 0 h 112"/>
                  <a:gd name="T20" fmla="*/ 21 w 28"/>
                  <a:gd name="T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2">
                    <a:moveTo>
                      <a:pt x="21" y="0"/>
                    </a:moveTo>
                    <a:lnTo>
                      <a:pt x="21" y="0"/>
                    </a:lnTo>
                    <a:lnTo>
                      <a:pt x="23" y="5"/>
                    </a:lnTo>
                    <a:lnTo>
                      <a:pt x="28" y="73"/>
                    </a:lnTo>
                    <a:lnTo>
                      <a:pt x="11" y="112"/>
                    </a:lnTo>
                    <a:lnTo>
                      <a:pt x="11" y="112"/>
                    </a:lnTo>
                    <a:lnTo>
                      <a:pt x="0" y="96"/>
                    </a:lnTo>
                    <a:lnTo>
                      <a:pt x="0" y="54"/>
                    </a:lnTo>
                    <a:lnTo>
                      <a:pt x="21" y="0"/>
                    </a:lnTo>
                    <a:lnTo>
                      <a:pt x="21" y="0"/>
                    </a:lnTo>
                    <a:lnTo>
                      <a:pt x="21" y="0"/>
                    </a:lnTo>
                    <a:close/>
                  </a:path>
                </a:pathLst>
              </a:custGeom>
              <a:solidFill>
                <a:srgbClr val="EFF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298"/>
              <p:cNvSpPr>
                <a:spLocks/>
              </p:cNvSpPr>
              <p:nvPr/>
            </p:nvSpPr>
            <p:spPr bwMode="auto">
              <a:xfrm>
                <a:off x="2916599" y="3550324"/>
                <a:ext cx="56678" cy="208546"/>
              </a:xfrm>
              <a:custGeom>
                <a:avLst/>
                <a:gdLst>
                  <a:gd name="T0" fmla="*/ 12 w 78"/>
                  <a:gd name="T1" fmla="*/ 107 h 287"/>
                  <a:gd name="T2" fmla="*/ 12 w 78"/>
                  <a:gd name="T3" fmla="*/ 107 h 287"/>
                  <a:gd name="T4" fmla="*/ 10 w 78"/>
                  <a:gd name="T5" fmla="*/ 102 h 287"/>
                  <a:gd name="T6" fmla="*/ 10 w 78"/>
                  <a:gd name="T7" fmla="*/ 102 h 287"/>
                  <a:gd name="T8" fmla="*/ 3 w 78"/>
                  <a:gd name="T9" fmla="*/ 76 h 287"/>
                  <a:gd name="T10" fmla="*/ 0 w 78"/>
                  <a:gd name="T11" fmla="*/ 51 h 287"/>
                  <a:gd name="T12" fmla="*/ 0 w 78"/>
                  <a:gd name="T13" fmla="*/ 25 h 287"/>
                  <a:gd name="T14" fmla="*/ 5 w 78"/>
                  <a:gd name="T15" fmla="*/ 0 h 287"/>
                  <a:gd name="T16" fmla="*/ 5 w 78"/>
                  <a:gd name="T17" fmla="*/ 0 h 287"/>
                  <a:gd name="T18" fmla="*/ 8 w 78"/>
                  <a:gd name="T19" fmla="*/ 32 h 287"/>
                  <a:gd name="T20" fmla="*/ 14 w 78"/>
                  <a:gd name="T21" fmla="*/ 60 h 287"/>
                  <a:gd name="T22" fmla="*/ 22 w 78"/>
                  <a:gd name="T23" fmla="*/ 88 h 287"/>
                  <a:gd name="T24" fmla="*/ 35 w 78"/>
                  <a:gd name="T25" fmla="*/ 112 h 287"/>
                  <a:gd name="T26" fmla="*/ 35 w 78"/>
                  <a:gd name="T27" fmla="*/ 196 h 287"/>
                  <a:gd name="T28" fmla="*/ 35 w 78"/>
                  <a:gd name="T29" fmla="*/ 196 h 287"/>
                  <a:gd name="T30" fmla="*/ 35 w 78"/>
                  <a:gd name="T31" fmla="*/ 212 h 287"/>
                  <a:gd name="T32" fmla="*/ 38 w 78"/>
                  <a:gd name="T33" fmla="*/ 224 h 287"/>
                  <a:gd name="T34" fmla="*/ 42 w 78"/>
                  <a:gd name="T35" fmla="*/ 237 h 287"/>
                  <a:gd name="T36" fmla="*/ 47 w 78"/>
                  <a:gd name="T37" fmla="*/ 247 h 287"/>
                  <a:gd name="T38" fmla="*/ 52 w 78"/>
                  <a:gd name="T39" fmla="*/ 256 h 287"/>
                  <a:gd name="T40" fmla="*/ 59 w 78"/>
                  <a:gd name="T41" fmla="*/ 263 h 287"/>
                  <a:gd name="T42" fmla="*/ 68 w 78"/>
                  <a:gd name="T43" fmla="*/ 268 h 287"/>
                  <a:gd name="T44" fmla="*/ 78 w 78"/>
                  <a:gd name="T45" fmla="*/ 272 h 287"/>
                  <a:gd name="T46" fmla="*/ 78 w 78"/>
                  <a:gd name="T47" fmla="*/ 272 h 287"/>
                  <a:gd name="T48" fmla="*/ 77 w 78"/>
                  <a:gd name="T49" fmla="*/ 280 h 287"/>
                  <a:gd name="T50" fmla="*/ 73 w 78"/>
                  <a:gd name="T51" fmla="*/ 286 h 287"/>
                  <a:gd name="T52" fmla="*/ 71 w 78"/>
                  <a:gd name="T53" fmla="*/ 287 h 287"/>
                  <a:gd name="T54" fmla="*/ 66 w 78"/>
                  <a:gd name="T55" fmla="*/ 287 h 287"/>
                  <a:gd name="T56" fmla="*/ 33 w 78"/>
                  <a:gd name="T57" fmla="*/ 266 h 287"/>
                  <a:gd name="T58" fmla="*/ 33 w 78"/>
                  <a:gd name="T59" fmla="*/ 266 h 287"/>
                  <a:gd name="T60" fmla="*/ 36 w 78"/>
                  <a:gd name="T61" fmla="*/ 266 h 287"/>
                  <a:gd name="T62" fmla="*/ 0 w 78"/>
                  <a:gd name="T63" fmla="*/ 214 h 287"/>
                  <a:gd name="T64" fmla="*/ 17 w 78"/>
                  <a:gd name="T65" fmla="*/ 175 h 287"/>
                  <a:gd name="T66" fmla="*/ 12 w 78"/>
                  <a:gd name="T67" fmla="*/ 107 h 287"/>
                  <a:gd name="T68" fmla="*/ 12 w 78"/>
                  <a:gd name="T69" fmla="*/ 107 h 287"/>
                  <a:gd name="T70" fmla="*/ 12 w 78"/>
                  <a:gd name="T71" fmla="*/ 10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8" h="287">
                    <a:moveTo>
                      <a:pt x="12" y="107"/>
                    </a:moveTo>
                    <a:lnTo>
                      <a:pt x="12" y="107"/>
                    </a:lnTo>
                    <a:lnTo>
                      <a:pt x="10" y="102"/>
                    </a:lnTo>
                    <a:lnTo>
                      <a:pt x="10" y="102"/>
                    </a:lnTo>
                    <a:lnTo>
                      <a:pt x="3" y="76"/>
                    </a:lnTo>
                    <a:lnTo>
                      <a:pt x="0" y="51"/>
                    </a:lnTo>
                    <a:lnTo>
                      <a:pt x="0" y="25"/>
                    </a:lnTo>
                    <a:lnTo>
                      <a:pt x="5" y="0"/>
                    </a:lnTo>
                    <a:lnTo>
                      <a:pt x="5" y="0"/>
                    </a:lnTo>
                    <a:lnTo>
                      <a:pt x="8" y="32"/>
                    </a:lnTo>
                    <a:lnTo>
                      <a:pt x="14" y="60"/>
                    </a:lnTo>
                    <a:lnTo>
                      <a:pt x="22" y="88"/>
                    </a:lnTo>
                    <a:lnTo>
                      <a:pt x="35" y="112"/>
                    </a:lnTo>
                    <a:lnTo>
                      <a:pt x="35" y="196"/>
                    </a:lnTo>
                    <a:lnTo>
                      <a:pt x="35" y="196"/>
                    </a:lnTo>
                    <a:lnTo>
                      <a:pt x="35" y="212"/>
                    </a:lnTo>
                    <a:lnTo>
                      <a:pt x="38" y="224"/>
                    </a:lnTo>
                    <a:lnTo>
                      <a:pt x="42" y="237"/>
                    </a:lnTo>
                    <a:lnTo>
                      <a:pt x="47" y="247"/>
                    </a:lnTo>
                    <a:lnTo>
                      <a:pt x="52" y="256"/>
                    </a:lnTo>
                    <a:lnTo>
                      <a:pt x="59" y="263"/>
                    </a:lnTo>
                    <a:lnTo>
                      <a:pt x="68" y="268"/>
                    </a:lnTo>
                    <a:lnTo>
                      <a:pt x="78" y="272"/>
                    </a:lnTo>
                    <a:lnTo>
                      <a:pt x="78" y="272"/>
                    </a:lnTo>
                    <a:lnTo>
                      <a:pt x="77" y="280"/>
                    </a:lnTo>
                    <a:lnTo>
                      <a:pt x="73" y="286"/>
                    </a:lnTo>
                    <a:lnTo>
                      <a:pt x="71" y="287"/>
                    </a:lnTo>
                    <a:lnTo>
                      <a:pt x="66" y="287"/>
                    </a:lnTo>
                    <a:lnTo>
                      <a:pt x="33" y="266"/>
                    </a:lnTo>
                    <a:lnTo>
                      <a:pt x="33" y="266"/>
                    </a:lnTo>
                    <a:lnTo>
                      <a:pt x="36" y="266"/>
                    </a:lnTo>
                    <a:lnTo>
                      <a:pt x="0" y="214"/>
                    </a:lnTo>
                    <a:lnTo>
                      <a:pt x="17" y="175"/>
                    </a:lnTo>
                    <a:lnTo>
                      <a:pt x="12" y="107"/>
                    </a:lnTo>
                    <a:lnTo>
                      <a:pt x="12" y="107"/>
                    </a:lnTo>
                    <a:lnTo>
                      <a:pt x="12" y="107"/>
                    </a:lnTo>
                    <a:close/>
                  </a:path>
                </a:pathLst>
              </a:custGeom>
              <a:solidFill>
                <a:srgbClr val="0B538F"/>
              </a:solidFill>
              <a:ln w="9525">
                <a:solidFill>
                  <a:srgbClr val="0B538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0" name="Freeform 299"/>
              <p:cNvSpPr>
                <a:spLocks/>
              </p:cNvSpPr>
              <p:nvPr/>
            </p:nvSpPr>
            <p:spPr bwMode="auto">
              <a:xfrm>
                <a:off x="2922412" y="3743611"/>
                <a:ext cx="70484" cy="60311"/>
              </a:xfrm>
              <a:custGeom>
                <a:avLst/>
                <a:gdLst>
                  <a:gd name="T0" fmla="*/ 58 w 97"/>
                  <a:gd name="T1" fmla="*/ 21 h 83"/>
                  <a:gd name="T2" fmla="*/ 58 w 97"/>
                  <a:gd name="T3" fmla="*/ 34 h 83"/>
                  <a:gd name="T4" fmla="*/ 90 w 97"/>
                  <a:gd name="T5" fmla="*/ 60 h 83"/>
                  <a:gd name="T6" fmla="*/ 90 w 97"/>
                  <a:gd name="T7" fmla="*/ 60 h 83"/>
                  <a:gd name="T8" fmla="*/ 93 w 97"/>
                  <a:gd name="T9" fmla="*/ 63 h 83"/>
                  <a:gd name="T10" fmla="*/ 95 w 97"/>
                  <a:gd name="T11" fmla="*/ 65 h 83"/>
                  <a:gd name="T12" fmla="*/ 97 w 97"/>
                  <a:gd name="T13" fmla="*/ 69 h 83"/>
                  <a:gd name="T14" fmla="*/ 95 w 97"/>
                  <a:gd name="T15" fmla="*/ 72 h 83"/>
                  <a:gd name="T16" fmla="*/ 46 w 97"/>
                  <a:gd name="T17" fmla="*/ 34 h 83"/>
                  <a:gd name="T18" fmla="*/ 34 w 97"/>
                  <a:gd name="T19" fmla="*/ 34 h 83"/>
                  <a:gd name="T20" fmla="*/ 34 w 97"/>
                  <a:gd name="T21" fmla="*/ 34 h 83"/>
                  <a:gd name="T22" fmla="*/ 53 w 97"/>
                  <a:gd name="T23" fmla="*/ 53 h 83"/>
                  <a:gd name="T24" fmla="*/ 76 w 97"/>
                  <a:gd name="T25" fmla="*/ 67 h 83"/>
                  <a:gd name="T26" fmla="*/ 76 w 97"/>
                  <a:gd name="T27" fmla="*/ 67 h 83"/>
                  <a:gd name="T28" fmla="*/ 67 w 97"/>
                  <a:gd name="T29" fmla="*/ 70 h 83"/>
                  <a:gd name="T30" fmla="*/ 25 w 97"/>
                  <a:gd name="T31" fmla="*/ 37 h 83"/>
                  <a:gd name="T32" fmla="*/ 21 w 97"/>
                  <a:gd name="T33" fmla="*/ 42 h 83"/>
                  <a:gd name="T34" fmla="*/ 21 w 97"/>
                  <a:gd name="T35" fmla="*/ 42 h 83"/>
                  <a:gd name="T36" fmla="*/ 30 w 97"/>
                  <a:gd name="T37" fmla="*/ 53 h 83"/>
                  <a:gd name="T38" fmla="*/ 37 w 97"/>
                  <a:gd name="T39" fmla="*/ 62 h 83"/>
                  <a:gd name="T40" fmla="*/ 48 w 97"/>
                  <a:gd name="T41" fmla="*/ 67 h 83"/>
                  <a:gd name="T42" fmla="*/ 56 w 97"/>
                  <a:gd name="T43" fmla="*/ 70 h 83"/>
                  <a:gd name="T44" fmla="*/ 58 w 97"/>
                  <a:gd name="T45" fmla="*/ 70 h 83"/>
                  <a:gd name="T46" fmla="*/ 58 w 97"/>
                  <a:gd name="T47" fmla="*/ 70 h 83"/>
                  <a:gd name="T48" fmla="*/ 60 w 97"/>
                  <a:gd name="T49" fmla="*/ 70 h 83"/>
                  <a:gd name="T50" fmla="*/ 60 w 97"/>
                  <a:gd name="T51" fmla="*/ 70 h 83"/>
                  <a:gd name="T52" fmla="*/ 58 w 97"/>
                  <a:gd name="T53" fmla="*/ 77 h 83"/>
                  <a:gd name="T54" fmla="*/ 58 w 97"/>
                  <a:gd name="T55" fmla="*/ 77 h 83"/>
                  <a:gd name="T56" fmla="*/ 46 w 97"/>
                  <a:gd name="T57" fmla="*/ 72 h 83"/>
                  <a:gd name="T58" fmla="*/ 34 w 97"/>
                  <a:gd name="T59" fmla="*/ 65 h 83"/>
                  <a:gd name="T60" fmla="*/ 23 w 97"/>
                  <a:gd name="T61" fmla="*/ 56 h 83"/>
                  <a:gd name="T62" fmla="*/ 14 w 97"/>
                  <a:gd name="T63" fmla="*/ 46 h 83"/>
                  <a:gd name="T64" fmla="*/ 14 w 97"/>
                  <a:gd name="T65" fmla="*/ 53 h 83"/>
                  <a:gd name="T66" fmla="*/ 14 w 97"/>
                  <a:gd name="T67" fmla="*/ 53 h 83"/>
                  <a:gd name="T68" fmla="*/ 28 w 97"/>
                  <a:gd name="T69" fmla="*/ 65 h 83"/>
                  <a:gd name="T70" fmla="*/ 44 w 97"/>
                  <a:gd name="T71" fmla="*/ 76 h 83"/>
                  <a:gd name="T72" fmla="*/ 44 w 97"/>
                  <a:gd name="T73" fmla="*/ 76 h 83"/>
                  <a:gd name="T74" fmla="*/ 49 w 97"/>
                  <a:gd name="T75" fmla="*/ 79 h 83"/>
                  <a:gd name="T76" fmla="*/ 49 w 97"/>
                  <a:gd name="T77" fmla="*/ 79 h 83"/>
                  <a:gd name="T78" fmla="*/ 46 w 97"/>
                  <a:gd name="T79" fmla="*/ 83 h 83"/>
                  <a:gd name="T80" fmla="*/ 46 w 97"/>
                  <a:gd name="T81" fmla="*/ 83 h 83"/>
                  <a:gd name="T82" fmla="*/ 37 w 97"/>
                  <a:gd name="T83" fmla="*/ 81 h 83"/>
                  <a:gd name="T84" fmla="*/ 28 w 97"/>
                  <a:gd name="T85" fmla="*/ 76 h 83"/>
                  <a:gd name="T86" fmla="*/ 23 w 97"/>
                  <a:gd name="T87" fmla="*/ 70 h 83"/>
                  <a:gd name="T88" fmla="*/ 16 w 97"/>
                  <a:gd name="T89" fmla="*/ 63 h 83"/>
                  <a:gd name="T90" fmla="*/ 0 w 97"/>
                  <a:gd name="T91" fmla="*/ 37 h 83"/>
                  <a:gd name="T92" fmla="*/ 0 w 97"/>
                  <a:gd name="T93" fmla="*/ 37 h 83"/>
                  <a:gd name="T94" fmla="*/ 4 w 97"/>
                  <a:gd name="T95" fmla="*/ 27 h 83"/>
                  <a:gd name="T96" fmla="*/ 7 w 97"/>
                  <a:gd name="T97" fmla="*/ 18 h 83"/>
                  <a:gd name="T98" fmla="*/ 16 w 97"/>
                  <a:gd name="T99" fmla="*/ 9 h 83"/>
                  <a:gd name="T100" fmla="*/ 25 w 97"/>
                  <a:gd name="T101" fmla="*/ 0 h 83"/>
                  <a:gd name="T102" fmla="*/ 58 w 97"/>
                  <a:gd name="T103" fmla="*/ 21 h 83"/>
                  <a:gd name="T104" fmla="*/ 58 w 97"/>
                  <a:gd name="T105" fmla="*/ 21 h 83"/>
                  <a:gd name="T106" fmla="*/ 58 w 97"/>
                  <a:gd name="T107"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83">
                    <a:moveTo>
                      <a:pt x="58" y="21"/>
                    </a:moveTo>
                    <a:lnTo>
                      <a:pt x="58" y="34"/>
                    </a:lnTo>
                    <a:lnTo>
                      <a:pt x="90" y="60"/>
                    </a:lnTo>
                    <a:lnTo>
                      <a:pt x="90" y="60"/>
                    </a:lnTo>
                    <a:lnTo>
                      <a:pt x="93" y="63"/>
                    </a:lnTo>
                    <a:lnTo>
                      <a:pt x="95" y="65"/>
                    </a:lnTo>
                    <a:lnTo>
                      <a:pt x="97" y="69"/>
                    </a:lnTo>
                    <a:lnTo>
                      <a:pt x="95" y="72"/>
                    </a:lnTo>
                    <a:lnTo>
                      <a:pt x="46" y="34"/>
                    </a:lnTo>
                    <a:lnTo>
                      <a:pt x="34" y="34"/>
                    </a:lnTo>
                    <a:lnTo>
                      <a:pt x="34" y="34"/>
                    </a:lnTo>
                    <a:lnTo>
                      <a:pt x="53" y="53"/>
                    </a:lnTo>
                    <a:lnTo>
                      <a:pt x="76" y="67"/>
                    </a:lnTo>
                    <a:lnTo>
                      <a:pt x="76" y="67"/>
                    </a:lnTo>
                    <a:lnTo>
                      <a:pt x="67" y="70"/>
                    </a:lnTo>
                    <a:lnTo>
                      <a:pt x="25" y="37"/>
                    </a:lnTo>
                    <a:lnTo>
                      <a:pt x="21" y="42"/>
                    </a:lnTo>
                    <a:lnTo>
                      <a:pt x="21" y="42"/>
                    </a:lnTo>
                    <a:lnTo>
                      <a:pt x="30" y="53"/>
                    </a:lnTo>
                    <a:lnTo>
                      <a:pt x="37" y="62"/>
                    </a:lnTo>
                    <a:lnTo>
                      <a:pt x="48" y="67"/>
                    </a:lnTo>
                    <a:lnTo>
                      <a:pt x="56" y="70"/>
                    </a:lnTo>
                    <a:lnTo>
                      <a:pt x="58" y="70"/>
                    </a:lnTo>
                    <a:lnTo>
                      <a:pt x="58" y="70"/>
                    </a:lnTo>
                    <a:lnTo>
                      <a:pt x="60" y="70"/>
                    </a:lnTo>
                    <a:lnTo>
                      <a:pt x="60" y="70"/>
                    </a:lnTo>
                    <a:lnTo>
                      <a:pt x="58" y="77"/>
                    </a:lnTo>
                    <a:lnTo>
                      <a:pt x="58" y="77"/>
                    </a:lnTo>
                    <a:lnTo>
                      <a:pt x="46" y="72"/>
                    </a:lnTo>
                    <a:lnTo>
                      <a:pt x="34" y="65"/>
                    </a:lnTo>
                    <a:lnTo>
                      <a:pt x="23" y="56"/>
                    </a:lnTo>
                    <a:lnTo>
                      <a:pt x="14" y="46"/>
                    </a:lnTo>
                    <a:lnTo>
                      <a:pt x="14" y="53"/>
                    </a:lnTo>
                    <a:lnTo>
                      <a:pt x="14" y="53"/>
                    </a:lnTo>
                    <a:lnTo>
                      <a:pt x="28" y="65"/>
                    </a:lnTo>
                    <a:lnTo>
                      <a:pt x="44" y="76"/>
                    </a:lnTo>
                    <a:lnTo>
                      <a:pt x="44" y="76"/>
                    </a:lnTo>
                    <a:lnTo>
                      <a:pt x="49" y="79"/>
                    </a:lnTo>
                    <a:lnTo>
                      <a:pt x="49" y="79"/>
                    </a:lnTo>
                    <a:lnTo>
                      <a:pt x="46" y="83"/>
                    </a:lnTo>
                    <a:lnTo>
                      <a:pt x="46" y="83"/>
                    </a:lnTo>
                    <a:lnTo>
                      <a:pt x="37" y="81"/>
                    </a:lnTo>
                    <a:lnTo>
                      <a:pt x="28" y="76"/>
                    </a:lnTo>
                    <a:lnTo>
                      <a:pt x="23" y="70"/>
                    </a:lnTo>
                    <a:lnTo>
                      <a:pt x="16" y="63"/>
                    </a:lnTo>
                    <a:lnTo>
                      <a:pt x="0" y="37"/>
                    </a:lnTo>
                    <a:lnTo>
                      <a:pt x="0" y="37"/>
                    </a:lnTo>
                    <a:lnTo>
                      <a:pt x="4" y="27"/>
                    </a:lnTo>
                    <a:lnTo>
                      <a:pt x="7" y="18"/>
                    </a:lnTo>
                    <a:lnTo>
                      <a:pt x="16" y="9"/>
                    </a:lnTo>
                    <a:lnTo>
                      <a:pt x="25" y="0"/>
                    </a:lnTo>
                    <a:lnTo>
                      <a:pt x="58" y="21"/>
                    </a:lnTo>
                    <a:lnTo>
                      <a:pt x="58" y="21"/>
                    </a:lnTo>
                    <a:lnTo>
                      <a:pt x="58" y="21"/>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1" name="Freeform 300"/>
              <p:cNvSpPr>
                <a:spLocks/>
              </p:cNvSpPr>
              <p:nvPr/>
            </p:nvSpPr>
            <p:spPr bwMode="auto">
              <a:xfrm>
                <a:off x="2878087" y="3747971"/>
                <a:ext cx="188200" cy="300830"/>
              </a:xfrm>
              <a:custGeom>
                <a:avLst/>
                <a:gdLst>
                  <a:gd name="T0" fmla="*/ 119 w 259"/>
                  <a:gd name="T1" fmla="*/ 15 h 414"/>
                  <a:gd name="T2" fmla="*/ 124 w 259"/>
                  <a:gd name="T3" fmla="*/ 15 h 414"/>
                  <a:gd name="T4" fmla="*/ 130 w 259"/>
                  <a:gd name="T5" fmla="*/ 8 h 414"/>
                  <a:gd name="T6" fmla="*/ 131 w 259"/>
                  <a:gd name="T7" fmla="*/ 0 h 414"/>
                  <a:gd name="T8" fmla="*/ 144 w 259"/>
                  <a:gd name="T9" fmla="*/ 33 h 414"/>
                  <a:gd name="T10" fmla="*/ 149 w 259"/>
                  <a:gd name="T11" fmla="*/ 40 h 414"/>
                  <a:gd name="T12" fmla="*/ 168 w 259"/>
                  <a:gd name="T13" fmla="*/ 49 h 414"/>
                  <a:gd name="T14" fmla="*/ 198 w 259"/>
                  <a:gd name="T15" fmla="*/ 52 h 414"/>
                  <a:gd name="T16" fmla="*/ 236 w 259"/>
                  <a:gd name="T17" fmla="*/ 47 h 414"/>
                  <a:gd name="T18" fmla="*/ 259 w 259"/>
                  <a:gd name="T19" fmla="*/ 43 h 414"/>
                  <a:gd name="T20" fmla="*/ 170 w 259"/>
                  <a:gd name="T21" fmla="*/ 70 h 414"/>
                  <a:gd name="T22" fmla="*/ 156 w 259"/>
                  <a:gd name="T23" fmla="*/ 84 h 414"/>
                  <a:gd name="T24" fmla="*/ 142 w 259"/>
                  <a:gd name="T25" fmla="*/ 92 h 414"/>
                  <a:gd name="T26" fmla="*/ 126 w 259"/>
                  <a:gd name="T27" fmla="*/ 96 h 414"/>
                  <a:gd name="T28" fmla="*/ 110 w 259"/>
                  <a:gd name="T29" fmla="*/ 94 h 414"/>
                  <a:gd name="T30" fmla="*/ 65 w 259"/>
                  <a:gd name="T31" fmla="*/ 322 h 414"/>
                  <a:gd name="T32" fmla="*/ 231 w 259"/>
                  <a:gd name="T33" fmla="*/ 414 h 414"/>
                  <a:gd name="T34" fmla="*/ 210 w 259"/>
                  <a:gd name="T35" fmla="*/ 413 h 414"/>
                  <a:gd name="T36" fmla="*/ 130 w 259"/>
                  <a:gd name="T37" fmla="*/ 402 h 414"/>
                  <a:gd name="T38" fmla="*/ 74 w 259"/>
                  <a:gd name="T39" fmla="*/ 390 h 414"/>
                  <a:gd name="T40" fmla="*/ 37 w 259"/>
                  <a:gd name="T41" fmla="*/ 379 h 414"/>
                  <a:gd name="T42" fmla="*/ 16 w 259"/>
                  <a:gd name="T43" fmla="*/ 246 h 414"/>
                  <a:gd name="T44" fmla="*/ 18 w 259"/>
                  <a:gd name="T45" fmla="*/ 187 h 414"/>
                  <a:gd name="T46" fmla="*/ 26 w 259"/>
                  <a:gd name="T47" fmla="*/ 73 h 414"/>
                  <a:gd name="T48" fmla="*/ 47 w 259"/>
                  <a:gd name="T49" fmla="*/ 35 h 414"/>
                  <a:gd name="T50" fmla="*/ 49 w 259"/>
                  <a:gd name="T51" fmla="*/ 28 h 414"/>
                  <a:gd name="T52" fmla="*/ 84 w 259"/>
                  <a:gd name="T53" fmla="*/ 73 h 414"/>
                  <a:gd name="T54" fmla="*/ 96 w 259"/>
                  <a:gd name="T55" fmla="*/ 80 h 414"/>
                  <a:gd name="T56" fmla="*/ 107 w 259"/>
                  <a:gd name="T57" fmla="*/ 77 h 414"/>
                  <a:gd name="T58" fmla="*/ 110 w 259"/>
                  <a:gd name="T59" fmla="*/ 73 h 414"/>
                  <a:gd name="T60" fmla="*/ 114 w 259"/>
                  <a:gd name="T61" fmla="*/ 73 h 414"/>
                  <a:gd name="T62" fmla="*/ 119 w 259"/>
                  <a:gd name="T63" fmla="*/ 71 h 414"/>
                  <a:gd name="T64" fmla="*/ 121 w 259"/>
                  <a:gd name="T65" fmla="*/ 64 h 414"/>
                  <a:gd name="T66" fmla="*/ 128 w 259"/>
                  <a:gd name="T67" fmla="*/ 64 h 414"/>
                  <a:gd name="T68" fmla="*/ 137 w 259"/>
                  <a:gd name="T69" fmla="*/ 61 h 414"/>
                  <a:gd name="T70" fmla="*/ 138 w 259"/>
                  <a:gd name="T71" fmla="*/ 63 h 414"/>
                  <a:gd name="T72" fmla="*/ 151 w 259"/>
                  <a:gd name="T73" fmla="*/ 70 h 414"/>
                  <a:gd name="T74" fmla="*/ 156 w 259"/>
                  <a:gd name="T75" fmla="*/ 66 h 414"/>
                  <a:gd name="T76" fmla="*/ 156 w 259"/>
                  <a:gd name="T77" fmla="*/ 59 h 414"/>
                  <a:gd name="T78" fmla="*/ 151 w 259"/>
                  <a:gd name="T79" fmla="*/ 54 h 414"/>
                  <a:gd name="T80" fmla="*/ 119 w 259"/>
                  <a:gd name="T81" fmla="*/ 2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414">
                    <a:moveTo>
                      <a:pt x="119" y="28"/>
                    </a:moveTo>
                    <a:lnTo>
                      <a:pt x="119" y="15"/>
                    </a:lnTo>
                    <a:lnTo>
                      <a:pt x="119" y="15"/>
                    </a:lnTo>
                    <a:lnTo>
                      <a:pt x="124" y="15"/>
                    </a:lnTo>
                    <a:lnTo>
                      <a:pt x="126" y="14"/>
                    </a:lnTo>
                    <a:lnTo>
                      <a:pt x="130" y="8"/>
                    </a:lnTo>
                    <a:lnTo>
                      <a:pt x="131" y="0"/>
                    </a:lnTo>
                    <a:lnTo>
                      <a:pt x="131" y="0"/>
                    </a:lnTo>
                    <a:lnTo>
                      <a:pt x="137" y="17"/>
                    </a:lnTo>
                    <a:lnTo>
                      <a:pt x="144" y="33"/>
                    </a:lnTo>
                    <a:lnTo>
                      <a:pt x="144" y="33"/>
                    </a:lnTo>
                    <a:lnTo>
                      <a:pt x="149" y="40"/>
                    </a:lnTo>
                    <a:lnTo>
                      <a:pt x="158" y="45"/>
                    </a:lnTo>
                    <a:lnTo>
                      <a:pt x="168" y="49"/>
                    </a:lnTo>
                    <a:lnTo>
                      <a:pt x="182" y="50"/>
                    </a:lnTo>
                    <a:lnTo>
                      <a:pt x="198" y="52"/>
                    </a:lnTo>
                    <a:lnTo>
                      <a:pt x="215" y="50"/>
                    </a:lnTo>
                    <a:lnTo>
                      <a:pt x="236" y="47"/>
                    </a:lnTo>
                    <a:lnTo>
                      <a:pt x="259" y="43"/>
                    </a:lnTo>
                    <a:lnTo>
                      <a:pt x="259" y="43"/>
                    </a:lnTo>
                    <a:lnTo>
                      <a:pt x="259" y="52"/>
                    </a:lnTo>
                    <a:lnTo>
                      <a:pt x="170" y="70"/>
                    </a:lnTo>
                    <a:lnTo>
                      <a:pt x="170" y="70"/>
                    </a:lnTo>
                    <a:lnTo>
                      <a:pt x="156" y="84"/>
                    </a:lnTo>
                    <a:lnTo>
                      <a:pt x="149" y="87"/>
                    </a:lnTo>
                    <a:lnTo>
                      <a:pt x="142" y="92"/>
                    </a:lnTo>
                    <a:lnTo>
                      <a:pt x="135" y="94"/>
                    </a:lnTo>
                    <a:lnTo>
                      <a:pt x="126" y="96"/>
                    </a:lnTo>
                    <a:lnTo>
                      <a:pt x="119" y="96"/>
                    </a:lnTo>
                    <a:lnTo>
                      <a:pt x="110" y="94"/>
                    </a:lnTo>
                    <a:lnTo>
                      <a:pt x="65" y="94"/>
                    </a:lnTo>
                    <a:lnTo>
                      <a:pt x="65" y="322"/>
                    </a:lnTo>
                    <a:lnTo>
                      <a:pt x="231" y="414"/>
                    </a:lnTo>
                    <a:lnTo>
                      <a:pt x="231" y="414"/>
                    </a:lnTo>
                    <a:lnTo>
                      <a:pt x="210" y="413"/>
                    </a:lnTo>
                    <a:lnTo>
                      <a:pt x="210" y="413"/>
                    </a:lnTo>
                    <a:lnTo>
                      <a:pt x="170" y="409"/>
                    </a:lnTo>
                    <a:lnTo>
                      <a:pt x="130" y="402"/>
                    </a:lnTo>
                    <a:lnTo>
                      <a:pt x="130" y="402"/>
                    </a:lnTo>
                    <a:lnTo>
                      <a:pt x="74" y="390"/>
                    </a:lnTo>
                    <a:lnTo>
                      <a:pt x="74" y="390"/>
                    </a:lnTo>
                    <a:lnTo>
                      <a:pt x="37" y="379"/>
                    </a:lnTo>
                    <a:lnTo>
                      <a:pt x="0" y="367"/>
                    </a:lnTo>
                    <a:lnTo>
                      <a:pt x="16" y="246"/>
                    </a:lnTo>
                    <a:lnTo>
                      <a:pt x="16" y="246"/>
                    </a:lnTo>
                    <a:lnTo>
                      <a:pt x="18" y="187"/>
                    </a:lnTo>
                    <a:lnTo>
                      <a:pt x="21" y="131"/>
                    </a:lnTo>
                    <a:lnTo>
                      <a:pt x="26" y="73"/>
                    </a:lnTo>
                    <a:lnTo>
                      <a:pt x="35" y="17"/>
                    </a:lnTo>
                    <a:lnTo>
                      <a:pt x="47" y="35"/>
                    </a:lnTo>
                    <a:lnTo>
                      <a:pt x="47" y="35"/>
                    </a:lnTo>
                    <a:lnTo>
                      <a:pt x="49" y="28"/>
                    </a:lnTo>
                    <a:lnTo>
                      <a:pt x="84" y="73"/>
                    </a:lnTo>
                    <a:lnTo>
                      <a:pt x="84" y="73"/>
                    </a:lnTo>
                    <a:lnTo>
                      <a:pt x="91" y="77"/>
                    </a:lnTo>
                    <a:lnTo>
                      <a:pt x="96" y="80"/>
                    </a:lnTo>
                    <a:lnTo>
                      <a:pt x="102" y="80"/>
                    </a:lnTo>
                    <a:lnTo>
                      <a:pt x="107" y="77"/>
                    </a:lnTo>
                    <a:lnTo>
                      <a:pt x="107" y="77"/>
                    </a:lnTo>
                    <a:lnTo>
                      <a:pt x="110" y="73"/>
                    </a:lnTo>
                    <a:lnTo>
                      <a:pt x="110" y="73"/>
                    </a:lnTo>
                    <a:lnTo>
                      <a:pt x="114" y="73"/>
                    </a:lnTo>
                    <a:lnTo>
                      <a:pt x="119" y="71"/>
                    </a:lnTo>
                    <a:lnTo>
                      <a:pt x="119" y="71"/>
                    </a:lnTo>
                    <a:lnTo>
                      <a:pt x="121" y="64"/>
                    </a:lnTo>
                    <a:lnTo>
                      <a:pt x="121" y="64"/>
                    </a:lnTo>
                    <a:lnTo>
                      <a:pt x="128" y="64"/>
                    </a:lnTo>
                    <a:lnTo>
                      <a:pt x="128" y="64"/>
                    </a:lnTo>
                    <a:lnTo>
                      <a:pt x="137" y="61"/>
                    </a:lnTo>
                    <a:lnTo>
                      <a:pt x="137" y="61"/>
                    </a:lnTo>
                    <a:lnTo>
                      <a:pt x="138" y="63"/>
                    </a:lnTo>
                    <a:lnTo>
                      <a:pt x="138" y="63"/>
                    </a:lnTo>
                    <a:lnTo>
                      <a:pt x="151" y="70"/>
                    </a:lnTo>
                    <a:lnTo>
                      <a:pt x="151" y="70"/>
                    </a:lnTo>
                    <a:lnTo>
                      <a:pt x="156" y="66"/>
                    </a:lnTo>
                    <a:lnTo>
                      <a:pt x="156" y="66"/>
                    </a:lnTo>
                    <a:lnTo>
                      <a:pt x="158" y="63"/>
                    </a:lnTo>
                    <a:lnTo>
                      <a:pt x="156" y="59"/>
                    </a:lnTo>
                    <a:lnTo>
                      <a:pt x="154" y="57"/>
                    </a:lnTo>
                    <a:lnTo>
                      <a:pt x="151" y="54"/>
                    </a:lnTo>
                    <a:lnTo>
                      <a:pt x="119" y="28"/>
                    </a:lnTo>
                    <a:lnTo>
                      <a:pt x="119" y="28"/>
                    </a:lnTo>
                    <a:lnTo>
                      <a:pt x="119"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301"/>
              <p:cNvSpPr>
                <a:spLocks/>
              </p:cNvSpPr>
              <p:nvPr/>
            </p:nvSpPr>
            <p:spPr bwMode="auto">
              <a:xfrm>
                <a:off x="2947118" y="3768317"/>
                <a:ext cx="44325" cy="30519"/>
              </a:xfrm>
              <a:custGeom>
                <a:avLst/>
                <a:gdLst>
                  <a:gd name="T0" fmla="*/ 0 w 61"/>
                  <a:gd name="T1" fmla="*/ 0 h 42"/>
                  <a:gd name="T2" fmla="*/ 12 w 61"/>
                  <a:gd name="T3" fmla="*/ 0 h 42"/>
                  <a:gd name="T4" fmla="*/ 61 w 61"/>
                  <a:gd name="T5" fmla="*/ 38 h 42"/>
                  <a:gd name="T6" fmla="*/ 61 w 61"/>
                  <a:gd name="T7" fmla="*/ 38 h 42"/>
                  <a:gd name="T8" fmla="*/ 56 w 61"/>
                  <a:gd name="T9" fmla="*/ 42 h 42"/>
                  <a:gd name="T10" fmla="*/ 56 w 61"/>
                  <a:gd name="T11" fmla="*/ 42 h 42"/>
                  <a:gd name="T12" fmla="*/ 43 w 61"/>
                  <a:gd name="T13" fmla="*/ 35 h 42"/>
                  <a:gd name="T14" fmla="*/ 43 w 61"/>
                  <a:gd name="T15" fmla="*/ 35 h 42"/>
                  <a:gd name="T16" fmla="*/ 42 w 61"/>
                  <a:gd name="T17" fmla="*/ 33 h 42"/>
                  <a:gd name="T18" fmla="*/ 42 w 61"/>
                  <a:gd name="T19" fmla="*/ 33 h 42"/>
                  <a:gd name="T20" fmla="*/ 19 w 61"/>
                  <a:gd name="T21" fmla="*/ 19 h 42"/>
                  <a:gd name="T22" fmla="*/ 0 w 61"/>
                  <a:gd name="T23" fmla="*/ 0 h 42"/>
                  <a:gd name="T24" fmla="*/ 0 w 61"/>
                  <a:gd name="T25" fmla="*/ 0 h 42"/>
                  <a:gd name="T26" fmla="*/ 0 w 61"/>
                  <a:gd name="T2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42">
                    <a:moveTo>
                      <a:pt x="0" y="0"/>
                    </a:moveTo>
                    <a:lnTo>
                      <a:pt x="12" y="0"/>
                    </a:lnTo>
                    <a:lnTo>
                      <a:pt x="61" y="38"/>
                    </a:lnTo>
                    <a:lnTo>
                      <a:pt x="61" y="38"/>
                    </a:lnTo>
                    <a:lnTo>
                      <a:pt x="56" y="42"/>
                    </a:lnTo>
                    <a:lnTo>
                      <a:pt x="56" y="42"/>
                    </a:lnTo>
                    <a:lnTo>
                      <a:pt x="43" y="35"/>
                    </a:lnTo>
                    <a:lnTo>
                      <a:pt x="43" y="35"/>
                    </a:lnTo>
                    <a:lnTo>
                      <a:pt x="42" y="33"/>
                    </a:lnTo>
                    <a:lnTo>
                      <a:pt x="42" y="33"/>
                    </a:lnTo>
                    <a:lnTo>
                      <a:pt x="19" y="19"/>
                    </a:lnTo>
                    <a:lnTo>
                      <a:pt x="0" y="0"/>
                    </a:lnTo>
                    <a:lnTo>
                      <a:pt x="0" y="0"/>
                    </a:lnTo>
                    <a:lnTo>
                      <a:pt x="0" y="0"/>
                    </a:lnTo>
                    <a:close/>
                  </a:path>
                </a:pathLst>
              </a:custGeom>
              <a:solidFill>
                <a:srgbClr val="E2B086"/>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3" name="Freeform 302"/>
              <p:cNvSpPr>
                <a:spLocks/>
              </p:cNvSpPr>
              <p:nvPr/>
            </p:nvSpPr>
            <p:spPr bwMode="auto">
              <a:xfrm>
                <a:off x="2937671" y="3770497"/>
                <a:ext cx="33426" cy="23979"/>
              </a:xfrm>
              <a:custGeom>
                <a:avLst/>
                <a:gdLst>
                  <a:gd name="T0" fmla="*/ 0 w 46"/>
                  <a:gd name="T1" fmla="*/ 5 h 33"/>
                  <a:gd name="T2" fmla="*/ 4 w 46"/>
                  <a:gd name="T3" fmla="*/ 0 h 33"/>
                  <a:gd name="T4" fmla="*/ 46 w 46"/>
                  <a:gd name="T5" fmla="*/ 33 h 33"/>
                  <a:gd name="T6" fmla="*/ 46 w 46"/>
                  <a:gd name="T7" fmla="*/ 33 h 33"/>
                  <a:gd name="T8" fmla="*/ 39 w 46"/>
                  <a:gd name="T9" fmla="*/ 33 h 33"/>
                  <a:gd name="T10" fmla="*/ 39 w 46"/>
                  <a:gd name="T11" fmla="*/ 33 h 33"/>
                  <a:gd name="T12" fmla="*/ 37 w 46"/>
                  <a:gd name="T13" fmla="*/ 33 h 33"/>
                  <a:gd name="T14" fmla="*/ 35 w 46"/>
                  <a:gd name="T15" fmla="*/ 33 h 33"/>
                  <a:gd name="T16" fmla="*/ 35 w 46"/>
                  <a:gd name="T17" fmla="*/ 33 h 33"/>
                  <a:gd name="T18" fmla="*/ 27 w 46"/>
                  <a:gd name="T19" fmla="*/ 30 h 33"/>
                  <a:gd name="T20" fmla="*/ 16 w 46"/>
                  <a:gd name="T21" fmla="*/ 25 h 33"/>
                  <a:gd name="T22" fmla="*/ 9 w 46"/>
                  <a:gd name="T23" fmla="*/ 16 h 33"/>
                  <a:gd name="T24" fmla="*/ 0 w 46"/>
                  <a:gd name="T25" fmla="*/ 5 h 33"/>
                  <a:gd name="T26" fmla="*/ 0 w 46"/>
                  <a:gd name="T27" fmla="*/ 5 h 33"/>
                  <a:gd name="T28" fmla="*/ 0 w 46"/>
                  <a:gd name="T2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3">
                    <a:moveTo>
                      <a:pt x="0" y="5"/>
                    </a:moveTo>
                    <a:lnTo>
                      <a:pt x="4" y="0"/>
                    </a:lnTo>
                    <a:lnTo>
                      <a:pt x="46" y="33"/>
                    </a:lnTo>
                    <a:lnTo>
                      <a:pt x="46" y="33"/>
                    </a:lnTo>
                    <a:lnTo>
                      <a:pt x="39" y="33"/>
                    </a:lnTo>
                    <a:lnTo>
                      <a:pt x="39" y="33"/>
                    </a:lnTo>
                    <a:lnTo>
                      <a:pt x="37" y="33"/>
                    </a:lnTo>
                    <a:lnTo>
                      <a:pt x="35" y="33"/>
                    </a:lnTo>
                    <a:lnTo>
                      <a:pt x="35" y="33"/>
                    </a:lnTo>
                    <a:lnTo>
                      <a:pt x="27" y="30"/>
                    </a:lnTo>
                    <a:lnTo>
                      <a:pt x="16" y="25"/>
                    </a:lnTo>
                    <a:lnTo>
                      <a:pt x="9" y="16"/>
                    </a:lnTo>
                    <a:lnTo>
                      <a:pt x="0" y="5"/>
                    </a:lnTo>
                    <a:lnTo>
                      <a:pt x="0" y="5"/>
                    </a:lnTo>
                    <a:lnTo>
                      <a:pt x="0" y="5"/>
                    </a:lnTo>
                    <a:close/>
                  </a:path>
                </a:pathLst>
              </a:custGeom>
              <a:solidFill>
                <a:srgbClr val="EBBC8D"/>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4" name="Freeform 304"/>
              <p:cNvSpPr>
                <a:spLocks/>
              </p:cNvSpPr>
              <p:nvPr/>
            </p:nvSpPr>
            <p:spPr bwMode="auto">
              <a:xfrm>
                <a:off x="2932585" y="3777036"/>
                <a:ext cx="31972" cy="23979"/>
              </a:xfrm>
              <a:custGeom>
                <a:avLst/>
                <a:gdLst>
                  <a:gd name="T0" fmla="*/ 0 w 44"/>
                  <a:gd name="T1" fmla="*/ 7 h 33"/>
                  <a:gd name="T2" fmla="*/ 0 w 44"/>
                  <a:gd name="T3" fmla="*/ 0 h 33"/>
                  <a:gd name="T4" fmla="*/ 0 w 44"/>
                  <a:gd name="T5" fmla="*/ 0 h 33"/>
                  <a:gd name="T6" fmla="*/ 9 w 44"/>
                  <a:gd name="T7" fmla="*/ 10 h 33"/>
                  <a:gd name="T8" fmla="*/ 20 w 44"/>
                  <a:gd name="T9" fmla="*/ 19 h 33"/>
                  <a:gd name="T10" fmla="*/ 32 w 44"/>
                  <a:gd name="T11" fmla="*/ 26 h 33"/>
                  <a:gd name="T12" fmla="*/ 44 w 44"/>
                  <a:gd name="T13" fmla="*/ 31 h 33"/>
                  <a:gd name="T14" fmla="*/ 44 w 44"/>
                  <a:gd name="T15" fmla="*/ 31 h 33"/>
                  <a:gd name="T16" fmla="*/ 39 w 44"/>
                  <a:gd name="T17" fmla="*/ 33 h 33"/>
                  <a:gd name="T18" fmla="*/ 35 w 44"/>
                  <a:gd name="T19" fmla="*/ 33 h 33"/>
                  <a:gd name="T20" fmla="*/ 35 w 44"/>
                  <a:gd name="T21" fmla="*/ 33 h 33"/>
                  <a:gd name="T22" fmla="*/ 30 w 44"/>
                  <a:gd name="T23" fmla="*/ 30 h 33"/>
                  <a:gd name="T24" fmla="*/ 30 w 44"/>
                  <a:gd name="T25" fmla="*/ 30 h 33"/>
                  <a:gd name="T26" fmla="*/ 14 w 44"/>
                  <a:gd name="T27" fmla="*/ 19 h 33"/>
                  <a:gd name="T28" fmla="*/ 0 w 44"/>
                  <a:gd name="T29" fmla="*/ 7 h 33"/>
                  <a:gd name="T30" fmla="*/ 0 w 44"/>
                  <a:gd name="T31" fmla="*/ 7 h 33"/>
                  <a:gd name="T32" fmla="*/ 0 w 44"/>
                  <a:gd name="T33"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33">
                    <a:moveTo>
                      <a:pt x="0" y="7"/>
                    </a:moveTo>
                    <a:lnTo>
                      <a:pt x="0" y="0"/>
                    </a:lnTo>
                    <a:lnTo>
                      <a:pt x="0" y="0"/>
                    </a:lnTo>
                    <a:lnTo>
                      <a:pt x="9" y="10"/>
                    </a:lnTo>
                    <a:lnTo>
                      <a:pt x="20" y="19"/>
                    </a:lnTo>
                    <a:lnTo>
                      <a:pt x="32" y="26"/>
                    </a:lnTo>
                    <a:lnTo>
                      <a:pt x="44" y="31"/>
                    </a:lnTo>
                    <a:lnTo>
                      <a:pt x="44" y="31"/>
                    </a:lnTo>
                    <a:lnTo>
                      <a:pt x="39" y="33"/>
                    </a:lnTo>
                    <a:lnTo>
                      <a:pt x="35" y="33"/>
                    </a:lnTo>
                    <a:lnTo>
                      <a:pt x="35" y="33"/>
                    </a:lnTo>
                    <a:lnTo>
                      <a:pt x="30" y="30"/>
                    </a:lnTo>
                    <a:lnTo>
                      <a:pt x="30" y="30"/>
                    </a:lnTo>
                    <a:lnTo>
                      <a:pt x="14" y="19"/>
                    </a:lnTo>
                    <a:lnTo>
                      <a:pt x="0" y="7"/>
                    </a:lnTo>
                    <a:lnTo>
                      <a:pt x="0" y="7"/>
                    </a:lnTo>
                    <a:lnTo>
                      <a:pt x="0" y="7"/>
                    </a:lnTo>
                    <a:close/>
                  </a:path>
                </a:pathLst>
              </a:custGeom>
              <a:solidFill>
                <a:srgbClr val="EBBC8D"/>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5" name="Freeform 305"/>
              <p:cNvSpPr>
                <a:spLocks/>
              </p:cNvSpPr>
              <p:nvPr/>
            </p:nvSpPr>
            <p:spPr bwMode="auto">
              <a:xfrm>
                <a:off x="2913692" y="3743611"/>
                <a:ext cx="42145" cy="62491"/>
              </a:xfrm>
              <a:custGeom>
                <a:avLst/>
                <a:gdLst>
                  <a:gd name="T0" fmla="*/ 12 w 58"/>
                  <a:gd name="T1" fmla="*/ 37 h 86"/>
                  <a:gd name="T2" fmla="*/ 28 w 58"/>
                  <a:gd name="T3" fmla="*/ 63 h 86"/>
                  <a:gd name="T4" fmla="*/ 28 w 58"/>
                  <a:gd name="T5" fmla="*/ 63 h 86"/>
                  <a:gd name="T6" fmla="*/ 35 w 58"/>
                  <a:gd name="T7" fmla="*/ 70 h 86"/>
                  <a:gd name="T8" fmla="*/ 40 w 58"/>
                  <a:gd name="T9" fmla="*/ 76 h 86"/>
                  <a:gd name="T10" fmla="*/ 49 w 58"/>
                  <a:gd name="T11" fmla="*/ 81 h 86"/>
                  <a:gd name="T12" fmla="*/ 58 w 58"/>
                  <a:gd name="T13" fmla="*/ 83 h 86"/>
                  <a:gd name="T14" fmla="*/ 58 w 58"/>
                  <a:gd name="T15" fmla="*/ 83 h 86"/>
                  <a:gd name="T16" fmla="*/ 53 w 58"/>
                  <a:gd name="T17" fmla="*/ 86 h 86"/>
                  <a:gd name="T18" fmla="*/ 47 w 58"/>
                  <a:gd name="T19" fmla="*/ 86 h 86"/>
                  <a:gd name="T20" fmla="*/ 42 w 58"/>
                  <a:gd name="T21" fmla="*/ 83 h 86"/>
                  <a:gd name="T22" fmla="*/ 35 w 58"/>
                  <a:gd name="T23" fmla="*/ 79 h 86"/>
                  <a:gd name="T24" fmla="*/ 0 w 58"/>
                  <a:gd name="T25" fmla="*/ 34 h 86"/>
                  <a:gd name="T26" fmla="*/ 0 w 58"/>
                  <a:gd name="T27" fmla="*/ 34 h 86"/>
                  <a:gd name="T28" fmla="*/ 5 w 58"/>
                  <a:gd name="T29" fmla="*/ 21 h 86"/>
                  <a:gd name="T30" fmla="*/ 16 w 58"/>
                  <a:gd name="T31" fmla="*/ 13 h 86"/>
                  <a:gd name="T32" fmla="*/ 16 w 58"/>
                  <a:gd name="T33" fmla="*/ 13 h 86"/>
                  <a:gd name="T34" fmla="*/ 25 w 58"/>
                  <a:gd name="T35" fmla="*/ 6 h 86"/>
                  <a:gd name="T36" fmla="*/ 37 w 58"/>
                  <a:gd name="T37" fmla="*/ 0 h 86"/>
                  <a:gd name="T38" fmla="*/ 37 w 58"/>
                  <a:gd name="T39" fmla="*/ 0 h 86"/>
                  <a:gd name="T40" fmla="*/ 28 w 58"/>
                  <a:gd name="T41" fmla="*/ 9 h 86"/>
                  <a:gd name="T42" fmla="*/ 19 w 58"/>
                  <a:gd name="T43" fmla="*/ 18 h 86"/>
                  <a:gd name="T44" fmla="*/ 16 w 58"/>
                  <a:gd name="T45" fmla="*/ 27 h 86"/>
                  <a:gd name="T46" fmla="*/ 12 w 58"/>
                  <a:gd name="T47" fmla="*/ 37 h 86"/>
                  <a:gd name="T48" fmla="*/ 12 w 58"/>
                  <a:gd name="T49" fmla="*/ 37 h 86"/>
                  <a:gd name="T50" fmla="*/ 12 w 58"/>
                  <a:gd name="T51" fmla="*/ 3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6">
                    <a:moveTo>
                      <a:pt x="12" y="37"/>
                    </a:moveTo>
                    <a:lnTo>
                      <a:pt x="28" y="63"/>
                    </a:lnTo>
                    <a:lnTo>
                      <a:pt x="28" y="63"/>
                    </a:lnTo>
                    <a:lnTo>
                      <a:pt x="35" y="70"/>
                    </a:lnTo>
                    <a:lnTo>
                      <a:pt x="40" y="76"/>
                    </a:lnTo>
                    <a:lnTo>
                      <a:pt x="49" y="81"/>
                    </a:lnTo>
                    <a:lnTo>
                      <a:pt x="58" y="83"/>
                    </a:lnTo>
                    <a:lnTo>
                      <a:pt x="58" y="83"/>
                    </a:lnTo>
                    <a:lnTo>
                      <a:pt x="53" y="86"/>
                    </a:lnTo>
                    <a:lnTo>
                      <a:pt x="47" y="86"/>
                    </a:lnTo>
                    <a:lnTo>
                      <a:pt x="42" y="83"/>
                    </a:lnTo>
                    <a:lnTo>
                      <a:pt x="35" y="79"/>
                    </a:lnTo>
                    <a:lnTo>
                      <a:pt x="0" y="34"/>
                    </a:lnTo>
                    <a:lnTo>
                      <a:pt x="0" y="34"/>
                    </a:lnTo>
                    <a:lnTo>
                      <a:pt x="5" y="21"/>
                    </a:lnTo>
                    <a:lnTo>
                      <a:pt x="16" y="13"/>
                    </a:lnTo>
                    <a:lnTo>
                      <a:pt x="16" y="13"/>
                    </a:lnTo>
                    <a:lnTo>
                      <a:pt x="25" y="6"/>
                    </a:lnTo>
                    <a:lnTo>
                      <a:pt x="37" y="0"/>
                    </a:lnTo>
                    <a:lnTo>
                      <a:pt x="37" y="0"/>
                    </a:lnTo>
                    <a:lnTo>
                      <a:pt x="28" y="9"/>
                    </a:lnTo>
                    <a:lnTo>
                      <a:pt x="19" y="18"/>
                    </a:lnTo>
                    <a:lnTo>
                      <a:pt x="16" y="27"/>
                    </a:lnTo>
                    <a:lnTo>
                      <a:pt x="12" y="37"/>
                    </a:lnTo>
                    <a:lnTo>
                      <a:pt x="12" y="37"/>
                    </a:lnTo>
                    <a:lnTo>
                      <a:pt x="12" y="37"/>
                    </a:lnTo>
                    <a:close/>
                  </a:path>
                </a:pathLst>
              </a:custGeom>
              <a:solidFill>
                <a:srgbClr val="E2B086"/>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6" name="Freeform 306"/>
              <p:cNvSpPr>
                <a:spLocks noEditPoints="1"/>
              </p:cNvSpPr>
              <p:nvPr/>
            </p:nvSpPr>
            <p:spPr bwMode="auto">
              <a:xfrm>
                <a:off x="2925318" y="3785756"/>
                <a:ext cx="142422" cy="263044"/>
              </a:xfrm>
              <a:custGeom>
                <a:avLst/>
                <a:gdLst>
                  <a:gd name="T0" fmla="*/ 0 w 196"/>
                  <a:gd name="T1" fmla="*/ 42 h 362"/>
                  <a:gd name="T2" fmla="*/ 0 w 196"/>
                  <a:gd name="T3" fmla="*/ 42 h 362"/>
                  <a:gd name="T4" fmla="*/ 0 w 196"/>
                  <a:gd name="T5" fmla="*/ 270 h 362"/>
                  <a:gd name="T6" fmla="*/ 166 w 196"/>
                  <a:gd name="T7" fmla="*/ 362 h 362"/>
                  <a:gd name="T8" fmla="*/ 166 w 196"/>
                  <a:gd name="T9" fmla="*/ 362 h 362"/>
                  <a:gd name="T10" fmla="*/ 163 w 196"/>
                  <a:gd name="T11" fmla="*/ 324 h 362"/>
                  <a:gd name="T12" fmla="*/ 163 w 196"/>
                  <a:gd name="T13" fmla="*/ 285 h 362"/>
                  <a:gd name="T14" fmla="*/ 163 w 196"/>
                  <a:gd name="T15" fmla="*/ 249 h 362"/>
                  <a:gd name="T16" fmla="*/ 166 w 196"/>
                  <a:gd name="T17" fmla="*/ 210 h 362"/>
                  <a:gd name="T18" fmla="*/ 166 w 196"/>
                  <a:gd name="T19" fmla="*/ 210 h 362"/>
                  <a:gd name="T20" fmla="*/ 175 w 196"/>
                  <a:gd name="T21" fmla="*/ 187 h 362"/>
                  <a:gd name="T22" fmla="*/ 182 w 196"/>
                  <a:gd name="T23" fmla="*/ 163 h 362"/>
                  <a:gd name="T24" fmla="*/ 187 w 196"/>
                  <a:gd name="T25" fmla="*/ 138 h 362"/>
                  <a:gd name="T26" fmla="*/ 191 w 196"/>
                  <a:gd name="T27" fmla="*/ 112 h 362"/>
                  <a:gd name="T28" fmla="*/ 194 w 196"/>
                  <a:gd name="T29" fmla="*/ 86 h 362"/>
                  <a:gd name="T30" fmla="*/ 196 w 196"/>
                  <a:gd name="T31" fmla="*/ 58 h 362"/>
                  <a:gd name="T32" fmla="*/ 196 w 196"/>
                  <a:gd name="T33" fmla="*/ 30 h 362"/>
                  <a:gd name="T34" fmla="*/ 194 w 196"/>
                  <a:gd name="T35" fmla="*/ 0 h 362"/>
                  <a:gd name="T36" fmla="*/ 105 w 196"/>
                  <a:gd name="T37" fmla="*/ 18 h 362"/>
                  <a:gd name="T38" fmla="*/ 105 w 196"/>
                  <a:gd name="T39" fmla="*/ 18 h 362"/>
                  <a:gd name="T40" fmla="*/ 91 w 196"/>
                  <a:gd name="T41" fmla="*/ 32 h 362"/>
                  <a:gd name="T42" fmla="*/ 84 w 196"/>
                  <a:gd name="T43" fmla="*/ 35 h 362"/>
                  <a:gd name="T44" fmla="*/ 77 w 196"/>
                  <a:gd name="T45" fmla="*/ 40 h 362"/>
                  <a:gd name="T46" fmla="*/ 70 w 196"/>
                  <a:gd name="T47" fmla="*/ 42 h 362"/>
                  <a:gd name="T48" fmla="*/ 61 w 196"/>
                  <a:gd name="T49" fmla="*/ 44 h 362"/>
                  <a:gd name="T50" fmla="*/ 54 w 196"/>
                  <a:gd name="T51" fmla="*/ 44 h 362"/>
                  <a:gd name="T52" fmla="*/ 45 w 196"/>
                  <a:gd name="T53" fmla="*/ 42 h 362"/>
                  <a:gd name="T54" fmla="*/ 0 w 196"/>
                  <a:gd name="T55" fmla="*/ 42 h 362"/>
                  <a:gd name="T56" fmla="*/ 0 w 196"/>
                  <a:gd name="T57" fmla="*/ 42 h 362"/>
                  <a:gd name="T58" fmla="*/ 177 w 196"/>
                  <a:gd name="T59" fmla="*/ 7 h 362"/>
                  <a:gd name="T60" fmla="*/ 177 w 196"/>
                  <a:gd name="T61" fmla="*/ 7 h 362"/>
                  <a:gd name="T62" fmla="*/ 191 w 196"/>
                  <a:gd name="T63" fmla="*/ 5 h 362"/>
                  <a:gd name="T64" fmla="*/ 191 w 196"/>
                  <a:gd name="T65" fmla="*/ 5 h 362"/>
                  <a:gd name="T66" fmla="*/ 192 w 196"/>
                  <a:gd name="T67" fmla="*/ 33 h 362"/>
                  <a:gd name="T68" fmla="*/ 192 w 196"/>
                  <a:gd name="T69" fmla="*/ 61 h 362"/>
                  <a:gd name="T70" fmla="*/ 191 w 196"/>
                  <a:gd name="T71" fmla="*/ 88 h 362"/>
                  <a:gd name="T72" fmla="*/ 187 w 196"/>
                  <a:gd name="T73" fmla="*/ 114 h 362"/>
                  <a:gd name="T74" fmla="*/ 184 w 196"/>
                  <a:gd name="T75" fmla="*/ 138 h 362"/>
                  <a:gd name="T76" fmla="*/ 177 w 196"/>
                  <a:gd name="T77" fmla="*/ 163 h 362"/>
                  <a:gd name="T78" fmla="*/ 170 w 196"/>
                  <a:gd name="T79" fmla="*/ 186 h 362"/>
                  <a:gd name="T80" fmla="*/ 163 w 196"/>
                  <a:gd name="T81" fmla="*/ 208 h 362"/>
                  <a:gd name="T82" fmla="*/ 163 w 196"/>
                  <a:gd name="T83" fmla="*/ 208 h 362"/>
                  <a:gd name="T84" fmla="*/ 163 w 196"/>
                  <a:gd name="T85" fmla="*/ 208 h 362"/>
                  <a:gd name="T86" fmla="*/ 159 w 196"/>
                  <a:gd name="T87" fmla="*/ 245 h 362"/>
                  <a:gd name="T88" fmla="*/ 157 w 196"/>
                  <a:gd name="T89" fmla="*/ 282 h 362"/>
                  <a:gd name="T90" fmla="*/ 159 w 196"/>
                  <a:gd name="T91" fmla="*/ 319 h 362"/>
                  <a:gd name="T92" fmla="*/ 161 w 196"/>
                  <a:gd name="T93" fmla="*/ 355 h 362"/>
                  <a:gd name="T94" fmla="*/ 147 w 196"/>
                  <a:gd name="T95" fmla="*/ 347 h 362"/>
                  <a:gd name="T96" fmla="*/ 147 w 196"/>
                  <a:gd name="T97" fmla="*/ 347 h 362"/>
                  <a:gd name="T98" fmla="*/ 143 w 196"/>
                  <a:gd name="T99" fmla="*/ 312 h 362"/>
                  <a:gd name="T100" fmla="*/ 143 w 196"/>
                  <a:gd name="T101" fmla="*/ 275 h 362"/>
                  <a:gd name="T102" fmla="*/ 143 w 196"/>
                  <a:gd name="T103" fmla="*/ 238 h 362"/>
                  <a:gd name="T104" fmla="*/ 147 w 196"/>
                  <a:gd name="T105" fmla="*/ 201 h 362"/>
                  <a:gd name="T106" fmla="*/ 147 w 196"/>
                  <a:gd name="T107" fmla="*/ 201 h 362"/>
                  <a:gd name="T108" fmla="*/ 156 w 196"/>
                  <a:gd name="T109" fmla="*/ 177 h 362"/>
                  <a:gd name="T110" fmla="*/ 163 w 196"/>
                  <a:gd name="T111" fmla="*/ 152 h 362"/>
                  <a:gd name="T112" fmla="*/ 170 w 196"/>
                  <a:gd name="T113" fmla="*/ 128 h 362"/>
                  <a:gd name="T114" fmla="*/ 173 w 196"/>
                  <a:gd name="T115" fmla="*/ 103 h 362"/>
                  <a:gd name="T116" fmla="*/ 177 w 196"/>
                  <a:gd name="T117" fmla="*/ 79 h 362"/>
                  <a:gd name="T118" fmla="*/ 178 w 196"/>
                  <a:gd name="T119" fmla="*/ 54 h 362"/>
                  <a:gd name="T120" fmla="*/ 178 w 196"/>
                  <a:gd name="T121" fmla="*/ 32 h 362"/>
                  <a:gd name="T122" fmla="*/ 177 w 196"/>
                  <a:gd name="T123" fmla="*/ 7 h 362"/>
                  <a:gd name="T124" fmla="*/ 177 w 196"/>
                  <a:gd name="T125" fmla="*/ 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362">
                    <a:moveTo>
                      <a:pt x="0" y="42"/>
                    </a:moveTo>
                    <a:lnTo>
                      <a:pt x="0" y="42"/>
                    </a:lnTo>
                    <a:lnTo>
                      <a:pt x="0" y="270"/>
                    </a:lnTo>
                    <a:lnTo>
                      <a:pt x="166" y="362"/>
                    </a:lnTo>
                    <a:lnTo>
                      <a:pt x="166" y="362"/>
                    </a:lnTo>
                    <a:lnTo>
                      <a:pt x="163" y="324"/>
                    </a:lnTo>
                    <a:lnTo>
                      <a:pt x="163" y="285"/>
                    </a:lnTo>
                    <a:lnTo>
                      <a:pt x="163" y="249"/>
                    </a:lnTo>
                    <a:lnTo>
                      <a:pt x="166" y="210"/>
                    </a:lnTo>
                    <a:lnTo>
                      <a:pt x="166" y="210"/>
                    </a:lnTo>
                    <a:lnTo>
                      <a:pt x="175" y="187"/>
                    </a:lnTo>
                    <a:lnTo>
                      <a:pt x="182" y="163"/>
                    </a:lnTo>
                    <a:lnTo>
                      <a:pt x="187" y="138"/>
                    </a:lnTo>
                    <a:lnTo>
                      <a:pt x="191" y="112"/>
                    </a:lnTo>
                    <a:lnTo>
                      <a:pt x="194" y="86"/>
                    </a:lnTo>
                    <a:lnTo>
                      <a:pt x="196" y="58"/>
                    </a:lnTo>
                    <a:lnTo>
                      <a:pt x="196" y="30"/>
                    </a:lnTo>
                    <a:lnTo>
                      <a:pt x="194" y="0"/>
                    </a:lnTo>
                    <a:lnTo>
                      <a:pt x="105" y="18"/>
                    </a:lnTo>
                    <a:lnTo>
                      <a:pt x="105" y="18"/>
                    </a:lnTo>
                    <a:lnTo>
                      <a:pt x="91" y="32"/>
                    </a:lnTo>
                    <a:lnTo>
                      <a:pt x="84" y="35"/>
                    </a:lnTo>
                    <a:lnTo>
                      <a:pt x="77" y="40"/>
                    </a:lnTo>
                    <a:lnTo>
                      <a:pt x="70" y="42"/>
                    </a:lnTo>
                    <a:lnTo>
                      <a:pt x="61" y="44"/>
                    </a:lnTo>
                    <a:lnTo>
                      <a:pt x="54" y="44"/>
                    </a:lnTo>
                    <a:lnTo>
                      <a:pt x="45" y="42"/>
                    </a:lnTo>
                    <a:lnTo>
                      <a:pt x="0" y="42"/>
                    </a:lnTo>
                    <a:lnTo>
                      <a:pt x="0" y="42"/>
                    </a:lnTo>
                    <a:close/>
                    <a:moveTo>
                      <a:pt x="177" y="7"/>
                    </a:moveTo>
                    <a:lnTo>
                      <a:pt x="177" y="7"/>
                    </a:lnTo>
                    <a:lnTo>
                      <a:pt x="191" y="5"/>
                    </a:lnTo>
                    <a:lnTo>
                      <a:pt x="191" y="5"/>
                    </a:lnTo>
                    <a:lnTo>
                      <a:pt x="192" y="33"/>
                    </a:lnTo>
                    <a:lnTo>
                      <a:pt x="192" y="61"/>
                    </a:lnTo>
                    <a:lnTo>
                      <a:pt x="191" y="88"/>
                    </a:lnTo>
                    <a:lnTo>
                      <a:pt x="187" y="114"/>
                    </a:lnTo>
                    <a:lnTo>
                      <a:pt x="184" y="138"/>
                    </a:lnTo>
                    <a:lnTo>
                      <a:pt x="177" y="163"/>
                    </a:lnTo>
                    <a:lnTo>
                      <a:pt x="170" y="186"/>
                    </a:lnTo>
                    <a:lnTo>
                      <a:pt x="163" y="208"/>
                    </a:lnTo>
                    <a:lnTo>
                      <a:pt x="163" y="208"/>
                    </a:lnTo>
                    <a:lnTo>
                      <a:pt x="163" y="208"/>
                    </a:lnTo>
                    <a:lnTo>
                      <a:pt x="159" y="245"/>
                    </a:lnTo>
                    <a:lnTo>
                      <a:pt x="157" y="282"/>
                    </a:lnTo>
                    <a:lnTo>
                      <a:pt x="159" y="319"/>
                    </a:lnTo>
                    <a:lnTo>
                      <a:pt x="161" y="355"/>
                    </a:lnTo>
                    <a:lnTo>
                      <a:pt x="147" y="347"/>
                    </a:lnTo>
                    <a:lnTo>
                      <a:pt x="147" y="347"/>
                    </a:lnTo>
                    <a:lnTo>
                      <a:pt x="143" y="312"/>
                    </a:lnTo>
                    <a:lnTo>
                      <a:pt x="143" y="275"/>
                    </a:lnTo>
                    <a:lnTo>
                      <a:pt x="143" y="238"/>
                    </a:lnTo>
                    <a:lnTo>
                      <a:pt x="147" y="201"/>
                    </a:lnTo>
                    <a:lnTo>
                      <a:pt x="147" y="201"/>
                    </a:lnTo>
                    <a:lnTo>
                      <a:pt x="156" y="177"/>
                    </a:lnTo>
                    <a:lnTo>
                      <a:pt x="163" y="152"/>
                    </a:lnTo>
                    <a:lnTo>
                      <a:pt x="170" y="128"/>
                    </a:lnTo>
                    <a:lnTo>
                      <a:pt x="173" y="103"/>
                    </a:lnTo>
                    <a:lnTo>
                      <a:pt x="177" y="79"/>
                    </a:lnTo>
                    <a:lnTo>
                      <a:pt x="178" y="54"/>
                    </a:lnTo>
                    <a:lnTo>
                      <a:pt x="178" y="32"/>
                    </a:lnTo>
                    <a:lnTo>
                      <a:pt x="177" y="7"/>
                    </a:lnTo>
                    <a:lnTo>
                      <a:pt x="177" y="7"/>
                    </a:lnTo>
                    <a:close/>
                  </a:path>
                </a:pathLst>
              </a:custGeom>
              <a:solidFill>
                <a:schemeClr val="tx1">
                  <a:lumMod val="85000"/>
                  <a:lumOff val="15000"/>
                </a:schemeClr>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7" name="Freeform 307"/>
              <p:cNvSpPr>
                <a:spLocks/>
              </p:cNvSpPr>
              <p:nvPr/>
            </p:nvSpPr>
            <p:spPr bwMode="auto">
              <a:xfrm>
                <a:off x="3029228" y="3789389"/>
                <a:ext cx="35605" cy="254325"/>
              </a:xfrm>
              <a:custGeom>
                <a:avLst/>
                <a:gdLst>
                  <a:gd name="T0" fmla="*/ 4 w 49"/>
                  <a:gd name="T1" fmla="*/ 196 h 350"/>
                  <a:gd name="T2" fmla="*/ 4 w 49"/>
                  <a:gd name="T3" fmla="*/ 196 h 350"/>
                  <a:gd name="T4" fmla="*/ 13 w 49"/>
                  <a:gd name="T5" fmla="*/ 172 h 350"/>
                  <a:gd name="T6" fmla="*/ 20 w 49"/>
                  <a:gd name="T7" fmla="*/ 147 h 350"/>
                  <a:gd name="T8" fmla="*/ 27 w 49"/>
                  <a:gd name="T9" fmla="*/ 123 h 350"/>
                  <a:gd name="T10" fmla="*/ 30 w 49"/>
                  <a:gd name="T11" fmla="*/ 98 h 350"/>
                  <a:gd name="T12" fmla="*/ 34 w 49"/>
                  <a:gd name="T13" fmla="*/ 74 h 350"/>
                  <a:gd name="T14" fmla="*/ 35 w 49"/>
                  <a:gd name="T15" fmla="*/ 49 h 350"/>
                  <a:gd name="T16" fmla="*/ 35 w 49"/>
                  <a:gd name="T17" fmla="*/ 27 h 350"/>
                  <a:gd name="T18" fmla="*/ 34 w 49"/>
                  <a:gd name="T19" fmla="*/ 2 h 350"/>
                  <a:gd name="T20" fmla="*/ 48 w 49"/>
                  <a:gd name="T21" fmla="*/ 0 h 350"/>
                  <a:gd name="T22" fmla="*/ 48 w 49"/>
                  <a:gd name="T23" fmla="*/ 0 h 350"/>
                  <a:gd name="T24" fmla="*/ 49 w 49"/>
                  <a:gd name="T25" fmla="*/ 28 h 350"/>
                  <a:gd name="T26" fmla="*/ 49 w 49"/>
                  <a:gd name="T27" fmla="*/ 56 h 350"/>
                  <a:gd name="T28" fmla="*/ 48 w 49"/>
                  <a:gd name="T29" fmla="*/ 83 h 350"/>
                  <a:gd name="T30" fmla="*/ 44 w 49"/>
                  <a:gd name="T31" fmla="*/ 109 h 350"/>
                  <a:gd name="T32" fmla="*/ 41 w 49"/>
                  <a:gd name="T33" fmla="*/ 133 h 350"/>
                  <a:gd name="T34" fmla="*/ 34 w 49"/>
                  <a:gd name="T35" fmla="*/ 158 h 350"/>
                  <a:gd name="T36" fmla="*/ 27 w 49"/>
                  <a:gd name="T37" fmla="*/ 181 h 350"/>
                  <a:gd name="T38" fmla="*/ 20 w 49"/>
                  <a:gd name="T39" fmla="*/ 203 h 350"/>
                  <a:gd name="T40" fmla="*/ 20 w 49"/>
                  <a:gd name="T41" fmla="*/ 203 h 350"/>
                  <a:gd name="T42" fmla="*/ 20 w 49"/>
                  <a:gd name="T43" fmla="*/ 203 h 350"/>
                  <a:gd name="T44" fmla="*/ 16 w 49"/>
                  <a:gd name="T45" fmla="*/ 240 h 350"/>
                  <a:gd name="T46" fmla="*/ 14 w 49"/>
                  <a:gd name="T47" fmla="*/ 277 h 350"/>
                  <a:gd name="T48" fmla="*/ 16 w 49"/>
                  <a:gd name="T49" fmla="*/ 314 h 350"/>
                  <a:gd name="T50" fmla="*/ 18 w 49"/>
                  <a:gd name="T51" fmla="*/ 350 h 350"/>
                  <a:gd name="T52" fmla="*/ 4 w 49"/>
                  <a:gd name="T53" fmla="*/ 342 h 350"/>
                  <a:gd name="T54" fmla="*/ 4 w 49"/>
                  <a:gd name="T55" fmla="*/ 342 h 350"/>
                  <a:gd name="T56" fmla="*/ 0 w 49"/>
                  <a:gd name="T57" fmla="*/ 307 h 350"/>
                  <a:gd name="T58" fmla="*/ 0 w 49"/>
                  <a:gd name="T59" fmla="*/ 270 h 350"/>
                  <a:gd name="T60" fmla="*/ 0 w 49"/>
                  <a:gd name="T61" fmla="*/ 233 h 350"/>
                  <a:gd name="T62" fmla="*/ 4 w 49"/>
                  <a:gd name="T63" fmla="*/ 196 h 350"/>
                  <a:gd name="T64" fmla="*/ 4 w 49"/>
                  <a:gd name="T65" fmla="*/ 196 h 350"/>
                  <a:gd name="T66" fmla="*/ 4 w 49"/>
                  <a:gd name="T67" fmla="*/ 19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350">
                    <a:moveTo>
                      <a:pt x="4" y="196"/>
                    </a:moveTo>
                    <a:lnTo>
                      <a:pt x="4" y="196"/>
                    </a:lnTo>
                    <a:lnTo>
                      <a:pt x="13" y="172"/>
                    </a:lnTo>
                    <a:lnTo>
                      <a:pt x="20" y="147"/>
                    </a:lnTo>
                    <a:lnTo>
                      <a:pt x="27" y="123"/>
                    </a:lnTo>
                    <a:lnTo>
                      <a:pt x="30" y="98"/>
                    </a:lnTo>
                    <a:lnTo>
                      <a:pt x="34" y="74"/>
                    </a:lnTo>
                    <a:lnTo>
                      <a:pt x="35" y="49"/>
                    </a:lnTo>
                    <a:lnTo>
                      <a:pt x="35" y="27"/>
                    </a:lnTo>
                    <a:lnTo>
                      <a:pt x="34" y="2"/>
                    </a:lnTo>
                    <a:lnTo>
                      <a:pt x="48" y="0"/>
                    </a:lnTo>
                    <a:lnTo>
                      <a:pt x="48" y="0"/>
                    </a:lnTo>
                    <a:lnTo>
                      <a:pt x="49" y="28"/>
                    </a:lnTo>
                    <a:lnTo>
                      <a:pt x="49" y="56"/>
                    </a:lnTo>
                    <a:lnTo>
                      <a:pt x="48" y="83"/>
                    </a:lnTo>
                    <a:lnTo>
                      <a:pt x="44" y="109"/>
                    </a:lnTo>
                    <a:lnTo>
                      <a:pt x="41" y="133"/>
                    </a:lnTo>
                    <a:lnTo>
                      <a:pt x="34" y="158"/>
                    </a:lnTo>
                    <a:lnTo>
                      <a:pt x="27" y="181"/>
                    </a:lnTo>
                    <a:lnTo>
                      <a:pt x="20" y="203"/>
                    </a:lnTo>
                    <a:lnTo>
                      <a:pt x="20" y="203"/>
                    </a:lnTo>
                    <a:lnTo>
                      <a:pt x="20" y="203"/>
                    </a:lnTo>
                    <a:lnTo>
                      <a:pt x="16" y="240"/>
                    </a:lnTo>
                    <a:lnTo>
                      <a:pt x="14" y="277"/>
                    </a:lnTo>
                    <a:lnTo>
                      <a:pt x="16" y="314"/>
                    </a:lnTo>
                    <a:lnTo>
                      <a:pt x="18" y="350"/>
                    </a:lnTo>
                    <a:lnTo>
                      <a:pt x="4" y="342"/>
                    </a:lnTo>
                    <a:lnTo>
                      <a:pt x="4" y="342"/>
                    </a:lnTo>
                    <a:lnTo>
                      <a:pt x="0" y="307"/>
                    </a:lnTo>
                    <a:lnTo>
                      <a:pt x="0" y="270"/>
                    </a:lnTo>
                    <a:lnTo>
                      <a:pt x="0" y="233"/>
                    </a:lnTo>
                    <a:lnTo>
                      <a:pt x="4" y="196"/>
                    </a:lnTo>
                    <a:lnTo>
                      <a:pt x="4" y="196"/>
                    </a:lnTo>
                    <a:lnTo>
                      <a:pt x="4" y="196"/>
                    </a:lnTo>
                    <a:close/>
                  </a:path>
                </a:pathLst>
              </a:custGeom>
              <a:solidFill>
                <a:schemeClr val="tx1">
                  <a:lumMod val="75000"/>
                  <a:lumOff val="25000"/>
                </a:schemeClr>
              </a:solidFill>
              <a:ln w="9525">
                <a:solidFill>
                  <a:schemeClr val="tx1">
                    <a:lumMod val="75000"/>
                    <a:lumOff val="25000"/>
                  </a:schemeClr>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8" name="Freeform 308"/>
              <p:cNvSpPr>
                <a:spLocks/>
              </p:cNvSpPr>
              <p:nvPr/>
            </p:nvSpPr>
            <p:spPr bwMode="auto">
              <a:xfrm>
                <a:off x="2931858" y="4031361"/>
                <a:ext cx="49412" cy="198373"/>
              </a:xfrm>
              <a:custGeom>
                <a:avLst/>
                <a:gdLst>
                  <a:gd name="T0" fmla="*/ 15 w 68"/>
                  <a:gd name="T1" fmla="*/ 266 h 273"/>
                  <a:gd name="T2" fmla="*/ 15 w 68"/>
                  <a:gd name="T3" fmla="*/ 266 h 273"/>
                  <a:gd name="T4" fmla="*/ 24 w 68"/>
                  <a:gd name="T5" fmla="*/ 247 h 273"/>
                  <a:gd name="T6" fmla="*/ 31 w 68"/>
                  <a:gd name="T7" fmla="*/ 226 h 273"/>
                  <a:gd name="T8" fmla="*/ 38 w 68"/>
                  <a:gd name="T9" fmla="*/ 201 h 273"/>
                  <a:gd name="T10" fmla="*/ 43 w 68"/>
                  <a:gd name="T11" fmla="*/ 178 h 273"/>
                  <a:gd name="T12" fmla="*/ 43 w 68"/>
                  <a:gd name="T13" fmla="*/ 178 h 273"/>
                  <a:gd name="T14" fmla="*/ 29 w 68"/>
                  <a:gd name="T15" fmla="*/ 135 h 273"/>
                  <a:gd name="T16" fmla="*/ 17 w 68"/>
                  <a:gd name="T17" fmla="*/ 91 h 273"/>
                  <a:gd name="T18" fmla="*/ 7 w 68"/>
                  <a:gd name="T19" fmla="*/ 45 h 273"/>
                  <a:gd name="T20" fmla="*/ 0 w 68"/>
                  <a:gd name="T21" fmla="*/ 0 h 273"/>
                  <a:gd name="T22" fmla="*/ 0 w 68"/>
                  <a:gd name="T23" fmla="*/ 0 h 273"/>
                  <a:gd name="T24" fmla="*/ 56 w 68"/>
                  <a:gd name="T25" fmla="*/ 12 h 273"/>
                  <a:gd name="T26" fmla="*/ 29 w 68"/>
                  <a:gd name="T27" fmla="*/ 31 h 273"/>
                  <a:gd name="T28" fmla="*/ 68 w 68"/>
                  <a:gd name="T29" fmla="*/ 175 h 273"/>
                  <a:gd name="T30" fmla="*/ 54 w 68"/>
                  <a:gd name="T31" fmla="*/ 266 h 273"/>
                  <a:gd name="T32" fmla="*/ 54 w 68"/>
                  <a:gd name="T33" fmla="*/ 266 h 273"/>
                  <a:gd name="T34" fmla="*/ 43 w 68"/>
                  <a:gd name="T35" fmla="*/ 271 h 273"/>
                  <a:gd name="T36" fmla="*/ 33 w 68"/>
                  <a:gd name="T37" fmla="*/ 273 h 273"/>
                  <a:gd name="T38" fmla="*/ 24 w 68"/>
                  <a:gd name="T39" fmla="*/ 271 h 273"/>
                  <a:gd name="T40" fmla="*/ 15 w 68"/>
                  <a:gd name="T41" fmla="*/ 266 h 273"/>
                  <a:gd name="T42" fmla="*/ 15 w 68"/>
                  <a:gd name="T43" fmla="*/ 266 h 273"/>
                  <a:gd name="T44" fmla="*/ 15 w 68"/>
                  <a:gd name="T45" fmla="*/ 26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 h="273">
                    <a:moveTo>
                      <a:pt x="15" y="266"/>
                    </a:moveTo>
                    <a:lnTo>
                      <a:pt x="15" y="266"/>
                    </a:lnTo>
                    <a:lnTo>
                      <a:pt x="24" y="247"/>
                    </a:lnTo>
                    <a:lnTo>
                      <a:pt x="31" y="226"/>
                    </a:lnTo>
                    <a:lnTo>
                      <a:pt x="38" y="201"/>
                    </a:lnTo>
                    <a:lnTo>
                      <a:pt x="43" y="178"/>
                    </a:lnTo>
                    <a:lnTo>
                      <a:pt x="43" y="178"/>
                    </a:lnTo>
                    <a:lnTo>
                      <a:pt x="29" y="135"/>
                    </a:lnTo>
                    <a:lnTo>
                      <a:pt x="17" y="91"/>
                    </a:lnTo>
                    <a:lnTo>
                      <a:pt x="7" y="45"/>
                    </a:lnTo>
                    <a:lnTo>
                      <a:pt x="0" y="0"/>
                    </a:lnTo>
                    <a:lnTo>
                      <a:pt x="0" y="0"/>
                    </a:lnTo>
                    <a:lnTo>
                      <a:pt x="56" y="12"/>
                    </a:lnTo>
                    <a:lnTo>
                      <a:pt x="29" y="31"/>
                    </a:lnTo>
                    <a:lnTo>
                      <a:pt x="68" y="175"/>
                    </a:lnTo>
                    <a:lnTo>
                      <a:pt x="54" y="266"/>
                    </a:lnTo>
                    <a:lnTo>
                      <a:pt x="54" y="266"/>
                    </a:lnTo>
                    <a:lnTo>
                      <a:pt x="43" y="271"/>
                    </a:lnTo>
                    <a:lnTo>
                      <a:pt x="33" y="273"/>
                    </a:lnTo>
                    <a:lnTo>
                      <a:pt x="24" y="271"/>
                    </a:lnTo>
                    <a:lnTo>
                      <a:pt x="15" y="266"/>
                    </a:lnTo>
                    <a:lnTo>
                      <a:pt x="15" y="266"/>
                    </a:lnTo>
                    <a:lnTo>
                      <a:pt x="15" y="266"/>
                    </a:lnTo>
                    <a:close/>
                  </a:path>
                </a:pathLst>
              </a:custGeom>
              <a:solidFill>
                <a:srgbClr val="EBBC8D"/>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9" name="Freeform 309"/>
              <p:cNvSpPr>
                <a:spLocks/>
              </p:cNvSpPr>
              <p:nvPr/>
            </p:nvSpPr>
            <p:spPr bwMode="auto">
              <a:xfrm>
                <a:off x="2928951" y="4191222"/>
                <a:ext cx="63944" cy="69609"/>
              </a:xfrm>
              <a:custGeom>
                <a:avLst/>
                <a:gdLst>
                  <a:gd name="T0" fmla="*/ 0 w 88"/>
                  <a:gd name="T1" fmla="*/ 83 h 91"/>
                  <a:gd name="T2" fmla="*/ 0 w 88"/>
                  <a:gd name="T3" fmla="*/ 83 h 91"/>
                  <a:gd name="T4" fmla="*/ 11 w 88"/>
                  <a:gd name="T5" fmla="*/ 65 h 91"/>
                  <a:gd name="T6" fmla="*/ 19 w 88"/>
                  <a:gd name="T7" fmla="*/ 46 h 91"/>
                  <a:gd name="T8" fmla="*/ 19 w 88"/>
                  <a:gd name="T9" fmla="*/ 46 h 91"/>
                  <a:gd name="T10" fmla="*/ 28 w 88"/>
                  <a:gd name="T11" fmla="*/ 51 h 91"/>
                  <a:gd name="T12" fmla="*/ 37 w 88"/>
                  <a:gd name="T13" fmla="*/ 53 h 91"/>
                  <a:gd name="T14" fmla="*/ 47 w 88"/>
                  <a:gd name="T15" fmla="*/ 51 h 91"/>
                  <a:gd name="T16" fmla="*/ 58 w 88"/>
                  <a:gd name="T17" fmla="*/ 46 h 91"/>
                  <a:gd name="T18" fmla="*/ 88 w 88"/>
                  <a:gd name="T19" fmla="*/ 0 h 91"/>
                  <a:gd name="T20" fmla="*/ 88 w 88"/>
                  <a:gd name="T21" fmla="*/ 34 h 91"/>
                  <a:gd name="T22" fmla="*/ 68 w 88"/>
                  <a:gd name="T23" fmla="*/ 42 h 91"/>
                  <a:gd name="T24" fmla="*/ 68 w 88"/>
                  <a:gd name="T25" fmla="*/ 60 h 91"/>
                  <a:gd name="T26" fmla="*/ 68 w 88"/>
                  <a:gd name="T27" fmla="*/ 60 h 91"/>
                  <a:gd name="T28" fmla="*/ 61 w 88"/>
                  <a:gd name="T29" fmla="*/ 70 h 91"/>
                  <a:gd name="T30" fmla="*/ 54 w 88"/>
                  <a:gd name="T31" fmla="*/ 79 h 91"/>
                  <a:gd name="T32" fmla="*/ 46 w 88"/>
                  <a:gd name="T33" fmla="*/ 84 h 91"/>
                  <a:gd name="T34" fmla="*/ 37 w 88"/>
                  <a:gd name="T35" fmla="*/ 90 h 91"/>
                  <a:gd name="T36" fmla="*/ 28 w 88"/>
                  <a:gd name="T37" fmla="*/ 91 h 91"/>
                  <a:gd name="T38" fmla="*/ 19 w 88"/>
                  <a:gd name="T39" fmla="*/ 90 h 91"/>
                  <a:gd name="T40" fmla="*/ 11 w 88"/>
                  <a:gd name="T41" fmla="*/ 86 h 91"/>
                  <a:gd name="T42" fmla="*/ 0 w 88"/>
                  <a:gd name="T43" fmla="*/ 83 h 91"/>
                  <a:gd name="T44" fmla="*/ 0 w 88"/>
                  <a:gd name="T45" fmla="*/ 83 h 91"/>
                  <a:gd name="T46" fmla="*/ 0 w 88"/>
                  <a:gd name="T47" fmla="*/ 83 h 91"/>
                  <a:gd name="connsiteX0" fmla="*/ 0 w 10000"/>
                  <a:gd name="connsiteY0" fmla="*/ 9121 h 10000"/>
                  <a:gd name="connsiteX1" fmla="*/ 0 w 10000"/>
                  <a:gd name="connsiteY1" fmla="*/ 9121 h 10000"/>
                  <a:gd name="connsiteX2" fmla="*/ 1250 w 10000"/>
                  <a:gd name="connsiteY2" fmla="*/ 7143 h 10000"/>
                  <a:gd name="connsiteX3" fmla="*/ 2159 w 10000"/>
                  <a:gd name="connsiteY3" fmla="*/ 5055 h 10000"/>
                  <a:gd name="connsiteX4" fmla="*/ 2159 w 10000"/>
                  <a:gd name="connsiteY4" fmla="*/ 5055 h 10000"/>
                  <a:gd name="connsiteX5" fmla="*/ 3182 w 10000"/>
                  <a:gd name="connsiteY5" fmla="*/ 5604 h 10000"/>
                  <a:gd name="connsiteX6" fmla="*/ 4205 w 10000"/>
                  <a:gd name="connsiteY6" fmla="*/ 5824 h 10000"/>
                  <a:gd name="connsiteX7" fmla="*/ 5341 w 10000"/>
                  <a:gd name="connsiteY7" fmla="*/ 5604 h 10000"/>
                  <a:gd name="connsiteX8" fmla="*/ 6591 w 10000"/>
                  <a:gd name="connsiteY8" fmla="*/ 5055 h 10000"/>
                  <a:gd name="connsiteX9" fmla="*/ 10000 w 10000"/>
                  <a:gd name="connsiteY9" fmla="*/ 0 h 10000"/>
                  <a:gd name="connsiteX10" fmla="*/ 10000 w 10000"/>
                  <a:gd name="connsiteY10" fmla="*/ 3736 h 10000"/>
                  <a:gd name="connsiteX11" fmla="*/ 7727 w 10000"/>
                  <a:gd name="connsiteY11" fmla="*/ 4615 h 10000"/>
                  <a:gd name="connsiteX12" fmla="*/ 7727 w 10000"/>
                  <a:gd name="connsiteY12" fmla="*/ 6593 h 10000"/>
                  <a:gd name="connsiteX13" fmla="*/ 7727 w 10000"/>
                  <a:gd name="connsiteY13" fmla="*/ 6593 h 10000"/>
                  <a:gd name="connsiteX14" fmla="*/ 6932 w 10000"/>
                  <a:gd name="connsiteY14" fmla="*/ 7692 h 10000"/>
                  <a:gd name="connsiteX15" fmla="*/ 6136 w 10000"/>
                  <a:gd name="connsiteY15" fmla="*/ 8681 h 10000"/>
                  <a:gd name="connsiteX16" fmla="*/ 5227 w 10000"/>
                  <a:gd name="connsiteY16" fmla="*/ 9231 h 10000"/>
                  <a:gd name="connsiteX17" fmla="*/ 4205 w 10000"/>
                  <a:gd name="connsiteY17" fmla="*/ 9890 h 10000"/>
                  <a:gd name="connsiteX18" fmla="*/ 3182 w 10000"/>
                  <a:gd name="connsiteY18" fmla="*/ 10000 h 10000"/>
                  <a:gd name="connsiteX19" fmla="*/ 2159 w 10000"/>
                  <a:gd name="connsiteY19" fmla="*/ 9890 h 10000"/>
                  <a:gd name="connsiteX20" fmla="*/ 0 w 10000"/>
                  <a:gd name="connsiteY20" fmla="*/ 9121 h 10000"/>
                  <a:gd name="connsiteX21" fmla="*/ 0 w 10000"/>
                  <a:gd name="connsiteY21" fmla="*/ 9121 h 10000"/>
                  <a:gd name="connsiteX22" fmla="*/ 0 w 10000"/>
                  <a:gd name="connsiteY22" fmla="*/ 9121 h 10000"/>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3182 w 10000"/>
                  <a:gd name="connsiteY18" fmla="*/ 10000 h 10508"/>
                  <a:gd name="connsiteX19" fmla="*/ 1094 w 10000"/>
                  <a:gd name="connsiteY19" fmla="*/ 10508 h 10508"/>
                  <a:gd name="connsiteX20" fmla="*/ 0 w 10000"/>
                  <a:gd name="connsiteY20" fmla="*/ 9121 h 10508"/>
                  <a:gd name="connsiteX21" fmla="*/ 0 w 10000"/>
                  <a:gd name="connsiteY21" fmla="*/ 9121 h 10508"/>
                  <a:gd name="connsiteX22" fmla="*/ 0 w 10000"/>
                  <a:gd name="connsiteY22" fmla="*/ 9121 h 10508"/>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1094 w 10000"/>
                  <a:gd name="connsiteY18" fmla="*/ 10508 h 10508"/>
                  <a:gd name="connsiteX19" fmla="*/ 0 w 10000"/>
                  <a:gd name="connsiteY19" fmla="*/ 9121 h 10508"/>
                  <a:gd name="connsiteX20" fmla="*/ 0 w 10000"/>
                  <a:gd name="connsiteY20" fmla="*/ 9121 h 10508"/>
                  <a:gd name="connsiteX21" fmla="*/ 0 w 10000"/>
                  <a:gd name="connsiteY21" fmla="*/ 9121 h 10508"/>
                  <a:gd name="connsiteX0" fmla="*/ 0 w 10000"/>
                  <a:gd name="connsiteY0" fmla="*/ 9121 h 10527"/>
                  <a:gd name="connsiteX1" fmla="*/ 0 w 10000"/>
                  <a:gd name="connsiteY1" fmla="*/ 9121 h 10527"/>
                  <a:gd name="connsiteX2" fmla="*/ 1250 w 10000"/>
                  <a:gd name="connsiteY2" fmla="*/ 7143 h 10527"/>
                  <a:gd name="connsiteX3" fmla="*/ 2159 w 10000"/>
                  <a:gd name="connsiteY3" fmla="*/ 5055 h 10527"/>
                  <a:gd name="connsiteX4" fmla="*/ 2159 w 10000"/>
                  <a:gd name="connsiteY4" fmla="*/ 5055 h 10527"/>
                  <a:gd name="connsiteX5" fmla="*/ 3182 w 10000"/>
                  <a:gd name="connsiteY5" fmla="*/ 5604 h 10527"/>
                  <a:gd name="connsiteX6" fmla="*/ 4205 w 10000"/>
                  <a:gd name="connsiteY6" fmla="*/ 5824 h 10527"/>
                  <a:gd name="connsiteX7" fmla="*/ 5341 w 10000"/>
                  <a:gd name="connsiteY7" fmla="*/ 5604 h 10527"/>
                  <a:gd name="connsiteX8" fmla="*/ 6591 w 10000"/>
                  <a:gd name="connsiteY8" fmla="*/ 5055 h 10527"/>
                  <a:gd name="connsiteX9" fmla="*/ 10000 w 10000"/>
                  <a:gd name="connsiteY9" fmla="*/ 0 h 10527"/>
                  <a:gd name="connsiteX10" fmla="*/ 10000 w 10000"/>
                  <a:gd name="connsiteY10" fmla="*/ 3736 h 10527"/>
                  <a:gd name="connsiteX11" fmla="*/ 7727 w 10000"/>
                  <a:gd name="connsiteY11" fmla="*/ 4615 h 10527"/>
                  <a:gd name="connsiteX12" fmla="*/ 7727 w 10000"/>
                  <a:gd name="connsiteY12" fmla="*/ 6593 h 10527"/>
                  <a:gd name="connsiteX13" fmla="*/ 7727 w 10000"/>
                  <a:gd name="connsiteY13" fmla="*/ 6593 h 10527"/>
                  <a:gd name="connsiteX14" fmla="*/ 6932 w 10000"/>
                  <a:gd name="connsiteY14" fmla="*/ 7692 h 10527"/>
                  <a:gd name="connsiteX15" fmla="*/ 6136 w 10000"/>
                  <a:gd name="connsiteY15" fmla="*/ 8681 h 10527"/>
                  <a:gd name="connsiteX16" fmla="*/ 5227 w 10000"/>
                  <a:gd name="connsiteY16" fmla="*/ 9231 h 10527"/>
                  <a:gd name="connsiteX17" fmla="*/ 4205 w 10000"/>
                  <a:gd name="connsiteY17" fmla="*/ 9890 h 10527"/>
                  <a:gd name="connsiteX18" fmla="*/ 1094 w 10000"/>
                  <a:gd name="connsiteY18" fmla="*/ 10508 h 10527"/>
                  <a:gd name="connsiteX19" fmla="*/ 0 w 10000"/>
                  <a:gd name="connsiteY19" fmla="*/ 9121 h 10527"/>
                  <a:gd name="connsiteX20" fmla="*/ 0 w 10000"/>
                  <a:gd name="connsiteY20" fmla="*/ 9121 h 10527"/>
                  <a:gd name="connsiteX21" fmla="*/ 0 w 10000"/>
                  <a:gd name="connsiteY21" fmla="*/ 9121 h 1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527">
                    <a:moveTo>
                      <a:pt x="0" y="9121"/>
                    </a:moveTo>
                    <a:lnTo>
                      <a:pt x="0" y="9121"/>
                    </a:lnTo>
                    <a:lnTo>
                      <a:pt x="1250" y="7143"/>
                    </a:lnTo>
                    <a:lnTo>
                      <a:pt x="2159" y="5055"/>
                    </a:lnTo>
                    <a:lnTo>
                      <a:pt x="2159" y="5055"/>
                    </a:lnTo>
                    <a:lnTo>
                      <a:pt x="3182" y="5604"/>
                    </a:lnTo>
                    <a:lnTo>
                      <a:pt x="4205" y="5824"/>
                    </a:lnTo>
                    <a:lnTo>
                      <a:pt x="5341" y="5604"/>
                    </a:lnTo>
                    <a:lnTo>
                      <a:pt x="6591" y="5055"/>
                    </a:lnTo>
                    <a:lnTo>
                      <a:pt x="10000" y="0"/>
                    </a:lnTo>
                    <a:lnTo>
                      <a:pt x="10000" y="3736"/>
                    </a:lnTo>
                    <a:lnTo>
                      <a:pt x="7727" y="4615"/>
                    </a:lnTo>
                    <a:lnTo>
                      <a:pt x="7727" y="6593"/>
                    </a:lnTo>
                    <a:lnTo>
                      <a:pt x="7727" y="6593"/>
                    </a:lnTo>
                    <a:lnTo>
                      <a:pt x="6932" y="7692"/>
                    </a:lnTo>
                    <a:lnTo>
                      <a:pt x="6136" y="8681"/>
                    </a:lnTo>
                    <a:lnTo>
                      <a:pt x="5227" y="9231"/>
                    </a:lnTo>
                    <a:lnTo>
                      <a:pt x="4205" y="9890"/>
                    </a:lnTo>
                    <a:cubicBezTo>
                      <a:pt x="3516" y="10103"/>
                      <a:pt x="1795" y="10636"/>
                      <a:pt x="1094" y="10508"/>
                    </a:cubicBezTo>
                    <a:cubicBezTo>
                      <a:pt x="393" y="10380"/>
                      <a:pt x="182" y="9352"/>
                      <a:pt x="0" y="9121"/>
                    </a:cubicBezTo>
                    <a:lnTo>
                      <a:pt x="0" y="9121"/>
                    </a:lnTo>
                    <a:lnTo>
                      <a:pt x="0" y="91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310"/>
              <p:cNvSpPr>
                <a:spLocks/>
              </p:cNvSpPr>
              <p:nvPr/>
            </p:nvSpPr>
            <p:spPr bwMode="auto">
              <a:xfrm>
                <a:off x="2973277" y="3386830"/>
                <a:ext cx="75571" cy="200553"/>
              </a:xfrm>
              <a:custGeom>
                <a:avLst/>
                <a:gdLst>
                  <a:gd name="T0" fmla="*/ 56 w 104"/>
                  <a:gd name="T1" fmla="*/ 12 h 276"/>
                  <a:gd name="T2" fmla="*/ 41 w 104"/>
                  <a:gd name="T3" fmla="*/ 29 h 276"/>
                  <a:gd name="T4" fmla="*/ 23 w 104"/>
                  <a:gd name="T5" fmla="*/ 38 h 276"/>
                  <a:gd name="T6" fmla="*/ 23 w 104"/>
                  <a:gd name="T7" fmla="*/ 50 h 276"/>
                  <a:gd name="T8" fmla="*/ 16 w 104"/>
                  <a:gd name="T9" fmla="*/ 71 h 276"/>
                  <a:gd name="T10" fmla="*/ 9 w 104"/>
                  <a:gd name="T11" fmla="*/ 80 h 276"/>
                  <a:gd name="T12" fmla="*/ 21 w 104"/>
                  <a:gd name="T13" fmla="*/ 115 h 276"/>
                  <a:gd name="T14" fmla="*/ 37 w 104"/>
                  <a:gd name="T15" fmla="*/ 133 h 276"/>
                  <a:gd name="T16" fmla="*/ 58 w 104"/>
                  <a:gd name="T17" fmla="*/ 136 h 276"/>
                  <a:gd name="T18" fmla="*/ 84 w 104"/>
                  <a:gd name="T19" fmla="*/ 124 h 276"/>
                  <a:gd name="T20" fmla="*/ 74 w 104"/>
                  <a:gd name="T21" fmla="*/ 134 h 276"/>
                  <a:gd name="T22" fmla="*/ 55 w 104"/>
                  <a:gd name="T23" fmla="*/ 147 h 276"/>
                  <a:gd name="T24" fmla="*/ 44 w 104"/>
                  <a:gd name="T25" fmla="*/ 147 h 276"/>
                  <a:gd name="T26" fmla="*/ 30 w 104"/>
                  <a:gd name="T27" fmla="*/ 190 h 276"/>
                  <a:gd name="T28" fmla="*/ 35 w 104"/>
                  <a:gd name="T29" fmla="*/ 276 h 276"/>
                  <a:gd name="T30" fmla="*/ 11 w 104"/>
                  <a:gd name="T31" fmla="*/ 131 h 276"/>
                  <a:gd name="T32" fmla="*/ 11 w 104"/>
                  <a:gd name="T33" fmla="*/ 120 h 276"/>
                  <a:gd name="T34" fmla="*/ 7 w 104"/>
                  <a:gd name="T35" fmla="*/ 106 h 276"/>
                  <a:gd name="T36" fmla="*/ 0 w 104"/>
                  <a:gd name="T37" fmla="*/ 87 h 276"/>
                  <a:gd name="T38" fmla="*/ 0 w 104"/>
                  <a:gd name="T39" fmla="*/ 78 h 276"/>
                  <a:gd name="T40" fmla="*/ 0 w 104"/>
                  <a:gd name="T41" fmla="*/ 71 h 276"/>
                  <a:gd name="T42" fmla="*/ 18 w 104"/>
                  <a:gd name="T43" fmla="*/ 33 h 276"/>
                  <a:gd name="T44" fmla="*/ 28 w 104"/>
                  <a:gd name="T45" fmla="*/ 28 h 276"/>
                  <a:gd name="T46" fmla="*/ 46 w 104"/>
                  <a:gd name="T47" fmla="*/ 10 h 276"/>
                  <a:gd name="T48" fmla="*/ 53 w 104"/>
                  <a:gd name="T49" fmla="*/ 0 h 276"/>
                  <a:gd name="T50" fmla="*/ 72 w 104"/>
                  <a:gd name="T51" fmla="*/ 5 h 276"/>
                  <a:gd name="T52" fmla="*/ 86 w 104"/>
                  <a:gd name="T53" fmla="*/ 15 h 276"/>
                  <a:gd name="T54" fmla="*/ 95 w 104"/>
                  <a:gd name="T55" fmla="*/ 29 h 276"/>
                  <a:gd name="T56" fmla="*/ 98 w 104"/>
                  <a:gd name="T57" fmla="*/ 50 h 276"/>
                  <a:gd name="T58" fmla="*/ 102 w 104"/>
                  <a:gd name="T59" fmla="*/ 61 h 276"/>
                  <a:gd name="T60" fmla="*/ 102 w 104"/>
                  <a:gd name="T61" fmla="*/ 82 h 276"/>
                  <a:gd name="T62" fmla="*/ 98 w 104"/>
                  <a:gd name="T63" fmla="*/ 94 h 276"/>
                  <a:gd name="T64" fmla="*/ 98 w 104"/>
                  <a:gd name="T65" fmla="*/ 70 h 276"/>
                  <a:gd name="T66" fmla="*/ 93 w 104"/>
                  <a:gd name="T67" fmla="*/ 49 h 276"/>
                  <a:gd name="T68" fmla="*/ 86 w 104"/>
                  <a:gd name="T69" fmla="*/ 35 h 276"/>
                  <a:gd name="T70" fmla="*/ 67 w 104"/>
                  <a:gd name="T71" fmla="*/ 17 h 276"/>
                  <a:gd name="T72" fmla="*/ 56 w 104"/>
                  <a:gd name="T73" fmla="*/ 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276">
                    <a:moveTo>
                      <a:pt x="56" y="12"/>
                    </a:moveTo>
                    <a:lnTo>
                      <a:pt x="56" y="12"/>
                    </a:lnTo>
                    <a:lnTo>
                      <a:pt x="49" y="22"/>
                    </a:lnTo>
                    <a:lnTo>
                      <a:pt x="41" y="29"/>
                    </a:lnTo>
                    <a:lnTo>
                      <a:pt x="34" y="36"/>
                    </a:lnTo>
                    <a:lnTo>
                      <a:pt x="23" y="38"/>
                    </a:lnTo>
                    <a:lnTo>
                      <a:pt x="23" y="38"/>
                    </a:lnTo>
                    <a:lnTo>
                      <a:pt x="23" y="50"/>
                    </a:lnTo>
                    <a:lnTo>
                      <a:pt x="20" y="63"/>
                    </a:lnTo>
                    <a:lnTo>
                      <a:pt x="16" y="71"/>
                    </a:lnTo>
                    <a:lnTo>
                      <a:pt x="9" y="80"/>
                    </a:lnTo>
                    <a:lnTo>
                      <a:pt x="9" y="80"/>
                    </a:lnTo>
                    <a:lnTo>
                      <a:pt x="14" y="99"/>
                    </a:lnTo>
                    <a:lnTo>
                      <a:pt x="21" y="115"/>
                    </a:lnTo>
                    <a:lnTo>
                      <a:pt x="28" y="126"/>
                    </a:lnTo>
                    <a:lnTo>
                      <a:pt x="37" y="133"/>
                    </a:lnTo>
                    <a:lnTo>
                      <a:pt x="48" y="136"/>
                    </a:lnTo>
                    <a:lnTo>
                      <a:pt x="58" y="136"/>
                    </a:lnTo>
                    <a:lnTo>
                      <a:pt x="70" y="133"/>
                    </a:lnTo>
                    <a:lnTo>
                      <a:pt x="84" y="124"/>
                    </a:lnTo>
                    <a:lnTo>
                      <a:pt x="84" y="124"/>
                    </a:lnTo>
                    <a:lnTo>
                      <a:pt x="74" y="134"/>
                    </a:lnTo>
                    <a:lnTo>
                      <a:pt x="65" y="141"/>
                    </a:lnTo>
                    <a:lnTo>
                      <a:pt x="55" y="147"/>
                    </a:lnTo>
                    <a:lnTo>
                      <a:pt x="44" y="147"/>
                    </a:lnTo>
                    <a:lnTo>
                      <a:pt x="44" y="147"/>
                    </a:lnTo>
                    <a:lnTo>
                      <a:pt x="35" y="145"/>
                    </a:lnTo>
                    <a:lnTo>
                      <a:pt x="30" y="190"/>
                    </a:lnTo>
                    <a:lnTo>
                      <a:pt x="48" y="248"/>
                    </a:lnTo>
                    <a:lnTo>
                      <a:pt x="35" y="276"/>
                    </a:lnTo>
                    <a:lnTo>
                      <a:pt x="11" y="185"/>
                    </a:lnTo>
                    <a:lnTo>
                      <a:pt x="11" y="131"/>
                    </a:lnTo>
                    <a:lnTo>
                      <a:pt x="11" y="120"/>
                    </a:lnTo>
                    <a:lnTo>
                      <a:pt x="11" y="120"/>
                    </a:lnTo>
                    <a:lnTo>
                      <a:pt x="7" y="106"/>
                    </a:lnTo>
                    <a:lnTo>
                      <a:pt x="7" y="106"/>
                    </a:lnTo>
                    <a:lnTo>
                      <a:pt x="2" y="96"/>
                    </a:lnTo>
                    <a:lnTo>
                      <a:pt x="0" y="87"/>
                    </a:lnTo>
                    <a:lnTo>
                      <a:pt x="0" y="87"/>
                    </a:lnTo>
                    <a:lnTo>
                      <a:pt x="0" y="78"/>
                    </a:lnTo>
                    <a:lnTo>
                      <a:pt x="0" y="71"/>
                    </a:lnTo>
                    <a:lnTo>
                      <a:pt x="0" y="71"/>
                    </a:lnTo>
                    <a:lnTo>
                      <a:pt x="11" y="54"/>
                    </a:lnTo>
                    <a:lnTo>
                      <a:pt x="18" y="33"/>
                    </a:lnTo>
                    <a:lnTo>
                      <a:pt x="18" y="33"/>
                    </a:lnTo>
                    <a:lnTo>
                      <a:pt x="28" y="28"/>
                    </a:lnTo>
                    <a:lnTo>
                      <a:pt x="37" y="21"/>
                    </a:lnTo>
                    <a:lnTo>
                      <a:pt x="46" y="10"/>
                    </a:lnTo>
                    <a:lnTo>
                      <a:pt x="53" y="0"/>
                    </a:lnTo>
                    <a:lnTo>
                      <a:pt x="53" y="0"/>
                    </a:lnTo>
                    <a:lnTo>
                      <a:pt x="63" y="1"/>
                    </a:lnTo>
                    <a:lnTo>
                      <a:pt x="72" y="5"/>
                    </a:lnTo>
                    <a:lnTo>
                      <a:pt x="79" y="8"/>
                    </a:lnTo>
                    <a:lnTo>
                      <a:pt x="86" y="15"/>
                    </a:lnTo>
                    <a:lnTo>
                      <a:pt x="91" y="22"/>
                    </a:lnTo>
                    <a:lnTo>
                      <a:pt x="95" y="29"/>
                    </a:lnTo>
                    <a:lnTo>
                      <a:pt x="98" y="40"/>
                    </a:lnTo>
                    <a:lnTo>
                      <a:pt x="98" y="50"/>
                    </a:lnTo>
                    <a:lnTo>
                      <a:pt x="98" y="50"/>
                    </a:lnTo>
                    <a:lnTo>
                      <a:pt x="102" y="61"/>
                    </a:lnTo>
                    <a:lnTo>
                      <a:pt x="104" y="71"/>
                    </a:lnTo>
                    <a:lnTo>
                      <a:pt x="102" y="82"/>
                    </a:lnTo>
                    <a:lnTo>
                      <a:pt x="98" y="94"/>
                    </a:lnTo>
                    <a:lnTo>
                      <a:pt x="98" y="94"/>
                    </a:lnTo>
                    <a:lnTo>
                      <a:pt x="98" y="82"/>
                    </a:lnTo>
                    <a:lnTo>
                      <a:pt x="98" y="70"/>
                    </a:lnTo>
                    <a:lnTo>
                      <a:pt x="95" y="59"/>
                    </a:lnTo>
                    <a:lnTo>
                      <a:pt x="93" y="49"/>
                    </a:lnTo>
                    <a:lnTo>
                      <a:pt x="93" y="49"/>
                    </a:lnTo>
                    <a:lnTo>
                      <a:pt x="86" y="35"/>
                    </a:lnTo>
                    <a:lnTo>
                      <a:pt x="77" y="24"/>
                    </a:lnTo>
                    <a:lnTo>
                      <a:pt x="67" y="17"/>
                    </a:lnTo>
                    <a:lnTo>
                      <a:pt x="56" y="12"/>
                    </a:lnTo>
                    <a:lnTo>
                      <a:pt x="56" y="12"/>
                    </a:lnTo>
                    <a:lnTo>
                      <a:pt x="56" y="12"/>
                    </a:lnTo>
                    <a:close/>
                  </a:path>
                </a:pathLst>
              </a:custGeom>
              <a:solidFill>
                <a:srgbClr val="EBBC8D"/>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1" name="Freeform 311"/>
              <p:cNvSpPr>
                <a:spLocks noEditPoints="1"/>
              </p:cNvSpPr>
              <p:nvPr/>
            </p:nvSpPr>
            <p:spPr bwMode="auto">
              <a:xfrm>
                <a:off x="2979816" y="3395549"/>
                <a:ext cx="64671" cy="90104"/>
              </a:xfrm>
              <a:custGeom>
                <a:avLst/>
                <a:gdLst>
                  <a:gd name="T0" fmla="*/ 14 w 89"/>
                  <a:gd name="T1" fmla="*/ 26 h 124"/>
                  <a:gd name="T2" fmla="*/ 14 w 89"/>
                  <a:gd name="T3" fmla="*/ 26 h 124"/>
                  <a:gd name="T4" fmla="*/ 14 w 89"/>
                  <a:gd name="T5" fmla="*/ 26 h 124"/>
                  <a:gd name="T6" fmla="*/ 14 w 89"/>
                  <a:gd name="T7" fmla="*/ 38 h 124"/>
                  <a:gd name="T8" fmla="*/ 11 w 89"/>
                  <a:gd name="T9" fmla="*/ 51 h 124"/>
                  <a:gd name="T10" fmla="*/ 7 w 89"/>
                  <a:gd name="T11" fmla="*/ 59 h 124"/>
                  <a:gd name="T12" fmla="*/ 0 w 89"/>
                  <a:gd name="T13" fmla="*/ 68 h 124"/>
                  <a:gd name="T14" fmla="*/ 0 w 89"/>
                  <a:gd name="T15" fmla="*/ 68 h 124"/>
                  <a:gd name="T16" fmla="*/ 5 w 89"/>
                  <a:gd name="T17" fmla="*/ 87 h 124"/>
                  <a:gd name="T18" fmla="*/ 12 w 89"/>
                  <a:gd name="T19" fmla="*/ 103 h 124"/>
                  <a:gd name="T20" fmla="*/ 19 w 89"/>
                  <a:gd name="T21" fmla="*/ 114 h 124"/>
                  <a:gd name="T22" fmla="*/ 28 w 89"/>
                  <a:gd name="T23" fmla="*/ 121 h 124"/>
                  <a:gd name="T24" fmla="*/ 39 w 89"/>
                  <a:gd name="T25" fmla="*/ 124 h 124"/>
                  <a:gd name="T26" fmla="*/ 49 w 89"/>
                  <a:gd name="T27" fmla="*/ 124 h 124"/>
                  <a:gd name="T28" fmla="*/ 61 w 89"/>
                  <a:gd name="T29" fmla="*/ 121 h 124"/>
                  <a:gd name="T30" fmla="*/ 75 w 89"/>
                  <a:gd name="T31" fmla="*/ 112 h 124"/>
                  <a:gd name="T32" fmla="*/ 75 w 89"/>
                  <a:gd name="T33" fmla="*/ 112 h 124"/>
                  <a:gd name="T34" fmla="*/ 77 w 89"/>
                  <a:gd name="T35" fmla="*/ 107 h 124"/>
                  <a:gd name="T36" fmla="*/ 89 w 89"/>
                  <a:gd name="T37" fmla="*/ 82 h 124"/>
                  <a:gd name="T38" fmla="*/ 89 w 89"/>
                  <a:gd name="T39" fmla="*/ 82 h 124"/>
                  <a:gd name="T40" fmla="*/ 89 w 89"/>
                  <a:gd name="T41" fmla="*/ 70 h 124"/>
                  <a:gd name="T42" fmla="*/ 89 w 89"/>
                  <a:gd name="T43" fmla="*/ 58 h 124"/>
                  <a:gd name="T44" fmla="*/ 86 w 89"/>
                  <a:gd name="T45" fmla="*/ 47 h 124"/>
                  <a:gd name="T46" fmla="*/ 84 w 89"/>
                  <a:gd name="T47" fmla="*/ 37 h 124"/>
                  <a:gd name="T48" fmla="*/ 84 w 89"/>
                  <a:gd name="T49" fmla="*/ 37 h 124"/>
                  <a:gd name="T50" fmla="*/ 77 w 89"/>
                  <a:gd name="T51" fmla="*/ 23 h 124"/>
                  <a:gd name="T52" fmla="*/ 68 w 89"/>
                  <a:gd name="T53" fmla="*/ 12 h 124"/>
                  <a:gd name="T54" fmla="*/ 58 w 89"/>
                  <a:gd name="T55" fmla="*/ 5 h 124"/>
                  <a:gd name="T56" fmla="*/ 47 w 89"/>
                  <a:gd name="T57" fmla="*/ 0 h 124"/>
                  <a:gd name="T58" fmla="*/ 47 w 89"/>
                  <a:gd name="T59" fmla="*/ 0 h 124"/>
                  <a:gd name="T60" fmla="*/ 40 w 89"/>
                  <a:gd name="T61" fmla="*/ 10 h 124"/>
                  <a:gd name="T62" fmla="*/ 32 w 89"/>
                  <a:gd name="T63" fmla="*/ 17 h 124"/>
                  <a:gd name="T64" fmla="*/ 25 w 89"/>
                  <a:gd name="T65" fmla="*/ 24 h 124"/>
                  <a:gd name="T66" fmla="*/ 14 w 89"/>
                  <a:gd name="T67" fmla="*/ 26 h 124"/>
                  <a:gd name="T68" fmla="*/ 14 w 89"/>
                  <a:gd name="T69" fmla="*/ 26 h 124"/>
                  <a:gd name="T70" fmla="*/ 84 w 89"/>
                  <a:gd name="T71" fmla="*/ 80 h 124"/>
                  <a:gd name="T72" fmla="*/ 84 w 89"/>
                  <a:gd name="T73" fmla="*/ 80 h 124"/>
                  <a:gd name="T74" fmla="*/ 84 w 89"/>
                  <a:gd name="T75" fmla="*/ 80 h 124"/>
                  <a:gd name="T76" fmla="*/ 79 w 89"/>
                  <a:gd name="T77" fmla="*/ 94 h 124"/>
                  <a:gd name="T78" fmla="*/ 72 w 89"/>
                  <a:gd name="T79" fmla="*/ 107 h 124"/>
                  <a:gd name="T80" fmla="*/ 72 w 89"/>
                  <a:gd name="T81" fmla="*/ 107 h 124"/>
                  <a:gd name="T82" fmla="*/ 63 w 89"/>
                  <a:gd name="T83" fmla="*/ 114 h 124"/>
                  <a:gd name="T84" fmla="*/ 54 w 89"/>
                  <a:gd name="T85" fmla="*/ 117 h 124"/>
                  <a:gd name="T86" fmla="*/ 46 w 89"/>
                  <a:gd name="T87" fmla="*/ 119 h 124"/>
                  <a:gd name="T88" fmla="*/ 39 w 89"/>
                  <a:gd name="T89" fmla="*/ 119 h 124"/>
                  <a:gd name="T90" fmla="*/ 39 w 89"/>
                  <a:gd name="T91" fmla="*/ 119 h 124"/>
                  <a:gd name="T92" fmla="*/ 47 w 89"/>
                  <a:gd name="T93" fmla="*/ 115 h 124"/>
                  <a:gd name="T94" fmla="*/ 54 w 89"/>
                  <a:gd name="T95" fmla="*/ 110 h 124"/>
                  <a:gd name="T96" fmla="*/ 61 w 89"/>
                  <a:gd name="T97" fmla="*/ 105 h 124"/>
                  <a:gd name="T98" fmla="*/ 68 w 89"/>
                  <a:gd name="T99" fmla="*/ 100 h 124"/>
                  <a:gd name="T100" fmla="*/ 68 w 89"/>
                  <a:gd name="T101" fmla="*/ 100 h 124"/>
                  <a:gd name="T102" fmla="*/ 74 w 89"/>
                  <a:gd name="T103" fmla="*/ 91 h 124"/>
                  <a:gd name="T104" fmla="*/ 79 w 89"/>
                  <a:gd name="T105" fmla="*/ 82 h 124"/>
                  <a:gd name="T106" fmla="*/ 82 w 89"/>
                  <a:gd name="T107" fmla="*/ 72 h 124"/>
                  <a:gd name="T108" fmla="*/ 84 w 89"/>
                  <a:gd name="T109" fmla="*/ 59 h 124"/>
                  <a:gd name="T110" fmla="*/ 84 w 89"/>
                  <a:gd name="T111" fmla="*/ 80 h 124"/>
                  <a:gd name="T112" fmla="*/ 84 w 89"/>
                  <a:gd name="T113"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124">
                    <a:moveTo>
                      <a:pt x="14" y="26"/>
                    </a:moveTo>
                    <a:lnTo>
                      <a:pt x="14" y="26"/>
                    </a:lnTo>
                    <a:lnTo>
                      <a:pt x="14" y="26"/>
                    </a:lnTo>
                    <a:lnTo>
                      <a:pt x="14" y="38"/>
                    </a:lnTo>
                    <a:lnTo>
                      <a:pt x="11" y="51"/>
                    </a:lnTo>
                    <a:lnTo>
                      <a:pt x="7" y="59"/>
                    </a:lnTo>
                    <a:lnTo>
                      <a:pt x="0" y="68"/>
                    </a:lnTo>
                    <a:lnTo>
                      <a:pt x="0" y="68"/>
                    </a:lnTo>
                    <a:lnTo>
                      <a:pt x="5" y="87"/>
                    </a:lnTo>
                    <a:lnTo>
                      <a:pt x="12" y="103"/>
                    </a:lnTo>
                    <a:lnTo>
                      <a:pt x="19" y="114"/>
                    </a:lnTo>
                    <a:lnTo>
                      <a:pt x="28" y="121"/>
                    </a:lnTo>
                    <a:lnTo>
                      <a:pt x="39" y="124"/>
                    </a:lnTo>
                    <a:lnTo>
                      <a:pt x="49" y="124"/>
                    </a:lnTo>
                    <a:lnTo>
                      <a:pt x="61" y="121"/>
                    </a:lnTo>
                    <a:lnTo>
                      <a:pt x="75" y="112"/>
                    </a:lnTo>
                    <a:lnTo>
                      <a:pt x="75" y="112"/>
                    </a:lnTo>
                    <a:lnTo>
                      <a:pt x="77" y="107"/>
                    </a:lnTo>
                    <a:lnTo>
                      <a:pt x="89" y="82"/>
                    </a:lnTo>
                    <a:lnTo>
                      <a:pt x="89" y="82"/>
                    </a:lnTo>
                    <a:lnTo>
                      <a:pt x="89" y="70"/>
                    </a:lnTo>
                    <a:lnTo>
                      <a:pt x="89" y="58"/>
                    </a:lnTo>
                    <a:lnTo>
                      <a:pt x="86" y="47"/>
                    </a:lnTo>
                    <a:lnTo>
                      <a:pt x="84" y="37"/>
                    </a:lnTo>
                    <a:lnTo>
                      <a:pt x="84" y="37"/>
                    </a:lnTo>
                    <a:lnTo>
                      <a:pt x="77" y="23"/>
                    </a:lnTo>
                    <a:lnTo>
                      <a:pt x="68" y="12"/>
                    </a:lnTo>
                    <a:lnTo>
                      <a:pt x="58" y="5"/>
                    </a:lnTo>
                    <a:lnTo>
                      <a:pt x="47" y="0"/>
                    </a:lnTo>
                    <a:lnTo>
                      <a:pt x="47" y="0"/>
                    </a:lnTo>
                    <a:lnTo>
                      <a:pt x="40" y="10"/>
                    </a:lnTo>
                    <a:lnTo>
                      <a:pt x="32" y="17"/>
                    </a:lnTo>
                    <a:lnTo>
                      <a:pt x="25" y="24"/>
                    </a:lnTo>
                    <a:lnTo>
                      <a:pt x="14" y="26"/>
                    </a:lnTo>
                    <a:lnTo>
                      <a:pt x="14" y="26"/>
                    </a:lnTo>
                    <a:close/>
                    <a:moveTo>
                      <a:pt x="84" y="80"/>
                    </a:moveTo>
                    <a:lnTo>
                      <a:pt x="84" y="80"/>
                    </a:lnTo>
                    <a:lnTo>
                      <a:pt x="84" y="80"/>
                    </a:lnTo>
                    <a:lnTo>
                      <a:pt x="79" y="94"/>
                    </a:lnTo>
                    <a:lnTo>
                      <a:pt x="72" y="107"/>
                    </a:lnTo>
                    <a:lnTo>
                      <a:pt x="72" y="107"/>
                    </a:lnTo>
                    <a:lnTo>
                      <a:pt x="63" y="114"/>
                    </a:lnTo>
                    <a:lnTo>
                      <a:pt x="54" y="117"/>
                    </a:lnTo>
                    <a:lnTo>
                      <a:pt x="46" y="119"/>
                    </a:lnTo>
                    <a:lnTo>
                      <a:pt x="39" y="119"/>
                    </a:lnTo>
                    <a:lnTo>
                      <a:pt x="39" y="119"/>
                    </a:lnTo>
                    <a:lnTo>
                      <a:pt x="47" y="115"/>
                    </a:lnTo>
                    <a:lnTo>
                      <a:pt x="54" y="110"/>
                    </a:lnTo>
                    <a:lnTo>
                      <a:pt x="61" y="105"/>
                    </a:lnTo>
                    <a:lnTo>
                      <a:pt x="68" y="100"/>
                    </a:lnTo>
                    <a:lnTo>
                      <a:pt x="68" y="100"/>
                    </a:lnTo>
                    <a:lnTo>
                      <a:pt x="74" y="91"/>
                    </a:lnTo>
                    <a:lnTo>
                      <a:pt x="79" y="82"/>
                    </a:lnTo>
                    <a:lnTo>
                      <a:pt x="82" y="72"/>
                    </a:lnTo>
                    <a:lnTo>
                      <a:pt x="84" y="59"/>
                    </a:lnTo>
                    <a:lnTo>
                      <a:pt x="84" y="80"/>
                    </a:lnTo>
                    <a:lnTo>
                      <a:pt x="84" y="80"/>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2" name="Freeform 312"/>
              <p:cNvSpPr>
                <a:spLocks/>
              </p:cNvSpPr>
              <p:nvPr/>
            </p:nvSpPr>
            <p:spPr bwMode="auto">
              <a:xfrm>
                <a:off x="3008155" y="3438421"/>
                <a:ext cx="32699" cy="43599"/>
              </a:xfrm>
              <a:custGeom>
                <a:avLst/>
                <a:gdLst>
                  <a:gd name="T0" fmla="*/ 45 w 45"/>
                  <a:gd name="T1" fmla="*/ 0 h 60"/>
                  <a:gd name="T2" fmla="*/ 45 w 45"/>
                  <a:gd name="T3" fmla="*/ 21 h 60"/>
                  <a:gd name="T4" fmla="*/ 45 w 45"/>
                  <a:gd name="T5" fmla="*/ 21 h 60"/>
                  <a:gd name="T6" fmla="*/ 40 w 45"/>
                  <a:gd name="T7" fmla="*/ 35 h 60"/>
                  <a:gd name="T8" fmla="*/ 33 w 45"/>
                  <a:gd name="T9" fmla="*/ 48 h 60"/>
                  <a:gd name="T10" fmla="*/ 33 w 45"/>
                  <a:gd name="T11" fmla="*/ 48 h 60"/>
                  <a:gd name="T12" fmla="*/ 24 w 45"/>
                  <a:gd name="T13" fmla="*/ 55 h 60"/>
                  <a:gd name="T14" fmla="*/ 15 w 45"/>
                  <a:gd name="T15" fmla="*/ 58 h 60"/>
                  <a:gd name="T16" fmla="*/ 7 w 45"/>
                  <a:gd name="T17" fmla="*/ 60 h 60"/>
                  <a:gd name="T18" fmla="*/ 0 w 45"/>
                  <a:gd name="T19" fmla="*/ 60 h 60"/>
                  <a:gd name="T20" fmla="*/ 0 w 45"/>
                  <a:gd name="T21" fmla="*/ 60 h 60"/>
                  <a:gd name="T22" fmla="*/ 8 w 45"/>
                  <a:gd name="T23" fmla="*/ 56 h 60"/>
                  <a:gd name="T24" fmla="*/ 15 w 45"/>
                  <a:gd name="T25" fmla="*/ 51 h 60"/>
                  <a:gd name="T26" fmla="*/ 22 w 45"/>
                  <a:gd name="T27" fmla="*/ 46 h 60"/>
                  <a:gd name="T28" fmla="*/ 29 w 45"/>
                  <a:gd name="T29" fmla="*/ 41 h 60"/>
                  <a:gd name="T30" fmla="*/ 29 w 45"/>
                  <a:gd name="T31" fmla="*/ 41 h 60"/>
                  <a:gd name="T32" fmla="*/ 35 w 45"/>
                  <a:gd name="T33" fmla="*/ 32 h 60"/>
                  <a:gd name="T34" fmla="*/ 40 w 45"/>
                  <a:gd name="T35" fmla="*/ 23 h 60"/>
                  <a:gd name="T36" fmla="*/ 43 w 45"/>
                  <a:gd name="T37" fmla="*/ 13 h 60"/>
                  <a:gd name="T38" fmla="*/ 45 w 45"/>
                  <a:gd name="T39" fmla="*/ 0 h 60"/>
                  <a:gd name="T40" fmla="*/ 45 w 45"/>
                  <a:gd name="T41" fmla="*/ 0 h 60"/>
                  <a:gd name="T42" fmla="*/ 45 w 45"/>
                  <a:gd name="T4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60">
                    <a:moveTo>
                      <a:pt x="45" y="0"/>
                    </a:moveTo>
                    <a:lnTo>
                      <a:pt x="45" y="21"/>
                    </a:lnTo>
                    <a:lnTo>
                      <a:pt x="45" y="21"/>
                    </a:lnTo>
                    <a:lnTo>
                      <a:pt x="40" y="35"/>
                    </a:lnTo>
                    <a:lnTo>
                      <a:pt x="33" y="48"/>
                    </a:lnTo>
                    <a:lnTo>
                      <a:pt x="33" y="48"/>
                    </a:lnTo>
                    <a:lnTo>
                      <a:pt x="24" y="55"/>
                    </a:lnTo>
                    <a:lnTo>
                      <a:pt x="15" y="58"/>
                    </a:lnTo>
                    <a:lnTo>
                      <a:pt x="7" y="60"/>
                    </a:lnTo>
                    <a:lnTo>
                      <a:pt x="0" y="60"/>
                    </a:lnTo>
                    <a:lnTo>
                      <a:pt x="0" y="60"/>
                    </a:lnTo>
                    <a:lnTo>
                      <a:pt x="8" y="56"/>
                    </a:lnTo>
                    <a:lnTo>
                      <a:pt x="15" y="51"/>
                    </a:lnTo>
                    <a:lnTo>
                      <a:pt x="22" y="46"/>
                    </a:lnTo>
                    <a:lnTo>
                      <a:pt x="29" y="41"/>
                    </a:lnTo>
                    <a:lnTo>
                      <a:pt x="29" y="41"/>
                    </a:lnTo>
                    <a:lnTo>
                      <a:pt x="35" y="32"/>
                    </a:lnTo>
                    <a:lnTo>
                      <a:pt x="40" y="23"/>
                    </a:lnTo>
                    <a:lnTo>
                      <a:pt x="43" y="13"/>
                    </a:lnTo>
                    <a:lnTo>
                      <a:pt x="45" y="0"/>
                    </a:lnTo>
                    <a:lnTo>
                      <a:pt x="45" y="0"/>
                    </a:lnTo>
                    <a:lnTo>
                      <a:pt x="45" y="0"/>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3" name="Freeform 313"/>
              <p:cNvSpPr>
                <a:spLocks/>
              </p:cNvSpPr>
              <p:nvPr/>
            </p:nvSpPr>
            <p:spPr bwMode="auto">
              <a:xfrm>
                <a:off x="2966010" y="3381743"/>
                <a:ext cx="45778" cy="68304"/>
              </a:xfrm>
              <a:custGeom>
                <a:avLst/>
                <a:gdLst>
                  <a:gd name="T0" fmla="*/ 63 w 63"/>
                  <a:gd name="T1" fmla="*/ 7 h 94"/>
                  <a:gd name="T2" fmla="*/ 63 w 63"/>
                  <a:gd name="T3" fmla="*/ 7 h 94"/>
                  <a:gd name="T4" fmla="*/ 56 w 63"/>
                  <a:gd name="T5" fmla="*/ 17 h 94"/>
                  <a:gd name="T6" fmla="*/ 47 w 63"/>
                  <a:gd name="T7" fmla="*/ 28 h 94"/>
                  <a:gd name="T8" fmla="*/ 38 w 63"/>
                  <a:gd name="T9" fmla="*/ 35 h 94"/>
                  <a:gd name="T10" fmla="*/ 28 w 63"/>
                  <a:gd name="T11" fmla="*/ 40 h 94"/>
                  <a:gd name="T12" fmla="*/ 28 w 63"/>
                  <a:gd name="T13" fmla="*/ 40 h 94"/>
                  <a:gd name="T14" fmla="*/ 21 w 63"/>
                  <a:gd name="T15" fmla="*/ 61 h 94"/>
                  <a:gd name="T16" fmla="*/ 10 w 63"/>
                  <a:gd name="T17" fmla="*/ 78 h 94"/>
                  <a:gd name="T18" fmla="*/ 10 w 63"/>
                  <a:gd name="T19" fmla="*/ 78 h 94"/>
                  <a:gd name="T20" fmla="*/ 10 w 63"/>
                  <a:gd name="T21" fmla="*/ 85 h 94"/>
                  <a:gd name="T22" fmla="*/ 10 w 63"/>
                  <a:gd name="T23" fmla="*/ 94 h 94"/>
                  <a:gd name="T24" fmla="*/ 10 w 63"/>
                  <a:gd name="T25" fmla="*/ 94 h 94"/>
                  <a:gd name="T26" fmla="*/ 5 w 63"/>
                  <a:gd name="T27" fmla="*/ 84 h 94"/>
                  <a:gd name="T28" fmla="*/ 5 w 63"/>
                  <a:gd name="T29" fmla="*/ 84 h 94"/>
                  <a:gd name="T30" fmla="*/ 2 w 63"/>
                  <a:gd name="T31" fmla="*/ 71 h 94"/>
                  <a:gd name="T32" fmla="*/ 0 w 63"/>
                  <a:gd name="T33" fmla="*/ 59 h 94"/>
                  <a:gd name="T34" fmla="*/ 0 w 63"/>
                  <a:gd name="T35" fmla="*/ 47 h 94"/>
                  <a:gd name="T36" fmla="*/ 2 w 63"/>
                  <a:gd name="T37" fmla="*/ 36 h 94"/>
                  <a:gd name="T38" fmla="*/ 2 w 63"/>
                  <a:gd name="T39" fmla="*/ 36 h 94"/>
                  <a:gd name="T40" fmla="*/ 5 w 63"/>
                  <a:gd name="T41" fmla="*/ 24 h 94"/>
                  <a:gd name="T42" fmla="*/ 9 w 63"/>
                  <a:gd name="T43" fmla="*/ 15 h 94"/>
                  <a:gd name="T44" fmla="*/ 12 w 63"/>
                  <a:gd name="T45" fmla="*/ 7 h 94"/>
                  <a:gd name="T46" fmla="*/ 17 w 63"/>
                  <a:gd name="T47" fmla="*/ 0 h 94"/>
                  <a:gd name="T48" fmla="*/ 17 w 63"/>
                  <a:gd name="T49" fmla="*/ 0 h 94"/>
                  <a:gd name="T50" fmla="*/ 17 w 63"/>
                  <a:gd name="T51" fmla="*/ 7 h 94"/>
                  <a:gd name="T52" fmla="*/ 21 w 63"/>
                  <a:gd name="T53" fmla="*/ 14 h 94"/>
                  <a:gd name="T54" fmla="*/ 24 w 63"/>
                  <a:gd name="T55" fmla="*/ 19 h 94"/>
                  <a:gd name="T56" fmla="*/ 30 w 63"/>
                  <a:gd name="T57" fmla="*/ 24 h 94"/>
                  <a:gd name="T58" fmla="*/ 63 w 63"/>
                  <a:gd name="T59" fmla="*/ 7 h 94"/>
                  <a:gd name="T60" fmla="*/ 63 w 63"/>
                  <a:gd name="T61" fmla="*/ 7 h 94"/>
                  <a:gd name="T62" fmla="*/ 63 w 63"/>
                  <a:gd name="T63" fmla="*/ 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94">
                    <a:moveTo>
                      <a:pt x="63" y="7"/>
                    </a:moveTo>
                    <a:lnTo>
                      <a:pt x="63" y="7"/>
                    </a:lnTo>
                    <a:lnTo>
                      <a:pt x="56" y="17"/>
                    </a:lnTo>
                    <a:lnTo>
                      <a:pt x="47" y="28"/>
                    </a:lnTo>
                    <a:lnTo>
                      <a:pt x="38" y="35"/>
                    </a:lnTo>
                    <a:lnTo>
                      <a:pt x="28" y="40"/>
                    </a:lnTo>
                    <a:lnTo>
                      <a:pt x="28" y="40"/>
                    </a:lnTo>
                    <a:lnTo>
                      <a:pt x="21" y="61"/>
                    </a:lnTo>
                    <a:lnTo>
                      <a:pt x="10" y="78"/>
                    </a:lnTo>
                    <a:lnTo>
                      <a:pt x="10" y="78"/>
                    </a:lnTo>
                    <a:lnTo>
                      <a:pt x="10" y="85"/>
                    </a:lnTo>
                    <a:lnTo>
                      <a:pt x="10" y="94"/>
                    </a:lnTo>
                    <a:lnTo>
                      <a:pt x="10" y="94"/>
                    </a:lnTo>
                    <a:lnTo>
                      <a:pt x="5" y="84"/>
                    </a:lnTo>
                    <a:lnTo>
                      <a:pt x="5" y="84"/>
                    </a:lnTo>
                    <a:lnTo>
                      <a:pt x="2" y="71"/>
                    </a:lnTo>
                    <a:lnTo>
                      <a:pt x="0" y="59"/>
                    </a:lnTo>
                    <a:lnTo>
                      <a:pt x="0" y="47"/>
                    </a:lnTo>
                    <a:lnTo>
                      <a:pt x="2" y="36"/>
                    </a:lnTo>
                    <a:lnTo>
                      <a:pt x="2" y="36"/>
                    </a:lnTo>
                    <a:lnTo>
                      <a:pt x="5" y="24"/>
                    </a:lnTo>
                    <a:lnTo>
                      <a:pt x="9" y="15"/>
                    </a:lnTo>
                    <a:lnTo>
                      <a:pt x="12" y="7"/>
                    </a:lnTo>
                    <a:lnTo>
                      <a:pt x="17" y="0"/>
                    </a:lnTo>
                    <a:lnTo>
                      <a:pt x="17" y="0"/>
                    </a:lnTo>
                    <a:lnTo>
                      <a:pt x="17" y="7"/>
                    </a:lnTo>
                    <a:lnTo>
                      <a:pt x="21" y="14"/>
                    </a:lnTo>
                    <a:lnTo>
                      <a:pt x="24" y="19"/>
                    </a:lnTo>
                    <a:lnTo>
                      <a:pt x="30" y="24"/>
                    </a:lnTo>
                    <a:lnTo>
                      <a:pt x="63" y="7"/>
                    </a:lnTo>
                    <a:lnTo>
                      <a:pt x="63" y="7"/>
                    </a:lnTo>
                    <a:lnTo>
                      <a:pt x="63" y="7"/>
                    </a:lnTo>
                    <a:close/>
                  </a:path>
                </a:pathLst>
              </a:custGeom>
              <a:solidFill>
                <a:srgbClr val="000000"/>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6" name="Freeform 314"/>
              <p:cNvSpPr>
                <a:spLocks noEditPoints="1"/>
              </p:cNvSpPr>
              <p:nvPr/>
            </p:nvSpPr>
            <p:spPr bwMode="auto">
              <a:xfrm>
                <a:off x="2978363" y="3366484"/>
                <a:ext cx="81384" cy="88650"/>
              </a:xfrm>
              <a:custGeom>
                <a:avLst/>
                <a:gdLst>
                  <a:gd name="T0" fmla="*/ 13 w 112"/>
                  <a:gd name="T1" fmla="*/ 45 h 122"/>
                  <a:gd name="T2" fmla="*/ 46 w 112"/>
                  <a:gd name="T3" fmla="*/ 28 h 122"/>
                  <a:gd name="T4" fmla="*/ 65 w 112"/>
                  <a:gd name="T5" fmla="*/ 33 h 122"/>
                  <a:gd name="T6" fmla="*/ 79 w 112"/>
                  <a:gd name="T7" fmla="*/ 43 h 122"/>
                  <a:gd name="T8" fmla="*/ 88 w 112"/>
                  <a:gd name="T9" fmla="*/ 57 h 122"/>
                  <a:gd name="T10" fmla="*/ 91 w 112"/>
                  <a:gd name="T11" fmla="*/ 78 h 122"/>
                  <a:gd name="T12" fmla="*/ 95 w 112"/>
                  <a:gd name="T13" fmla="*/ 89 h 122"/>
                  <a:gd name="T14" fmla="*/ 95 w 112"/>
                  <a:gd name="T15" fmla="*/ 110 h 122"/>
                  <a:gd name="T16" fmla="*/ 91 w 112"/>
                  <a:gd name="T17" fmla="*/ 122 h 122"/>
                  <a:gd name="T18" fmla="*/ 107 w 112"/>
                  <a:gd name="T19" fmla="*/ 96 h 122"/>
                  <a:gd name="T20" fmla="*/ 112 w 112"/>
                  <a:gd name="T21" fmla="*/ 63 h 122"/>
                  <a:gd name="T22" fmla="*/ 111 w 112"/>
                  <a:gd name="T23" fmla="*/ 47 h 122"/>
                  <a:gd name="T24" fmla="*/ 100 w 112"/>
                  <a:gd name="T25" fmla="*/ 22 h 122"/>
                  <a:gd name="T26" fmla="*/ 83 w 112"/>
                  <a:gd name="T27" fmla="*/ 7 h 122"/>
                  <a:gd name="T28" fmla="*/ 62 w 112"/>
                  <a:gd name="T29" fmla="*/ 0 h 122"/>
                  <a:gd name="T30" fmla="*/ 48 w 112"/>
                  <a:gd name="T31" fmla="*/ 0 h 122"/>
                  <a:gd name="T32" fmla="*/ 20 w 112"/>
                  <a:gd name="T33" fmla="*/ 3 h 122"/>
                  <a:gd name="T34" fmla="*/ 0 w 112"/>
                  <a:gd name="T35" fmla="*/ 21 h 122"/>
                  <a:gd name="T36" fmla="*/ 0 w 112"/>
                  <a:gd name="T37" fmla="*/ 28 h 122"/>
                  <a:gd name="T38" fmla="*/ 7 w 112"/>
                  <a:gd name="T39" fmla="*/ 40 h 122"/>
                  <a:gd name="T40" fmla="*/ 13 w 112"/>
                  <a:gd name="T41" fmla="*/ 45 h 122"/>
                  <a:gd name="T42" fmla="*/ 9 w 112"/>
                  <a:gd name="T43" fmla="*/ 15 h 122"/>
                  <a:gd name="T44" fmla="*/ 18 w 112"/>
                  <a:gd name="T45" fmla="*/ 10 h 122"/>
                  <a:gd name="T46" fmla="*/ 37 w 112"/>
                  <a:gd name="T47" fmla="*/ 5 h 122"/>
                  <a:gd name="T48" fmla="*/ 48 w 112"/>
                  <a:gd name="T49" fmla="*/ 3 h 122"/>
                  <a:gd name="T50" fmla="*/ 60 w 112"/>
                  <a:gd name="T51" fmla="*/ 3 h 122"/>
                  <a:gd name="T52" fmla="*/ 81 w 112"/>
                  <a:gd name="T53" fmla="*/ 10 h 122"/>
                  <a:gd name="T54" fmla="*/ 97 w 112"/>
                  <a:gd name="T55" fmla="*/ 24 h 122"/>
                  <a:gd name="T56" fmla="*/ 107 w 112"/>
                  <a:gd name="T57" fmla="*/ 47 h 122"/>
                  <a:gd name="T58" fmla="*/ 109 w 112"/>
                  <a:gd name="T59" fmla="*/ 63 h 122"/>
                  <a:gd name="T60" fmla="*/ 100 w 112"/>
                  <a:gd name="T61" fmla="*/ 105 h 122"/>
                  <a:gd name="T62" fmla="*/ 100 w 112"/>
                  <a:gd name="T63" fmla="*/ 92 h 122"/>
                  <a:gd name="T64" fmla="*/ 98 w 112"/>
                  <a:gd name="T65" fmla="*/ 82 h 122"/>
                  <a:gd name="T66" fmla="*/ 102 w 112"/>
                  <a:gd name="T67" fmla="*/ 71 h 122"/>
                  <a:gd name="T68" fmla="*/ 102 w 112"/>
                  <a:gd name="T69" fmla="*/ 57 h 122"/>
                  <a:gd name="T70" fmla="*/ 91 w 112"/>
                  <a:gd name="T71" fmla="*/ 31 h 122"/>
                  <a:gd name="T72" fmla="*/ 83 w 112"/>
                  <a:gd name="T73" fmla="*/ 21 h 122"/>
                  <a:gd name="T74" fmla="*/ 70 w 112"/>
                  <a:gd name="T75" fmla="*/ 14 h 122"/>
                  <a:gd name="T76" fmla="*/ 65 w 112"/>
                  <a:gd name="T77" fmla="*/ 12 h 122"/>
                  <a:gd name="T78" fmla="*/ 39 w 112"/>
                  <a:gd name="T79" fmla="*/ 10 h 122"/>
                  <a:gd name="T80" fmla="*/ 9 w 112"/>
                  <a:gd name="T81"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22">
                    <a:moveTo>
                      <a:pt x="13" y="45"/>
                    </a:moveTo>
                    <a:lnTo>
                      <a:pt x="13" y="45"/>
                    </a:lnTo>
                    <a:lnTo>
                      <a:pt x="46" y="28"/>
                    </a:lnTo>
                    <a:lnTo>
                      <a:pt x="46" y="28"/>
                    </a:lnTo>
                    <a:lnTo>
                      <a:pt x="56" y="29"/>
                    </a:lnTo>
                    <a:lnTo>
                      <a:pt x="65" y="33"/>
                    </a:lnTo>
                    <a:lnTo>
                      <a:pt x="72" y="36"/>
                    </a:lnTo>
                    <a:lnTo>
                      <a:pt x="79" y="43"/>
                    </a:lnTo>
                    <a:lnTo>
                      <a:pt x="84" y="50"/>
                    </a:lnTo>
                    <a:lnTo>
                      <a:pt x="88" y="57"/>
                    </a:lnTo>
                    <a:lnTo>
                      <a:pt x="91" y="68"/>
                    </a:lnTo>
                    <a:lnTo>
                      <a:pt x="91" y="78"/>
                    </a:lnTo>
                    <a:lnTo>
                      <a:pt x="91" y="78"/>
                    </a:lnTo>
                    <a:lnTo>
                      <a:pt x="95" y="89"/>
                    </a:lnTo>
                    <a:lnTo>
                      <a:pt x="97" y="99"/>
                    </a:lnTo>
                    <a:lnTo>
                      <a:pt x="95" y="110"/>
                    </a:lnTo>
                    <a:lnTo>
                      <a:pt x="91" y="122"/>
                    </a:lnTo>
                    <a:lnTo>
                      <a:pt x="91" y="122"/>
                    </a:lnTo>
                    <a:lnTo>
                      <a:pt x="100" y="110"/>
                    </a:lnTo>
                    <a:lnTo>
                      <a:pt x="107" y="96"/>
                    </a:lnTo>
                    <a:lnTo>
                      <a:pt x="111" y="80"/>
                    </a:lnTo>
                    <a:lnTo>
                      <a:pt x="112" y="63"/>
                    </a:lnTo>
                    <a:lnTo>
                      <a:pt x="112" y="63"/>
                    </a:lnTo>
                    <a:lnTo>
                      <a:pt x="111" y="47"/>
                    </a:lnTo>
                    <a:lnTo>
                      <a:pt x="105" y="33"/>
                    </a:lnTo>
                    <a:lnTo>
                      <a:pt x="100" y="22"/>
                    </a:lnTo>
                    <a:lnTo>
                      <a:pt x="91" y="12"/>
                    </a:lnTo>
                    <a:lnTo>
                      <a:pt x="83" y="7"/>
                    </a:lnTo>
                    <a:lnTo>
                      <a:pt x="72" y="1"/>
                    </a:lnTo>
                    <a:lnTo>
                      <a:pt x="62" y="0"/>
                    </a:lnTo>
                    <a:lnTo>
                      <a:pt x="48" y="0"/>
                    </a:lnTo>
                    <a:lnTo>
                      <a:pt x="48" y="0"/>
                    </a:lnTo>
                    <a:lnTo>
                      <a:pt x="34" y="0"/>
                    </a:lnTo>
                    <a:lnTo>
                      <a:pt x="20" y="3"/>
                    </a:lnTo>
                    <a:lnTo>
                      <a:pt x="9" y="10"/>
                    </a:lnTo>
                    <a:lnTo>
                      <a:pt x="0" y="21"/>
                    </a:lnTo>
                    <a:lnTo>
                      <a:pt x="0" y="21"/>
                    </a:lnTo>
                    <a:lnTo>
                      <a:pt x="0" y="28"/>
                    </a:lnTo>
                    <a:lnTo>
                      <a:pt x="4" y="35"/>
                    </a:lnTo>
                    <a:lnTo>
                      <a:pt x="7" y="40"/>
                    </a:lnTo>
                    <a:lnTo>
                      <a:pt x="13" y="45"/>
                    </a:lnTo>
                    <a:lnTo>
                      <a:pt x="13" y="45"/>
                    </a:lnTo>
                    <a:close/>
                    <a:moveTo>
                      <a:pt x="9" y="15"/>
                    </a:moveTo>
                    <a:lnTo>
                      <a:pt x="9" y="15"/>
                    </a:lnTo>
                    <a:lnTo>
                      <a:pt x="9" y="15"/>
                    </a:lnTo>
                    <a:lnTo>
                      <a:pt x="18" y="10"/>
                    </a:lnTo>
                    <a:lnTo>
                      <a:pt x="27" y="7"/>
                    </a:lnTo>
                    <a:lnTo>
                      <a:pt x="37" y="5"/>
                    </a:lnTo>
                    <a:lnTo>
                      <a:pt x="48" y="3"/>
                    </a:lnTo>
                    <a:lnTo>
                      <a:pt x="48" y="3"/>
                    </a:lnTo>
                    <a:lnTo>
                      <a:pt x="48" y="3"/>
                    </a:lnTo>
                    <a:lnTo>
                      <a:pt x="60" y="3"/>
                    </a:lnTo>
                    <a:lnTo>
                      <a:pt x="72" y="5"/>
                    </a:lnTo>
                    <a:lnTo>
                      <a:pt x="81" y="10"/>
                    </a:lnTo>
                    <a:lnTo>
                      <a:pt x="90" y="15"/>
                    </a:lnTo>
                    <a:lnTo>
                      <a:pt x="97" y="24"/>
                    </a:lnTo>
                    <a:lnTo>
                      <a:pt x="102" y="35"/>
                    </a:lnTo>
                    <a:lnTo>
                      <a:pt x="107" y="47"/>
                    </a:lnTo>
                    <a:lnTo>
                      <a:pt x="109" y="63"/>
                    </a:lnTo>
                    <a:lnTo>
                      <a:pt x="109" y="63"/>
                    </a:lnTo>
                    <a:lnTo>
                      <a:pt x="105" y="85"/>
                    </a:lnTo>
                    <a:lnTo>
                      <a:pt x="100" y="105"/>
                    </a:lnTo>
                    <a:lnTo>
                      <a:pt x="100" y="105"/>
                    </a:lnTo>
                    <a:lnTo>
                      <a:pt x="100" y="92"/>
                    </a:lnTo>
                    <a:lnTo>
                      <a:pt x="98" y="82"/>
                    </a:lnTo>
                    <a:lnTo>
                      <a:pt x="98" y="82"/>
                    </a:lnTo>
                    <a:lnTo>
                      <a:pt x="100" y="77"/>
                    </a:lnTo>
                    <a:lnTo>
                      <a:pt x="102" y="71"/>
                    </a:lnTo>
                    <a:lnTo>
                      <a:pt x="102" y="57"/>
                    </a:lnTo>
                    <a:lnTo>
                      <a:pt x="102" y="57"/>
                    </a:lnTo>
                    <a:lnTo>
                      <a:pt x="97" y="40"/>
                    </a:lnTo>
                    <a:lnTo>
                      <a:pt x="91" y="31"/>
                    </a:lnTo>
                    <a:lnTo>
                      <a:pt x="88" y="26"/>
                    </a:lnTo>
                    <a:lnTo>
                      <a:pt x="83" y="21"/>
                    </a:lnTo>
                    <a:lnTo>
                      <a:pt x="77" y="17"/>
                    </a:lnTo>
                    <a:lnTo>
                      <a:pt x="70" y="14"/>
                    </a:lnTo>
                    <a:lnTo>
                      <a:pt x="65" y="12"/>
                    </a:lnTo>
                    <a:lnTo>
                      <a:pt x="65" y="12"/>
                    </a:lnTo>
                    <a:lnTo>
                      <a:pt x="53" y="10"/>
                    </a:lnTo>
                    <a:lnTo>
                      <a:pt x="39" y="10"/>
                    </a:lnTo>
                    <a:lnTo>
                      <a:pt x="25" y="12"/>
                    </a:lnTo>
                    <a:lnTo>
                      <a:pt x="9" y="15"/>
                    </a:lnTo>
                    <a:lnTo>
                      <a:pt x="9" y="15"/>
                    </a:lnTo>
                    <a:close/>
                  </a:path>
                </a:pathLst>
              </a:custGeom>
              <a:solidFill>
                <a:schemeClr val="tx1">
                  <a:lumMod val="85000"/>
                  <a:lumOff val="15000"/>
                </a:scheme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7" name="Freeform 315"/>
              <p:cNvSpPr>
                <a:spLocks/>
              </p:cNvSpPr>
              <p:nvPr/>
            </p:nvSpPr>
            <p:spPr bwMode="auto">
              <a:xfrm>
                <a:off x="2984903" y="3368664"/>
                <a:ext cx="72664" cy="74117"/>
              </a:xfrm>
              <a:custGeom>
                <a:avLst/>
                <a:gdLst>
                  <a:gd name="T0" fmla="*/ 56 w 100"/>
                  <a:gd name="T1" fmla="*/ 9 h 102"/>
                  <a:gd name="T2" fmla="*/ 56 w 100"/>
                  <a:gd name="T3" fmla="*/ 9 h 102"/>
                  <a:gd name="T4" fmla="*/ 44 w 100"/>
                  <a:gd name="T5" fmla="*/ 7 h 102"/>
                  <a:gd name="T6" fmla="*/ 30 w 100"/>
                  <a:gd name="T7" fmla="*/ 7 h 102"/>
                  <a:gd name="T8" fmla="*/ 16 w 100"/>
                  <a:gd name="T9" fmla="*/ 9 h 102"/>
                  <a:gd name="T10" fmla="*/ 0 w 100"/>
                  <a:gd name="T11" fmla="*/ 12 h 102"/>
                  <a:gd name="T12" fmla="*/ 0 w 100"/>
                  <a:gd name="T13" fmla="*/ 12 h 102"/>
                  <a:gd name="T14" fmla="*/ 9 w 100"/>
                  <a:gd name="T15" fmla="*/ 7 h 102"/>
                  <a:gd name="T16" fmla="*/ 18 w 100"/>
                  <a:gd name="T17" fmla="*/ 4 h 102"/>
                  <a:gd name="T18" fmla="*/ 28 w 100"/>
                  <a:gd name="T19" fmla="*/ 2 h 102"/>
                  <a:gd name="T20" fmla="*/ 39 w 100"/>
                  <a:gd name="T21" fmla="*/ 0 h 102"/>
                  <a:gd name="T22" fmla="*/ 39 w 100"/>
                  <a:gd name="T23" fmla="*/ 0 h 102"/>
                  <a:gd name="T24" fmla="*/ 39 w 100"/>
                  <a:gd name="T25" fmla="*/ 0 h 102"/>
                  <a:gd name="T26" fmla="*/ 51 w 100"/>
                  <a:gd name="T27" fmla="*/ 0 h 102"/>
                  <a:gd name="T28" fmla="*/ 63 w 100"/>
                  <a:gd name="T29" fmla="*/ 2 h 102"/>
                  <a:gd name="T30" fmla="*/ 72 w 100"/>
                  <a:gd name="T31" fmla="*/ 7 h 102"/>
                  <a:gd name="T32" fmla="*/ 81 w 100"/>
                  <a:gd name="T33" fmla="*/ 12 h 102"/>
                  <a:gd name="T34" fmla="*/ 88 w 100"/>
                  <a:gd name="T35" fmla="*/ 21 h 102"/>
                  <a:gd name="T36" fmla="*/ 93 w 100"/>
                  <a:gd name="T37" fmla="*/ 32 h 102"/>
                  <a:gd name="T38" fmla="*/ 98 w 100"/>
                  <a:gd name="T39" fmla="*/ 44 h 102"/>
                  <a:gd name="T40" fmla="*/ 100 w 100"/>
                  <a:gd name="T41" fmla="*/ 60 h 102"/>
                  <a:gd name="T42" fmla="*/ 100 w 100"/>
                  <a:gd name="T43" fmla="*/ 60 h 102"/>
                  <a:gd name="T44" fmla="*/ 96 w 100"/>
                  <a:gd name="T45" fmla="*/ 82 h 102"/>
                  <a:gd name="T46" fmla="*/ 91 w 100"/>
                  <a:gd name="T47" fmla="*/ 102 h 102"/>
                  <a:gd name="T48" fmla="*/ 91 w 100"/>
                  <a:gd name="T49" fmla="*/ 102 h 102"/>
                  <a:gd name="T50" fmla="*/ 91 w 100"/>
                  <a:gd name="T51" fmla="*/ 89 h 102"/>
                  <a:gd name="T52" fmla="*/ 89 w 100"/>
                  <a:gd name="T53" fmla="*/ 79 h 102"/>
                  <a:gd name="T54" fmla="*/ 89 w 100"/>
                  <a:gd name="T55" fmla="*/ 79 h 102"/>
                  <a:gd name="T56" fmla="*/ 91 w 100"/>
                  <a:gd name="T57" fmla="*/ 74 h 102"/>
                  <a:gd name="T58" fmla="*/ 93 w 100"/>
                  <a:gd name="T59" fmla="*/ 68 h 102"/>
                  <a:gd name="T60" fmla="*/ 93 w 100"/>
                  <a:gd name="T61" fmla="*/ 54 h 102"/>
                  <a:gd name="T62" fmla="*/ 93 w 100"/>
                  <a:gd name="T63" fmla="*/ 54 h 102"/>
                  <a:gd name="T64" fmla="*/ 88 w 100"/>
                  <a:gd name="T65" fmla="*/ 37 h 102"/>
                  <a:gd name="T66" fmla="*/ 82 w 100"/>
                  <a:gd name="T67" fmla="*/ 28 h 102"/>
                  <a:gd name="T68" fmla="*/ 79 w 100"/>
                  <a:gd name="T69" fmla="*/ 23 h 102"/>
                  <a:gd name="T70" fmla="*/ 74 w 100"/>
                  <a:gd name="T71" fmla="*/ 18 h 102"/>
                  <a:gd name="T72" fmla="*/ 68 w 100"/>
                  <a:gd name="T73" fmla="*/ 14 h 102"/>
                  <a:gd name="T74" fmla="*/ 61 w 100"/>
                  <a:gd name="T75" fmla="*/ 11 h 102"/>
                  <a:gd name="T76" fmla="*/ 56 w 100"/>
                  <a:gd name="T77" fmla="*/ 9 h 102"/>
                  <a:gd name="T78" fmla="*/ 56 w 100"/>
                  <a:gd name="T79" fmla="*/ 9 h 102"/>
                  <a:gd name="T80" fmla="*/ 56 w 100"/>
                  <a:gd name="T81" fmla="*/ 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2">
                    <a:moveTo>
                      <a:pt x="56" y="9"/>
                    </a:moveTo>
                    <a:lnTo>
                      <a:pt x="56" y="9"/>
                    </a:lnTo>
                    <a:lnTo>
                      <a:pt x="44" y="7"/>
                    </a:lnTo>
                    <a:lnTo>
                      <a:pt x="30" y="7"/>
                    </a:lnTo>
                    <a:lnTo>
                      <a:pt x="16" y="9"/>
                    </a:lnTo>
                    <a:lnTo>
                      <a:pt x="0" y="12"/>
                    </a:lnTo>
                    <a:lnTo>
                      <a:pt x="0" y="12"/>
                    </a:lnTo>
                    <a:lnTo>
                      <a:pt x="9" y="7"/>
                    </a:lnTo>
                    <a:lnTo>
                      <a:pt x="18" y="4"/>
                    </a:lnTo>
                    <a:lnTo>
                      <a:pt x="28" y="2"/>
                    </a:lnTo>
                    <a:lnTo>
                      <a:pt x="39" y="0"/>
                    </a:lnTo>
                    <a:lnTo>
                      <a:pt x="39" y="0"/>
                    </a:lnTo>
                    <a:lnTo>
                      <a:pt x="39" y="0"/>
                    </a:lnTo>
                    <a:lnTo>
                      <a:pt x="51" y="0"/>
                    </a:lnTo>
                    <a:lnTo>
                      <a:pt x="63" y="2"/>
                    </a:lnTo>
                    <a:lnTo>
                      <a:pt x="72" y="7"/>
                    </a:lnTo>
                    <a:lnTo>
                      <a:pt x="81" y="12"/>
                    </a:lnTo>
                    <a:lnTo>
                      <a:pt x="88" y="21"/>
                    </a:lnTo>
                    <a:lnTo>
                      <a:pt x="93" y="32"/>
                    </a:lnTo>
                    <a:lnTo>
                      <a:pt x="98" y="44"/>
                    </a:lnTo>
                    <a:lnTo>
                      <a:pt x="100" y="60"/>
                    </a:lnTo>
                    <a:lnTo>
                      <a:pt x="100" y="60"/>
                    </a:lnTo>
                    <a:lnTo>
                      <a:pt x="96" y="82"/>
                    </a:lnTo>
                    <a:lnTo>
                      <a:pt x="91" y="102"/>
                    </a:lnTo>
                    <a:lnTo>
                      <a:pt x="91" y="102"/>
                    </a:lnTo>
                    <a:lnTo>
                      <a:pt x="91" y="89"/>
                    </a:lnTo>
                    <a:lnTo>
                      <a:pt x="89" y="79"/>
                    </a:lnTo>
                    <a:lnTo>
                      <a:pt x="89" y="79"/>
                    </a:lnTo>
                    <a:lnTo>
                      <a:pt x="91" y="74"/>
                    </a:lnTo>
                    <a:lnTo>
                      <a:pt x="93" y="68"/>
                    </a:lnTo>
                    <a:lnTo>
                      <a:pt x="93" y="54"/>
                    </a:lnTo>
                    <a:lnTo>
                      <a:pt x="93" y="54"/>
                    </a:lnTo>
                    <a:lnTo>
                      <a:pt x="88" y="37"/>
                    </a:lnTo>
                    <a:lnTo>
                      <a:pt x="82" y="28"/>
                    </a:lnTo>
                    <a:lnTo>
                      <a:pt x="79" y="23"/>
                    </a:lnTo>
                    <a:lnTo>
                      <a:pt x="74" y="18"/>
                    </a:lnTo>
                    <a:lnTo>
                      <a:pt x="68" y="14"/>
                    </a:lnTo>
                    <a:lnTo>
                      <a:pt x="61" y="11"/>
                    </a:lnTo>
                    <a:lnTo>
                      <a:pt x="56" y="9"/>
                    </a:lnTo>
                    <a:lnTo>
                      <a:pt x="56" y="9"/>
                    </a:lnTo>
                    <a:lnTo>
                      <a:pt x="56" y="9"/>
                    </a:lnTo>
                    <a:close/>
                  </a:path>
                </a:pathLst>
              </a:custGeom>
              <a:solidFill>
                <a:schemeClr val="tx1">
                  <a:lumMod val="75000"/>
                  <a:lumOff val="25000"/>
                </a:schemeClr>
              </a:solidFill>
              <a:ln w="9525">
                <a:solidFill>
                  <a:schemeClr val="tx1">
                    <a:lumMod val="75000"/>
                    <a:lumOff val="25000"/>
                  </a:schemeClr>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8" name="Freeform 316"/>
              <p:cNvSpPr>
                <a:spLocks noEditPoints="1"/>
              </p:cNvSpPr>
              <p:nvPr/>
            </p:nvSpPr>
            <p:spPr bwMode="auto">
              <a:xfrm>
                <a:off x="2995076" y="3476933"/>
                <a:ext cx="39239" cy="90104"/>
              </a:xfrm>
              <a:custGeom>
                <a:avLst/>
                <a:gdLst>
                  <a:gd name="T0" fmla="*/ 54 w 54"/>
                  <a:gd name="T1" fmla="*/ 0 h 124"/>
                  <a:gd name="T2" fmla="*/ 54 w 54"/>
                  <a:gd name="T3" fmla="*/ 0 h 124"/>
                  <a:gd name="T4" fmla="*/ 54 w 54"/>
                  <a:gd name="T5" fmla="*/ 0 h 124"/>
                  <a:gd name="T6" fmla="*/ 44 w 54"/>
                  <a:gd name="T7" fmla="*/ 10 h 124"/>
                  <a:gd name="T8" fmla="*/ 35 w 54"/>
                  <a:gd name="T9" fmla="*/ 17 h 124"/>
                  <a:gd name="T10" fmla="*/ 25 w 54"/>
                  <a:gd name="T11" fmla="*/ 23 h 124"/>
                  <a:gd name="T12" fmla="*/ 14 w 54"/>
                  <a:gd name="T13" fmla="*/ 23 h 124"/>
                  <a:gd name="T14" fmla="*/ 14 w 54"/>
                  <a:gd name="T15" fmla="*/ 23 h 124"/>
                  <a:gd name="T16" fmla="*/ 5 w 54"/>
                  <a:gd name="T17" fmla="*/ 21 h 124"/>
                  <a:gd name="T18" fmla="*/ 0 w 54"/>
                  <a:gd name="T19" fmla="*/ 66 h 124"/>
                  <a:gd name="T20" fmla="*/ 18 w 54"/>
                  <a:gd name="T21" fmla="*/ 124 h 124"/>
                  <a:gd name="T22" fmla="*/ 44 w 54"/>
                  <a:gd name="T23" fmla="*/ 59 h 124"/>
                  <a:gd name="T24" fmla="*/ 53 w 54"/>
                  <a:gd name="T25" fmla="*/ 12 h 124"/>
                  <a:gd name="T26" fmla="*/ 54 w 54"/>
                  <a:gd name="T27" fmla="*/ 0 h 124"/>
                  <a:gd name="T28" fmla="*/ 54 w 54"/>
                  <a:gd name="T29" fmla="*/ 0 h 124"/>
                  <a:gd name="T30" fmla="*/ 19 w 54"/>
                  <a:gd name="T31" fmla="*/ 105 h 124"/>
                  <a:gd name="T32" fmla="*/ 19 w 54"/>
                  <a:gd name="T33" fmla="*/ 105 h 124"/>
                  <a:gd name="T34" fmla="*/ 33 w 54"/>
                  <a:gd name="T35" fmla="*/ 26 h 124"/>
                  <a:gd name="T36" fmla="*/ 42 w 54"/>
                  <a:gd name="T37" fmla="*/ 19 h 124"/>
                  <a:gd name="T38" fmla="*/ 37 w 54"/>
                  <a:gd name="T39" fmla="*/ 61 h 124"/>
                  <a:gd name="T40" fmla="*/ 19 w 54"/>
                  <a:gd name="T41" fmla="*/ 105 h 124"/>
                  <a:gd name="T42" fmla="*/ 19 w 54"/>
                  <a:gd name="T43" fmla="*/ 10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124">
                    <a:moveTo>
                      <a:pt x="54" y="0"/>
                    </a:moveTo>
                    <a:lnTo>
                      <a:pt x="54" y="0"/>
                    </a:lnTo>
                    <a:lnTo>
                      <a:pt x="54" y="0"/>
                    </a:lnTo>
                    <a:lnTo>
                      <a:pt x="44" y="10"/>
                    </a:lnTo>
                    <a:lnTo>
                      <a:pt x="35" y="17"/>
                    </a:lnTo>
                    <a:lnTo>
                      <a:pt x="25" y="23"/>
                    </a:lnTo>
                    <a:lnTo>
                      <a:pt x="14" y="23"/>
                    </a:lnTo>
                    <a:lnTo>
                      <a:pt x="14" y="23"/>
                    </a:lnTo>
                    <a:lnTo>
                      <a:pt x="5" y="21"/>
                    </a:lnTo>
                    <a:lnTo>
                      <a:pt x="0" y="66"/>
                    </a:lnTo>
                    <a:lnTo>
                      <a:pt x="18" y="124"/>
                    </a:lnTo>
                    <a:lnTo>
                      <a:pt x="44" y="59"/>
                    </a:lnTo>
                    <a:lnTo>
                      <a:pt x="53" y="12"/>
                    </a:lnTo>
                    <a:lnTo>
                      <a:pt x="54" y="0"/>
                    </a:lnTo>
                    <a:lnTo>
                      <a:pt x="54" y="0"/>
                    </a:lnTo>
                    <a:close/>
                    <a:moveTo>
                      <a:pt x="19" y="105"/>
                    </a:moveTo>
                    <a:lnTo>
                      <a:pt x="19" y="105"/>
                    </a:lnTo>
                    <a:lnTo>
                      <a:pt x="33" y="26"/>
                    </a:lnTo>
                    <a:lnTo>
                      <a:pt x="42" y="19"/>
                    </a:lnTo>
                    <a:lnTo>
                      <a:pt x="37" y="61"/>
                    </a:lnTo>
                    <a:lnTo>
                      <a:pt x="19" y="105"/>
                    </a:lnTo>
                    <a:lnTo>
                      <a:pt x="19" y="105"/>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9" name="Freeform 317"/>
              <p:cNvSpPr>
                <a:spLocks/>
              </p:cNvSpPr>
              <p:nvPr/>
            </p:nvSpPr>
            <p:spPr bwMode="auto">
              <a:xfrm>
                <a:off x="3008882" y="3490739"/>
                <a:ext cx="16713" cy="62491"/>
              </a:xfrm>
              <a:custGeom>
                <a:avLst/>
                <a:gdLst>
                  <a:gd name="T0" fmla="*/ 18 w 23"/>
                  <a:gd name="T1" fmla="*/ 42 h 86"/>
                  <a:gd name="T2" fmla="*/ 0 w 23"/>
                  <a:gd name="T3" fmla="*/ 86 h 86"/>
                  <a:gd name="T4" fmla="*/ 14 w 23"/>
                  <a:gd name="T5" fmla="*/ 7 h 86"/>
                  <a:gd name="T6" fmla="*/ 23 w 23"/>
                  <a:gd name="T7" fmla="*/ 0 h 86"/>
                  <a:gd name="T8" fmla="*/ 18 w 23"/>
                  <a:gd name="T9" fmla="*/ 42 h 86"/>
                  <a:gd name="T10" fmla="*/ 18 w 23"/>
                  <a:gd name="T11" fmla="*/ 42 h 86"/>
                  <a:gd name="T12" fmla="*/ 18 w 23"/>
                  <a:gd name="T13" fmla="*/ 42 h 86"/>
                </a:gdLst>
                <a:ahLst/>
                <a:cxnLst>
                  <a:cxn ang="0">
                    <a:pos x="T0" y="T1"/>
                  </a:cxn>
                  <a:cxn ang="0">
                    <a:pos x="T2" y="T3"/>
                  </a:cxn>
                  <a:cxn ang="0">
                    <a:pos x="T4" y="T5"/>
                  </a:cxn>
                  <a:cxn ang="0">
                    <a:pos x="T6" y="T7"/>
                  </a:cxn>
                  <a:cxn ang="0">
                    <a:pos x="T8" y="T9"/>
                  </a:cxn>
                  <a:cxn ang="0">
                    <a:pos x="T10" y="T11"/>
                  </a:cxn>
                  <a:cxn ang="0">
                    <a:pos x="T12" y="T13"/>
                  </a:cxn>
                </a:cxnLst>
                <a:rect l="0" t="0" r="r" b="b"/>
                <a:pathLst>
                  <a:path w="23" h="86">
                    <a:moveTo>
                      <a:pt x="18" y="42"/>
                    </a:moveTo>
                    <a:lnTo>
                      <a:pt x="0" y="86"/>
                    </a:lnTo>
                    <a:lnTo>
                      <a:pt x="14" y="7"/>
                    </a:lnTo>
                    <a:lnTo>
                      <a:pt x="23" y="0"/>
                    </a:lnTo>
                    <a:lnTo>
                      <a:pt x="18" y="42"/>
                    </a:lnTo>
                    <a:lnTo>
                      <a:pt x="18" y="42"/>
                    </a:lnTo>
                    <a:lnTo>
                      <a:pt x="18" y="42"/>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0" name="Freeform 318"/>
              <p:cNvSpPr>
                <a:spLocks/>
              </p:cNvSpPr>
              <p:nvPr/>
            </p:nvSpPr>
            <p:spPr bwMode="auto">
              <a:xfrm>
                <a:off x="2964557" y="3482020"/>
                <a:ext cx="105363" cy="129342"/>
              </a:xfrm>
              <a:custGeom>
                <a:avLst/>
                <a:gdLst>
                  <a:gd name="T0" fmla="*/ 95 w 145"/>
                  <a:gd name="T1" fmla="*/ 5 h 178"/>
                  <a:gd name="T2" fmla="*/ 105 w 145"/>
                  <a:gd name="T3" fmla="*/ 5 h 178"/>
                  <a:gd name="T4" fmla="*/ 128 w 145"/>
                  <a:gd name="T5" fmla="*/ 42 h 178"/>
                  <a:gd name="T6" fmla="*/ 145 w 145"/>
                  <a:gd name="T7" fmla="*/ 70 h 178"/>
                  <a:gd name="T8" fmla="*/ 102 w 145"/>
                  <a:gd name="T9" fmla="*/ 66 h 178"/>
                  <a:gd name="T10" fmla="*/ 93 w 145"/>
                  <a:gd name="T11" fmla="*/ 65 h 178"/>
                  <a:gd name="T12" fmla="*/ 93 w 145"/>
                  <a:gd name="T13" fmla="*/ 65 h 178"/>
                  <a:gd name="T14" fmla="*/ 84 w 145"/>
                  <a:gd name="T15" fmla="*/ 94 h 178"/>
                  <a:gd name="T16" fmla="*/ 74 w 145"/>
                  <a:gd name="T17" fmla="*/ 121 h 178"/>
                  <a:gd name="T18" fmla="*/ 63 w 145"/>
                  <a:gd name="T19" fmla="*/ 145 h 178"/>
                  <a:gd name="T20" fmla="*/ 53 w 145"/>
                  <a:gd name="T21" fmla="*/ 168 h 178"/>
                  <a:gd name="T22" fmla="*/ 47 w 145"/>
                  <a:gd name="T23" fmla="*/ 178 h 178"/>
                  <a:gd name="T24" fmla="*/ 47 w 145"/>
                  <a:gd name="T25" fmla="*/ 178 h 178"/>
                  <a:gd name="T26" fmla="*/ 37 w 145"/>
                  <a:gd name="T27" fmla="*/ 149 h 178"/>
                  <a:gd name="T28" fmla="*/ 28 w 145"/>
                  <a:gd name="T29" fmla="*/ 117 h 178"/>
                  <a:gd name="T30" fmla="*/ 21 w 145"/>
                  <a:gd name="T31" fmla="*/ 82 h 178"/>
                  <a:gd name="T32" fmla="*/ 18 w 145"/>
                  <a:gd name="T33" fmla="*/ 45 h 178"/>
                  <a:gd name="T34" fmla="*/ 0 w 145"/>
                  <a:gd name="T35" fmla="*/ 45 h 178"/>
                  <a:gd name="T36" fmla="*/ 16 w 145"/>
                  <a:gd name="T37" fmla="*/ 0 h 178"/>
                  <a:gd name="T38" fmla="*/ 23 w 145"/>
                  <a:gd name="T39" fmla="*/ 0 h 178"/>
                  <a:gd name="T40" fmla="*/ 23 w 145"/>
                  <a:gd name="T41" fmla="*/ 54 h 178"/>
                  <a:gd name="T42" fmla="*/ 47 w 145"/>
                  <a:gd name="T43" fmla="*/ 145 h 178"/>
                  <a:gd name="T44" fmla="*/ 47 w 145"/>
                  <a:gd name="T45" fmla="*/ 145 h 178"/>
                  <a:gd name="T46" fmla="*/ 60 w 145"/>
                  <a:gd name="T47" fmla="*/ 128 h 178"/>
                  <a:gd name="T48" fmla="*/ 70 w 145"/>
                  <a:gd name="T49" fmla="*/ 108 h 178"/>
                  <a:gd name="T50" fmla="*/ 81 w 145"/>
                  <a:gd name="T51" fmla="*/ 86 h 178"/>
                  <a:gd name="T52" fmla="*/ 89 w 145"/>
                  <a:gd name="T53" fmla="*/ 61 h 178"/>
                  <a:gd name="T54" fmla="*/ 95 w 145"/>
                  <a:gd name="T55" fmla="*/ 5 h 178"/>
                  <a:gd name="T56" fmla="*/ 95 w 145"/>
                  <a:gd name="T57" fmla="*/ 5 h 178"/>
                  <a:gd name="T58" fmla="*/ 95 w 145"/>
                  <a:gd name="T59" fmla="*/ 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5" h="178">
                    <a:moveTo>
                      <a:pt x="95" y="5"/>
                    </a:moveTo>
                    <a:lnTo>
                      <a:pt x="105" y="5"/>
                    </a:lnTo>
                    <a:lnTo>
                      <a:pt x="128" y="42"/>
                    </a:lnTo>
                    <a:lnTo>
                      <a:pt x="145" y="70"/>
                    </a:lnTo>
                    <a:lnTo>
                      <a:pt x="102" y="66"/>
                    </a:lnTo>
                    <a:lnTo>
                      <a:pt x="93" y="65"/>
                    </a:lnTo>
                    <a:lnTo>
                      <a:pt x="93" y="65"/>
                    </a:lnTo>
                    <a:lnTo>
                      <a:pt x="84" y="94"/>
                    </a:lnTo>
                    <a:lnTo>
                      <a:pt x="74" y="121"/>
                    </a:lnTo>
                    <a:lnTo>
                      <a:pt x="63" y="145"/>
                    </a:lnTo>
                    <a:lnTo>
                      <a:pt x="53" y="168"/>
                    </a:lnTo>
                    <a:lnTo>
                      <a:pt x="47" y="178"/>
                    </a:lnTo>
                    <a:lnTo>
                      <a:pt x="47" y="178"/>
                    </a:lnTo>
                    <a:lnTo>
                      <a:pt x="37" y="149"/>
                    </a:lnTo>
                    <a:lnTo>
                      <a:pt x="28" y="117"/>
                    </a:lnTo>
                    <a:lnTo>
                      <a:pt x="21" y="82"/>
                    </a:lnTo>
                    <a:lnTo>
                      <a:pt x="18" y="45"/>
                    </a:lnTo>
                    <a:lnTo>
                      <a:pt x="0" y="45"/>
                    </a:lnTo>
                    <a:lnTo>
                      <a:pt x="16" y="0"/>
                    </a:lnTo>
                    <a:lnTo>
                      <a:pt x="23" y="0"/>
                    </a:lnTo>
                    <a:lnTo>
                      <a:pt x="23" y="54"/>
                    </a:lnTo>
                    <a:lnTo>
                      <a:pt x="47" y="145"/>
                    </a:lnTo>
                    <a:lnTo>
                      <a:pt x="47" y="145"/>
                    </a:lnTo>
                    <a:lnTo>
                      <a:pt x="60" y="128"/>
                    </a:lnTo>
                    <a:lnTo>
                      <a:pt x="70" y="108"/>
                    </a:lnTo>
                    <a:lnTo>
                      <a:pt x="81" y="86"/>
                    </a:lnTo>
                    <a:lnTo>
                      <a:pt x="89" y="61"/>
                    </a:lnTo>
                    <a:lnTo>
                      <a:pt x="95" y="5"/>
                    </a:lnTo>
                    <a:lnTo>
                      <a:pt x="95" y="5"/>
                    </a:lnTo>
                    <a:lnTo>
                      <a:pt x="95" y="5"/>
                    </a:lnTo>
                    <a:close/>
                  </a:path>
                </a:pathLst>
              </a:custGeom>
              <a:solidFill>
                <a:srgbClr val="EFF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319"/>
              <p:cNvSpPr>
                <a:spLocks/>
              </p:cNvSpPr>
              <p:nvPr/>
            </p:nvSpPr>
            <p:spPr bwMode="auto">
              <a:xfrm>
                <a:off x="2998709" y="3485653"/>
                <a:ext cx="34879" cy="101730"/>
              </a:xfrm>
              <a:custGeom>
                <a:avLst/>
                <a:gdLst>
                  <a:gd name="T0" fmla="*/ 13 w 48"/>
                  <a:gd name="T1" fmla="*/ 112 h 140"/>
                  <a:gd name="T2" fmla="*/ 39 w 48"/>
                  <a:gd name="T3" fmla="*/ 47 h 140"/>
                  <a:gd name="T4" fmla="*/ 48 w 48"/>
                  <a:gd name="T5" fmla="*/ 0 h 140"/>
                  <a:gd name="T6" fmla="*/ 42 w 48"/>
                  <a:gd name="T7" fmla="*/ 56 h 140"/>
                  <a:gd name="T8" fmla="*/ 42 w 48"/>
                  <a:gd name="T9" fmla="*/ 56 h 140"/>
                  <a:gd name="T10" fmla="*/ 34 w 48"/>
                  <a:gd name="T11" fmla="*/ 81 h 140"/>
                  <a:gd name="T12" fmla="*/ 23 w 48"/>
                  <a:gd name="T13" fmla="*/ 103 h 140"/>
                  <a:gd name="T14" fmla="*/ 13 w 48"/>
                  <a:gd name="T15" fmla="*/ 123 h 140"/>
                  <a:gd name="T16" fmla="*/ 0 w 48"/>
                  <a:gd name="T17" fmla="*/ 140 h 140"/>
                  <a:gd name="T18" fmla="*/ 13 w 48"/>
                  <a:gd name="T19" fmla="*/ 112 h 140"/>
                  <a:gd name="T20" fmla="*/ 13 w 48"/>
                  <a:gd name="T21" fmla="*/ 112 h 140"/>
                  <a:gd name="T22" fmla="*/ 13 w 48"/>
                  <a:gd name="T23"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40">
                    <a:moveTo>
                      <a:pt x="13" y="112"/>
                    </a:moveTo>
                    <a:lnTo>
                      <a:pt x="39" y="47"/>
                    </a:lnTo>
                    <a:lnTo>
                      <a:pt x="48" y="0"/>
                    </a:lnTo>
                    <a:lnTo>
                      <a:pt x="42" y="56"/>
                    </a:lnTo>
                    <a:lnTo>
                      <a:pt x="42" y="56"/>
                    </a:lnTo>
                    <a:lnTo>
                      <a:pt x="34" y="81"/>
                    </a:lnTo>
                    <a:lnTo>
                      <a:pt x="23" y="103"/>
                    </a:lnTo>
                    <a:lnTo>
                      <a:pt x="13" y="123"/>
                    </a:lnTo>
                    <a:lnTo>
                      <a:pt x="0" y="140"/>
                    </a:lnTo>
                    <a:lnTo>
                      <a:pt x="13" y="112"/>
                    </a:lnTo>
                    <a:lnTo>
                      <a:pt x="13" y="112"/>
                    </a:lnTo>
                    <a:lnTo>
                      <a:pt x="13" y="112"/>
                    </a:lnTo>
                    <a:close/>
                  </a:path>
                </a:pathLst>
              </a:custGeom>
              <a:solidFill>
                <a:srgbClr val="C9CD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20"/>
              <p:cNvSpPr>
                <a:spLocks noEditPoints="1"/>
              </p:cNvSpPr>
              <p:nvPr/>
            </p:nvSpPr>
            <p:spPr bwMode="auto">
              <a:xfrm>
                <a:off x="2987809" y="3529251"/>
                <a:ext cx="78477" cy="108996"/>
              </a:xfrm>
              <a:custGeom>
                <a:avLst/>
                <a:gdLst>
                  <a:gd name="T0" fmla="*/ 61 w 108"/>
                  <a:gd name="T1" fmla="*/ 0 h 150"/>
                  <a:gd name="T2" fmla="*/ 61 w 108"/>
                  <a:gd name="T3" fmla="*/ 0 h 150"/>
                  <a:gd name="T4" fmla="*/ 61 w 108"/>
                  <a:gd name="T5" fmla="*/ 0 h 150"/>
                  <a:gd name="T6" fmla="*/ 52 w 108"/>
                  <a:gd name="T7" fmla="*/ 29 h 150"/>
                  <a:gd name="T8" fmla="*/ 42 w 108"/>
                  <a:gd name="T9" fmla="*/ 56 h 150"/>
                  <a:gd name="T10" fmla="*/ 31 w 108"/>
                  <a:gd name="T11" fmla="*/ 80 h 150"/>
                  <a:gd name="T12" fmla="*/ 21 w 108"/>
                  <a:gd name="T13" fmla="*/ 103 h 150"/>
                  <a:gd name="T14" fmla="*/ 15 w 108"/>
                  <a:gd name="T15" fmla="*/ 113 h 150"/>
                  <a:gd name="T16" fmla="*/ 0 w 108"/>
                  <a:gd name="T17" fmla="*/ 150 h 150"/>
                  <a:gd name="T18" fmla="*/ 17 w 108"/>
                  <a:gd name="T19" fmla="*/ 141 h 150"/>
                  <a:gd name="T20" fmla="*/ 108 w 108"/>
                  <a:gd name="T21" fmla="*/ 28 h 150"/>
                  <a:gd name="T22" fmla="*/ 70 w 108"/>
                  <a:gd name="T23" fmla="*/ 1 h 150"/>
                  <a:gd name="T24" fmla="*/ 61 w 108"/>
                  <a:gd name="T25" fmla="*/ 0 h 150"/>
                  <a:gd name="T26" fmla="*/ 61 w 108"/>
                  <a:gd name="T27" fmla="*/ 0 h 150"/>
                  <a:gd name="T28" fmla="*/ 68 w 108"/>
                  <a:gd name="T29" fmla="*/ 10 h 150"/>
                  <a:gd name="T30" fmla="*/ 68 w 108"/>
                  <a:gd name="T31" fmla="*/ 10 h 150"/>
                  <a:gd name="T32" fmla="*/ 98 w 108"/>
                  <a:gd name="T33" fmla="*/ 29 h 150"/>
                  <a:gd name="T34" fmla="*/ 17 w 108"/>
                  <a:gd name="T35" fmla="*/ 134 h 150"/>
                  <a:gd name="T36" fmla="*/ 82 w 108"/>
                  <a:gd name="T37" fmla="*/ 31 h 150"/>
                  <a:gd name="T38" fmla="*/ 68 w 108"/>
                  <a:gd name="T39" fmla="*/ 10 h 150"/>
                  <a:gd name="T40" fmla="*/ 68 w 108"/>
                  <a:gd name="T41"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50">
                    <a:moveTo>
                      <a:pt x="61" y="0"/>
                    </a:moveTo>
                    <a:lnTo>
                      <a:pt x="61" y="0"/>
                    </a:lnTo>
                    <a:lnTo>
                      <a:pt x="61" y="0"/>
                    </a:lnTo>
                    <a:lnTo>
                      <a:pt x="52" y="29"/>
                    </a:lnTo>
                    <a:lnTo>
                      <a:pt x="42" y="56"/>
                    </a:lnTo>
                    <a:lnTo>
                      <a:pt x="31" y="80"/>
                    </a:lnTo>
                    <a:lnTo>
                      <a:pt x="21" y="103"/>
                    </a:lnTo>
                    <a:lnTo>
                      <a:pt x="15" y="113"/>
                    </a:lnTo>
                    <a:lnTo>
                      <a:pt x="0" y="150"/>
                    </a:lnTo>
                    <a:lnTo>
                      <a:pt x="17" y="141"/>
                    </a:lnTo>
                    <a:lnTo>
                      <a:pt x="108" y="28"/>
                    </a:lnTo>
                    <a:lnTo>
                      <a:pt x="70" y="1"/>
                    </a:lnTo>
                    <a:lnTo>
                      <a:pt x="61" y="0"/>
                    </a:lnTo>
                    <a:lnTo>
                      <a:pt x="61" y="0"/>
                    </a:lnTo>
                    <a:close/>
                    <a:moveTo>
                      <a:pt x="68" y="10"/>
                    </a:moveTo>
                    <a:lnTo>
                      <a:pt x="68" y="10"/>
                    </a:lnTo>
                    <a:lnTo>
                      <a:pt x="98" y="29"/>
                    </a:lnTo>
                    <a:lnTo>
                      <a:pt x="17" y="134"/>
                    </a:lnTo>
                    <a:lnTo>
                      <a:pt x="82" y="31"/>
                    </a:lnTo>
                    <a:lnTo>
                      <a:pt x="68" y="10"/>
                    </a:lnTo>
                    <a:lnTo>
                      <a:pt x="68" y="10"/>
                    </a:lnTo>
                    <a:close/>
                  </a:path>
                </a:pathLst>
              </a:custGeom>
              <a:solidFill>
                <a:srgbClr val="0D65A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21"/>
              <p:cNvSpPr>
                <a:spLocks/>
              </p:cNvSpPr>
              <p:nvPr/>
            </p:nvSpPr>
            <p:spPr bwMode="auto">
              <a:xfrm>
                <a:off x="3000162" y="3536518"/>
                <a:ext cx="58858" cy="90104"/>
              </a:xfrm>
              <a:custGeom>
                <a:avLst/>
                <a:gdLst>
                  <a:gd name="T0" fmla="*/ 65 w 81"/>
                  <a:gd name="T1" fmla="*/ 21 h 124"/>
                  <a:gd name="T2" fmla="*/ 51 w 81"/>
                  <a:gd name="T3" fmla="*/ 0 h 124"/>
                  <a:gd name="T4" fmla="*/ 81 w 81"/>
                  <a:gd name="T5" fmla="*/ 19 h 124"/>
                  <a:gd name="T6" fmla="*/ 0 w 81"/>
                  <a:gd name="T7" fmla="*/ 124 h 124"/>
                  <a:gd name="T8" fmla="*/ 65 w 81"/>
                  <a:gd name="T9" fmla="*/ 21 h 124"/>
                  <a:gd name="T10" fmla="*/ 65 w 81"/>
                  <a:gd name="T11" fmla="*/ 21 h 124"/>
                  <a:gd name="T12" fmla="*/ 65 w 81"/>
                  <a:gd name="T13" fmla="*/ 21 h 124"/>
                </a:gdLst>
                <a:ahLst/>
                <a:cxnLst>
                  <a:cxn ang="0">
                    <a:pos x="T0" y="T1"/>
                  </a:cxn>
                  <a:cxn ang="0">
                    <a:pos x="T2" y="T3"/>
                  </a:cxn>
                  <a:cxn ang="0">
                    <a:pos x="T4" y="T5"/>
                  </a:cxn>
                  <a:cxn ang="0">
                    <a:pos x="T6" y="T7"/>
                  </a:cxn>
                  <a:cxn ang="0">
                    <a:pos x="T8" y="T9"/>
                  </a:cxn>
                  <a:cxn ang="0">
                    <a:pos x="T10" y="T11"/>
                  </a:cxn>
                  <a:cxn ang="0">
                    <a:pos x="T12" y="T13"/>
                  </a:cxn>
                </a:cxnLst>
                <a:rect l="0" t="0" r="r" b="b"/>
                <a:pathLst>
                  <a:path w="81" h="124">
                    <a:moveTo>
                      <a:pt x="65" y="21"/>
                    </a:moveTo>
                    <a:lnTo>
                      <a:pt x="51" y="0"/>
                    </a:lnTo>
                    <a:lnTo>
                      <a:pt x="81" y="19"/>
                    </a:lnTo>
                    <a:lnTo>
                      <a:pt x="0" y="124"/>
                    </a:lnTo>
                    <a:lnTo>
                      <a:pt x="65" y="21"/>
                    </a:lnTo>
                    <a:lnTo>
                      <a:pt x="65" y="21"/>
                    </a:lnTo>
                    <a:lnTo>
                      <a:pt x="65" y="21"/>
                    </a:lnTo>
                    <a:close/>
                  </a:path>
                </a:pathLst>
              </a:custGeom>
              <a:solidFill>
                <a:schemeClr val="accent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4" name="Freeform 322"/>
              <p:cNvSpPr>
                <a:spLocks noEditPoints="1"/>
              </p:cNvSpPr>
              <p:nvPr/>
            </p:nvSpPr>
            <p:spPr bwMode="auto">
              <a:xfrm>
                <a:off x="2984903" y="3516172"/>
                <a:ext cx="133702" cy="323356"/>
              </a:xfrm>
              <a:custGeom>
                <a:avLst/>
                <a:gdLst>
                  <a:gd name="T0" fmla="*/ 126 w 184"/>
                  <a:gd name="T1" fmla="*/ 47 h 445"/>
                  <a:gd name="T2" fmla="*/ 11 w 184"/>
                  <a:gd name="T3" fmla="*/ 175 h 445"/>
                  <a:gd name="T4" fmla="*/ 5 w 184"/>
                  <a:gd name="T5" fmla="*/ 196 h 445"/>
                  <a:gd name="T6" fmla="*/ 0 w 184"/>
                  <a:gd name="T7" fmla="*/ 233 h 445"/>
                  <a:gd name="T8" fmla="*/ 0 w 184"/>
                  <a:gd name="T9" fmla="*/ 270 h 445"/>
                  <a:gd name="T10" fmla="*/ 5 w 184"/>
                  <a:gd name="T11" fmla="*/ 305 h 445"/>
                  <a:gd name="T12" fmla="*/ 11 w 184"/>
                  <a:gd name="T13" fmla="*/ 320 h 445"/>
                  <a:gd name="T14" fmla="*/ 32 w 184"/>
                  <a:gd name="T15" fmla="*/ 338 h 445"/>
                  <a:gd name="T16" fmla="*/ 58 w 184"/>
                  <a:gd name="T17" fmla="*/ 350 h 445"/>
                  <a:gd name="T18" fmla="*/ 89 w 184"/>
                  <a:gd name="T19" fmla="*/ 357 h 445"/>
                  <a:gd name="T20" fmla="*/ 123 w 184"/>
                  <a:gd name="T21" fmla="*/ 361 h 445"/>
                  <a:gd name="T22" fmla="*/ 110 w 184"/>
                  <a:gd name="T23" fmla="*/ 219 h 445"/>
                  <a:gd name="T24" fmla="*/ 114 w 184"/>
                  <a:gd name="T25" fmla="*/ 203 h 445"/>
                  <a:gd name="T26" fmla="*/ 117 w 184"/>
                  <a:gd name="T27" fmla="*/ 170 h 445"/>
                  <a:gd name="T28" fmla="*/ 149 w 184"/>
                  <a:gd name="T29" fmla="*/ 63 h 445"/>
                  <a:gd name="T30" fmla="*/ 149 w 184"/>
                  <a:gd name="T31" fmla="*/ 245 h 445"/>
                  <a:gd name="T32" fmla="*/ 138 w 184"/>
                  <a:gd name="T33" fmla="*/ 413 h 445"/>
                  <a:gd name="T34" fmla="*/ 184 w 184"/>
                  <a:gd name="T35" fmla="*/ 261 h 445"/>
                  <a:gd name="T36" fmla="*/ 173 w 184"/>
                  <a:gd name="T37" fmla="*/ 131 h 445"/>
                  <a:gd name="T38" fmla="*/ 172 w 184"/>
                  <a:gd name="T39" fmla="*/ 68 h 445"/>
                  <a:gd name="T40" fmla="*/ 161 w 184"/>
                  <a:gd name="T41" fmla="*/ 28 h 445"/>
                  <a:gd name="T42" fmla="*/ 152 w 184"/>
                  <a:gd name="T43" fmla="*/ 19 h 445"/>
                  <a:gd name="T44" fmla="*/ 126 w 184"/>
                  <a:gd name="T45" fmla="*/ 5 h 445"/>
                  <a:gd name="T46" fmla="*/ 133 w 184"/>
                  <a:gd name="T47" fmla="*/ 33 h 445"/>
                  <a:gd name="T48" fmla="*/ 126 w 184"/>
                  <a:gd name="T49" fmla="*/ 47 h 445"/>
                  <a:gd name="T50" fmla="*/ 116 w 184"/>
                  <a:gd name="T51" fmla="*/ 137 h 445"/>
                  <a:gd name="T52" fmla="*/ 116 w 184"/>
                  <a:gd name="T53" fmla="*/ 137 h 445"/>
                  <a:gd name="T54" fmla="*/ 109 w 184"/>
                  <a:gd name="T55" fmla="*/ 203 h 445"/>
                  <a:gd name="T56" fmla="*/ 107 w 184"/>
                  <a:gd name="T57" fmla="*/ 217 h 445"/>
                  <a:gd name="T58" fmla="*/ 119 w 184"/>
                  <a:gd name="T59" fmla="*/ 355 h 445"/>
                  <a:gd name="T60" fmla="*/ 110 w 184"/>
                  <a:gd name="T61" fmla="*/ 355 h 445"/>
                  <a:gd name="T62" fmla="*/ 98 w 184"/>
                  <a:gd name="T63" fmla="*/ 219 h 445"/>
                  <a:gd name="T64" fmla="*/ 105 w 184"/>
                  <a:gd name="T65" fmla="*/ 175 h 445"/>
                  <a:gd name="T66" fmla="*/ 107 w 184"/>
                  <a:gd name="T67" fmla="*/ 133 h 445"/>
                  <a:gd name="T68" fmla="*/ 116 w 184"/>
                  <a:gd name="T69" fmla="*/ 135 h 445"/>
                  <a:gd name="T70" fmla="*/ 116 w 184"/>
                  <a:gd name="T71" fmla="*/ 137 h 445"/>
                  <a:gd name="T72" fmla="*/ 151 w 184"/>
                  <a:gd name="T73" fmla="*/ 25 h 445"/>
                  <a:gd name="T74" fmla="*/ 158 w 184"/>
                  <a:gd name="T75" fmla="*/ 30 h 445"/>
                  <a:gd name="T76" fmla="*/ 165 w 184"/>
                  <a:gd name="T77" fmla="*/ 47 h 445"/>
                  <a:gd name="T78" fmla="*/ 170 w 184"/>
                  <a:gd name="T79" fmla="*/ 98 h 445"/>
                  <a:gd name="T80" fmla="*/ 180 w 184"/>
                  <a:gd name="T81" fmla="*/ 261 h 445"/>
                  <a:gd name="T82" fmla="*/ 170 w 184"/>
                  <a:gd name="T83" fmla="*/ 431 h 445"/>
                  <a:gd name="T84" fmla="*/ 163 w 184"/>
                  <a:gd name="T85" fmla="*/ 135 h 445"/>
                  <a:gd name="T86" fmla="*/ 165 w 184"/>
                  <a:gd name="T87" fmla="*/ 103 h 445"/>
                  <a:gd name="T88" fmla="*/ 158 w 184"/>
                  <a:gd name="T89" fmla="*/ 47 h 445"/>
                  <a:gd name="T90" fmla="*/ 151 w 184"/>
                  <a:gd name="T91" fmla="*/ 2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 h="445">
                    <a:moveTo>
                      <a:pt x="126" y="47"/>
                    </a:moveTo>
                    <a:lnTo>
                      <a:pt x="126" y="47"/>
                    </a:lnTo>
                    <a:lnTo>
                      <a:pt x="33" y="159"/>
                    </a:lnTo>
                    <a:lnTo>
                      <a:pt x="11" y="175"/>
                    </a:lnTo>
                    <a:lnTo>
                      <a:pt x="11" y="175"/>
                    </a:lnTo>
                    <a:lnTo>
                      <a:pt x="5" y="196"/>
                    </a:lnTo>
                    <a:lnTo>
                      <a:pt x="2" y="214"/>
                    </a:lnTo>
                    <a:lnTo>
                      <a:pt x="0" y="233"/>
                    </a:lnTo>
                    <a:lnTo>
                      <a:pt x="0" y="252"/>
                    </a:lnTo>
                    <a:lnTo>
                      <a:pt x="0" y="270"/>
                    </a:lnTo>
                    <a:lnTo>
                      <a:pt x="2" y="287"/>
                    </a:lnTo>
                    <a:lnTo>
                      <a:pt x="5" y="305"/>
                    </a:lnTo>
                    <a:lnTo>
                      <a:pt x="11" y="320"/>
                    </a:lnTo>
                    <a:lnTo>
                      <a:pt x="11" y="320"/>
                    </a:lnTo>
                    <a:lnTo>
                      <a:pt x="21" y="329"/>
                    </a:lnTo>
                    <a:lnTo>
                      <a:pt x="32" y="338"/>
                    </a:lnTo>
                    <a:lnTo>
                      <a:pt x="46" y="345"/>
                    </a:lnTo>
                    <a:lnTo>
                      <a:pt x="58" y="350"/>
                    </a:lnTo>
                    <a:lnTo>
                      <a:pt x="74" y="354"/>
                    </a:lnTo>
                    <a:lnTo>
                      <a:pt x="89" y="357"/>
                    </a:lnTo>
                    <a:lnTo>
                      <a:pt x="105" y="359"/>
                    </a:lnTo>
                    <a:lnTo>
                      <a:pt x="123" y="361"/>
                    </a:lnTo>
                    <a:lnTo>
                      <a:pt x="119" y="310"/>
                    </a:lnTo>
                    <a:lnTo>
                      <a:pt x="110" y="219"/>
                    </a:lnTo>
                    <a:lnTo>
                      <a:pt x="110" y="219"/>
                    </a:lnTo>
                    <a:lnTo>
                      <a:pt x="114" y="203"/>
                    </a:lnTo>
                    <a:lnTo>
                      <a:pt x="114" y="203"/>
                    </a:lnTo>
                    <a:lnTo>
                      <a:pt x="117" y="170"/>
                    </a:lnTo>
                    <a:lnTo>
                      <a:pt x="119" y="137"/>
                    </a:lnTo>
                    <a:lnTo>
                      <a:pt x="149" y="63"/>
                    </a:lnTo>
                    <a:lnTo>
                      <a:pt x="137" y="147"/>
                    </a:lnTo>
                    <a:lnTo>
                      <a:pt x="149" y="245"/>
                    </a:lnTo>
                    <a:lnTo>
                      <a:pt x="138" y="327"/>
                    </a:lnTo>
                    <a:lnTo>
                      <a:pt x="138" y="413"/>
                    </a:lnTo>
                    <a:lnTo>
                      <a:pt x="184" y="445"/>
                    </a:lnTo>
                    <a:lnTo>
                      <a:pt x="184" y="261"/>
                    </a:lnTo>
                    <a:lnTo>
                      <a:pt x="173" y="131"/>
                    </a:lnTo>
                    <a:lnTo>
                      <a:pt x="173" y="131"/>
                    </a:lnTo>
                    <a:lnTo>
                      <a:pt x="173" y="98"/>
                    </a:lnTo>
                    <a:lnTo>
                      <a:pt x="172" y="68"/>
                    </a:lnTo>
                    <a:lnTo>
                      <a:pt x="168" y="46"/>
                    </a:lnTo>
                    <a:lnTo>
                      <a:pt x="161" y="28"/>
                    </a:lnTo>
                    <a:lnTo>
                      <a:pt x="161" y="28"/>
                    </a:lnTo>
                    <a:lnTo>
                      <a:pt x="152" y="19"/>
                    </a:lnTo>
                    <a:lnTo>
                      <a:pt x="140" y="12"/>
                    </a:lnTo>
                    <a:lnTo>
                      <a:pt x="126" y="5"/>
                    </a:lnTo>
                    <a:lnTo>
                      <a:pt x="112" y="0"/>
                    </a:lnTo>
                    <a:lnTo>
                      <a:pt x="133" y="33"/>
                    </a:lnTo>
                    <a:lnTo>
                      <a:pt x="110" y="33"/>
                    </a:lnTo>
                    <a:lnTo>
                      <a:pt x="126" y="47"/>
                    </a:lnTo>
                    <a:lnTo>
                      <a:pt x="126" y="47"/>
                    </a:lnTo>
                    <a:close/>
                    <a:moveTo>
                      <a:pt x="116" y="137"/>
                    </a:moveTo>
                    <a:lnTo>
                      <a:pt x="116" y="137"/>
                    </a:lnTo>
                    <a:lnTo>
                      <a:pt x="116" y="137"/>
                    </a:lnTo>
                    <a:lnTo>
                      <a:pt x="114" y="170"/>
                    </a:lnTo>
                    <a:lnTo>
                      <a:pt x="109" y="203"/>
                    </a:lnTo>
                    <a:lnTo>
                      <a:pt x="109" y="203"/>
                    </a:lnTo>
                    <a:lnTo>
                      <a:pt x="107" y="217"/>
                    </a:lnTo>
                    <a:lnTo>
                      <a:pt x="107" y="219"/>
                    </a:lnTo>
                    <a:lnTo>
                      <a:pt x="119" y="355"/>
                    </a:lnTo>
                    <a:lnTo>
                      <a:pt x="119" y="355"/>
                    </a:lnTo>
                    <a:lnTo>
                      <a:pt x="110" y="355"/>
                    </a:lnTo>
                    <a:lnTo>
                      <a:pt x="98" y="219"/>
                    </a:lnTo>
                    <a:lnTo>
                      <a:pt x="98" y="219"/>
                    </a:lnTo>
                    <a:lnTo>
                      <a:pt x="102" y="198"/>
                    </a:lnTo>
                    <a:lnTo>
                      <a:pt x="105" y="175"/>
                    </a:lnTo>
                    <a:lnTo>
                      <a:pt x="107" y="154"/>
                    </a:lnTo>
                    <a:lnTo>
                      <a:pt x="107" y="133"/>
                    </a:lnTo>
                    <a:lnTo>
                      <a:pt x="145" y="61"/>
                    </a:lnTo>
                    <a:lnTo>
                      <a:pt x="116" y="135"/>
                    </a:lnTo>
                    <a:lnTo>
                      <a:pt x="116" y="137"/>
                    </a:lnTo>
                    <a:lnTo>
                      <a:pt x="116" y="137"/>
                    </a:lnTo>
                    <a:close/>
                    <a:moveTo>
                      <a:pt x="151" y="25"/>
                    </a:moveTo>
                    <a:lnTo>
                      <a:pt x="151" y="25"/>
                    </a:lnTo>
                    <a:lnTo>
                      <a:pt x="151" y="25"/>
                    </a:lnTo>
                    <a:lnTo>
                      <a:pt x="158" y="30"/>
                    </a:lnTo>
                    <a:lnTo>
                      <a:pt x="158" y="30"/>
                    </a:lnTo>
                    <a:lnTo>
                      <a:pt x="165" y="47"/>
                    </a:lnTo>
                    <a:lnTo>
                      <a:pt x="168" y="70"/>
                    </a:lnTo>
                    <a:lnTo>
                      <a:pt x="170" y="98"/>
                    </a:lnTo>
                    <a:lnTo>
                      <a:pt x="170" y="131"/>
                    </a:lnTo>
                    <a:lnTo>
                      <a:pt x="180" y="261"/>
                    </a:lnTo>
                    <a:lnTo>
                      <a:pt x="180" y="438"/>
                    </a:lnTo>
                    <a:lnTo>
                      <a:pt x="170" y="431"/>
                    </a:lnTo>
                    <a:lnTo>
                      <a:pt x="172" y="261"/>
                    </a:lnTo>
                    <a:lnTo>
                      <a:pt x="163" y="135"/>
                    </a:lnTo>
                    <a:lnTo>
                      <a:pt x="163" y="135"/>
                    </a:lnTo>
                    <a:lnTo>
                      <a:pt x="165" y="103"/>
                    </a:lnTo>
                    <a:lnTo>
                      <a:pt x="163" y="74"/>
                    </a:lnTo>
                    <a:lnTo>
                      <a:pt x="158" y="47"/>
                    </a:lnTo>
                    <a:lnTo>
                      <a:pt x="151" y="25"/>
                    </a:lnTo>
                    <a:lnTo>
                      <a:pt x="151" y="25"/>
                    </a:lnTo>
                    <a:close/>
                  </a:path>
                </a:pathLst>
              </a:custGeom>
              <a:solidFill>
                <a:srgbClr val="0D65A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23"/>
              <p:cNvSpPr>
                <a:spLocks/>
              </p:cNvSpPr>
              <p:nvPr/>
            </p:nvSpPr>
            <p:spPr bwMode="auto">
              <a:xfrm>
                <a:off x="3056114" y="3560497"/>
                <a:ext cx="34152" cy="213633"/>
              </a:xfrm>
              <a:custGeom>
                <a:avLst/>
                <a:gdLst>
                  <a:gd name="T0" fmla="*/ 18 w 47"/>
                  <a:gd name="T1" fmla="*/ 74 h 294"/>
                  <a:gd name="T2" fmla="*/ 18 w 47"/>
                  <a:gd name="T3" fmla="*/ 76 h 294"/>
                  <a:gd name="T4" fmla="*/ 18 w 47"/>
                  <a:gd name="T5" fmla="*/ 76 h 294"/>
                  <a:gd name="T6" fmla="*/ 16 w 47"/>
                  <a:gd name="T7" fmla="*/ 109 h 294"/>
                  <a:gd name="T8" fmla="*/ 11 w 47"/>
                  <a:gd name="T9" fmla="*/ 142 h 294"/>
                  <a:gd name="T10" fmla="*/ 11 w 47"/>
                  <a:gd name="T11" fmla="*/ 142 h 294"/>
                  <a:gd name="T12" fmla="*/ 9 w 47"/>
                  <a:gd name="T13" fmla="*/ 156 h 294"/>
                  <a:gd name="T14" fmla="*/ 9 w 47"/>
                  <a:gd name="T15" fmla="*/ 158 h 294"/>
                  <a:gd name="T16" fmla="*/ 21 w 47"/>
                  <a:gd name="T17" fmla="*/ 294 h 294"/>
                  <a:gd name="T18" fmla="*/ 21 w 47"/>
                  <a:gd name="T19" fmla="*/ 294 h 294"/>
                  <a:gd name="T20" fmla="*/ 12 w 47"/>
                  <a:gd name="T21" fmla="*/ 294 h 294"/>
                  <a:gd name="T22" fmla="*/ 0 w 47"/>
                  <a:gd name="T23" fmla="*/ 158 h 294"/>
                  <a:gd name="T24" fmla="*/ 0 w 47"/>
                  <a:gd name="T25" fmla="*/ 158 h 294"/>
                  <a:gd name="T26" fmla="*/ 4 w 47"/>
                  <a:gd name="T27" fmla="*/ 137 h 294"/>
                  <a:gd name="T28" fmla="*/ 7 w 47"/>
                  <a:gd name="T29" fmla="*/ 114 h 294"/>
                  <a:gd name="T30" fmla="*/ 9 w 47"/>
                  <a:gd name="T31" fmla="*/ 93 h 294"/>
                  <a:gd name="T32" fmla="*/ 9 w 47"/>
                  <a:gd name="T33" fmla="*/ 72 h 294"/>
                  <a:gd name="T34" fmla="*/ 47 w 47"/>
                  <a:gd name="T35" fmla="*/ 0 h 294"/>
                  <a:gd name="T36" fmla="*/ 18 w 47"/>
                  <a:gd name="T37" fmla="*/ 74 h 294"/>
                  <a:gd name="T38" fmla="*/ 18 w 47"/>
                  <a:gd name="T39" fmla="*/ 74 h 294"/>
                  <a:gd name="T40" fmla="*/ 18 w 47"/>
                  <a:gd name="T41" fmla="*/ 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294">
                    <a:moveTo>
                      <a:pt x="18" y="74"/>
                    </a:moveTo>
                    <a:lnTo>
                      <a:pt x="18" y="76"/>
                    </a:lnTo>
                    <a:lnTo>
                      <a:pt x="18" y="76"/>
                    </a:lnTo>
                    <a:lnTo>
                      <a:pt x="16" y="109"/>
                    </a:lnTo>
                    <a:lnTo>
                      <a:pt x="11" y="142"/>
                    </a:lnTo>
                    <a:lnTo>
                      <a:pt x="11" y="142"/>
                    </a:lnTo>
                    <a:lnTo>
                      <a:pt x="9" y="156"/>
                    </a:lnTo>
                    <a:lnTo>
                      <a:pt x="9" y="158"/>
                    </a:lnTo>
                    <a:lnTo>
                      <a:pt x="21" y="294"/>
                    </a:lnTo>
                    <a:lnTo>
                      <a:pt x="21" y="294"/>
                    </a:lnTo>
                    <a:lnTo>
                      <a:pt x="12" y="294"/>
                    </a:lnTo>
                    <a:lnTo>
                      <a:pt x="0" y="158"/>
                    </a:lnTo>
                    <a:lnTo>
                      <a:pt x="0" y="158"/>
                    </a:lnTo>
                    <a:lnTo>
                      <a:pt x="4" y="137"/>
                    </a:lnTo>
                    <a:lnTo>
                      <a:pt x="7" y="114"/>
                    </a:lnTo>
                    <a:lnTo>
                      <a:pt x="9" y="93"/>
                    </a:lnTo>
                    <a:lnTo>
                      <a:pt x="9" y="72"/>
                    </a:lnTo>
                    <a:lnTo>
                      <a:pt x="47" y="0"/>
                    </a:lnTo>
                    <a:lnTo>
                      <a:pt x="18" y="74"/>
                    </a:lnTo>
                    <a:lnTo>
                      <a:pt x="18" y="74"/>
                    </a:lnTo>
                    <a:lnTo>
                      <a:pt x="18" y="74"/>
                    </a:lnTo>
                    <a:close/>
                  </a:path>
                </a:pathLst>
              </a:custGeom>
              <a:solidFill>
                <a:schemeClr val="accent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6" name="Freeform 324"/>
              <p:cNvSpPr>
                <a:spLocks/>
              </p:cNvSpPr>
              <p:nvPr/>
            </p:nvSpPr>
            <p:spPr bwMode="auto">
              <a:xfrm>
                <a:off x="3094626" y="3534338"/>
                <a:ext cx="21073" cy="300103"/>
              </a:xfrm>
              <a:custGeom>
                <a:avLst/>
                <a:gdLst>
                  <a:gd name="T0" fmla="*/ 12 w 29"/>
                  <a:gd name="T1" fmla="*/ 110 h 413"/>
                  <a:gd name="T2" fmla="*/ 12 w 29"/>
                  <a:gd name="T3" fmla="*/ 110 h 413"/>
                  <a:gd name="T4" fmla="*/ 14 w 29"/>
                  <a:gd name="T5" fmla="*/ 78 h 413"/>
                  <a:gd name="T6" fmla="*/ 12 w 29"/>
                  <a:gd name="T7" fmla="*/ 49 h 413"/>
                  <a:gd name="T8" fmla="*/ 7 w 29"/>
                  <a:gd name="T9" fmla="*/ 22 h 413"/>
                  <a:gd name="T10" fmla="*/ 0 w 29"/>
                  <a:gd name="T11" fmla="*/ 0 h 413"/>
                  <a:gd name="T12" fmla="*/ 0 w 29"/>
                  <a:gd name="T13" fmla="*/ 0 h 413"/>
                  <a:gd name="T14" fmla="*/ 7 w 29"/>
                  <a:gd name="T15" fmla="*/ 5 h 413"/>
                  <a:gd name="T16" fmla="*/ 7 w 29"/>
                  <a:gd name="T17" fmla="*/ 5 h 413"/>
                  <a:gd name="T18" fmla="*/ 14 w 29"/>
                  <a:gd name="T19" fmla="*/ 22 h 413"/>
                  <a:gd name="T20" fmla="*/ 17 w 29"/>
                  <a:gd name="T21" fmla="*/ 45 h 413"/>
                  <a:gd name="T22" fmla="*/ 19 w 29"/>
                  <a:gd name="T23" fmla="*/ 73 h 413"/>
                  <a:gd name="T24" fmla="*/ 19 w 29"/>
                  <a:gd name="T25" fmla="*/ 106 h 413"/>
                  <a:gd name="T26" fmla="*/ 29 w 29"/>
                  <a:gd name="T27" fmla="*/ 236 h 413"/>
                  <a:gd name="T28" fmla="*/ 29 w 29"/>
                  <a:gd name="T29" fmla="*/ 413 h 413"/>
                  <a:gd name="T30" fmla="*/ 19 w 29"/>
                  <a:gd name="T31" fmla="*/ 406 h 413"/>
                  <a:gd name="T32" fmla="*/ 21 w 29"/>
                  <a:gd name="T33" fmla="*/ 236 h 413"/>
                  <a:gd name="T34" fmla="*/ 12 w 29"/>
                  <a:gd name="T35" fmla="*/ 110 h 413"/>
                  <a:gd name="T36" fmla="*/ 12 w 29"/>
                  <a:gd name="T37" fmla="*/ 110 h 413"/>
                  <a:gd name="T38" fmla="*/ 12 w 29"/>
                  <a:gd name="T39" fmla="*/ 11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413">
                    <a:moveTo>
                      <a:pt x="12" y="110"/>
                    </a:moveTo>
                    <a:lnTo>
                      <a:pt x="12" y="110"/>
                    </a:lnTo>
                    <a:lnTo>
                      <a:pt x="14" y="78"/>
                    </a:lnTo>
                    <a:lnTo>
                      <a:pt x="12" y="49"/>
                    </a:lnTo>
                    <a:lnTo>
                      <a:pt x="7" y="22"/>
                    </a:lnTo>
                    <a:lnTo>
                      <a:pt x="0" y="0"/>
                    </a:lnTo>
                    <a:lnTo>
                      <a:pt x="0" y="0"/>
                    </a:lnTo>
                    <a:lnTo>
                      <a:pt x="7" y="5"/>
                    </a:lnTo>
                    <a:lnTo>
                      <a:pt x="7" y="5"/>
                    </a:lnTo>
                    <a:lnTo>
                      <a:pt x="14" y="22"/>
                    </a:lnTo>
                    <a:lnTo>
                      <a:pt x="17" y="45"/>
                    </a:lnTo>
                    <a:lnTo>
                      <a:pt x="19" y="73"/>
                    </a:lnTo>
                    <a:lnTo>
                      <a:pt x="19" y="106"/>
                    </a:lnTo>
                    <a:lnTo>
                      <a:pt x="29" y="236"/>
                    </a:lnTo>
                    <a:lnTo>
                      <a:pt x="29" y="413"/>
                    </a:lnTo>
                    <a:lnTo>
                      <a:pt x="19" y="406"/>
                    </a:lnTo>
                    <a:lnTo>
                      <a:pt x="21" y="236"/>
                    </a:lnTo>
                    <a:lnTo>
                      <a:pt x="12" y="110"/>
                    </a:lnTo>
                    <a:lnTo>
                      <a:pt x="12" y="110"/>
                    </a:lnTo>
                    <a:lnTo>
                      <a:pt x="12" y="110"/>
                    </a:lnTo>
                    <a:close/>
                  </a:path>
                </a:pathLst>
              </a:custGeom>
              <a:solidFill>
                <a:schemeClr val="accent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7" name="Freeform 325"/>
              <p:cNvSpPr>
                <a:spLocks/>
              </p:cNvSpPr>
              <p:nvPr/>
            </p:nvSpPr>
            <p:spPr bwMode="auto">
              <a:xfrm>
                <a:off x="2971097" y="3512539"/>
                <a:ext cx="110450" cy="273217"/>
              </a:xfrm>
              <a:custGeom>
                <a:avLst/>
                <a:gdLst>
                  <a:gd name="T0" fmla="*/ 129 w 152"/>
                  <a:gd name="T1" fmla="*/ 38 h 376"/>
                  <a:gd name="T2" fmla="*/ 145 w 152"/>
                  <a:gd name="T3" fmla="*/ 52 h 376"/>
                  <a:gd name="T4" fmla="*/ 52 w 152"/>
                  <a:gd name="T5" fmla="*/ 164 h 376"/>
                  <a:gd name="T6" fmla="*/ 30 w 152"/>
                  <a:gd name="T7" fmla="*/ 180 h 376"/>
                  <a:gd name="T8" fmla="*/ 30 w 152"/>
                  <a:gd name="T9" fmla="*/ 180 h 376"/>
                  <a:gd name="T10" fmla="*/ 24 w 152"/>
                  <a:gd name="T11" fmla="*/ 201 h 376"/>
                  <a:gd name="T12" fmla="*/ 21 w 152"/>
                  <a:gd name="T13" fmla="*/ 219 h 376"/>
                  <a:gd name="T14" fmla="*/ 19 w 152"/>
                  <a:gd name="T15" fmla="*/ 238 h 376"/>
                  <a:gd name="T16" fmla="*/ 19 w 152"/>
                  <a:gd name="T17" fmla="*/ 257 h 376"/>
                  <a:gd name="T18" fmla="*/ 19 w 152"/>
                  <a:gd name="T19" fmla="*/ 275 h 376"/>
                  <a:gd name="T20" fmla="*/ 21 w 152"/>
                  <a:gd name="T21" fmla="*/ 292 h 376"/>
                  <a:gd name="T22" fmla="*/ 24 w 152"/>
                  <a:gd name="T23" fmla="*/ 310 h 376"/>
                  <a:gd name="T24" fmla="*/ 30 w 152"/>
                  <a:gd name="T25" fmla="*/ 325 h 376"/>
                  <a:gd name="T26" fmla="*/ 30 w 152"/>
                  <a:gd name="T27" fmla="*/ 325 h 376"/>
                  <a:gd name="T28" fmla="*/ 40 w 152"/>
                  <a:gd name="T29" fmla="*/ 334 h 376"/>
                  <a:gd name="T30" fmla="*/ 51 w 152"/>
                  <a:gd name="T31" fmla="*/ 343 h 376"/>
                  <a:gd name="T32" fmla="*/ 65 w 152"/>
                  <a:gd name="T33" fmla="*/ 350 h 376"/>
                  <a:gd name="T34" fmla="*/ 77 w 152"/>
                  <a:gd name="T35" fmla="*/ 355 h 376"/>
                  <a:gd name="T36" fmla="*/ 93 w 152"/>
                  <a:gd name="T37" fmla="*/ 359 h 376"/>
                  <a:gd name="T38" fmla="*/ 108 w 152"/>
                  <a:gd name="T39" fmla="*/ 362 h 376"/>
                  <a:gd name="T40" fmla="*/ 124 w 152"/>
                  <a:gd name="T41" fmla="*/ 364 h 376"/>
                  <a:gd name="T42" fmla="*/ 142 w 152"/>
                  <a:gd name="T43" fmla="*/ 366 h 376"/>
                  <a:gd name="T44" fmla="*/ 142 w 152"/>
                  <a:gd name="T45" fmla="*/ 366 h 376"/>
                  <a:gd name="T46" fmla="*/ 131 w 152"/>
                  <a:gd name="T47" fmla="*/ 367 h 376"/>
                  <a:gd name="T48" fmla="*/ 131 w 152"/>
                  <a:gd name="T49" fmla="*/ 367 h 376"/>
                  <a:gd name="T50" fmla="*/ 108 w 152"/>
                  <a:gd name="T51" fmla="*/ 371 h 376"/>
                  <a:gd name="T52" fmla="*/ 87 w 152"/>
                  <a:gd name="T53" fmla="*/ 374 h 376"/>
                  <a:gd name="T54" fmla="*/ 70 w 152"/>
                  <a:gd name="T55" fmla="*/ 376 h 376"/>
                  <a:gd name="T56" fmla="*/ 54 w 152"/>
                  <a:gd name="T57" fmla="*/ 374 h 376"/>
                  <a:gd name="T58" fmla="*/ 40 w 152"/>
                  <a:gd name="T59" fmla="*/ 373 h 376"/>
                  <a:gd name="T60" fmla="*/ 30 w 152"/>
                  <a:gd name="T61" fmla="*/ 369 h 376"/>
                  <a:gd name="T62" fmla="*/ 21 w 152"/>
                  <a:gd name="T63" fmla="*/ 364 h 376"/>
                  <a:gd name="T64" fmla="*/ 16 w 152"/>
                  <a:gd name="T65" fmla="*/ 357 h 376"/>
                  <a:gd name="T66" fmla="*/ 16 w 152"/>
                  <a:gd name="T67" fmla="*/ 357 h 376"/>
                  <a:gd name="T68" fmla="*/ 9 w 152"/>
                  <a:gd name="T69" fmla="*/ 341 h 376"/>
                  <a:gd name="T70" fmla="*/ 3 w 152"/>
                  <a:gd name="T71" fmla="*/ 324 h 376"/>
                  <a:gd name="T72" fmla="*/ 3 w 152"/>
                  <a:gd name="T73" fmla="*/ 324 h 376"/>
                  <a:gd name="T74" fmla="*/ 0 w 152"/>
                  <a:gd name="T75" fmla="*/ 303 h 376"/>
                  <a:gd name="T76" fmla="*/ 2 w 152"/>
                  <a:gd name="T77" fmla="*/ 280 h 376"/>
                  <a:gd name="T78" fmla="*/ 2 w 152"/>
                  <a:gd name="T79" fmla="*/ 280 h 376"/>
                  <a:gd name="T80" fmla="*/ 3 w 152"/>
                  <a:gd name="T81" fmla="*/ 255 h 376"/>
                  <a:gd name="T82" fmla="*/ 9 w 152"/>
                  <a:gd name="T83" fmla="*/ 229 h 376"/>
                  <a:gd name="T84" fmla="*/ 16 w 152"/>
                  <a:gd name="T85" fmla="*/ 201 h 376"/>
                  <a:gd name="T86" fmla="*/ 23 w 152"/>
                  <a:gd name="T87" fmla="*/ 173 h 376"/>
                  <a:gd name="T88" fmla="*/ 40 w 152"/>
                  <a:gd name="T89" fmla="*/ 164 h 376"/>
                  <a:gd name="T90" fmla="*/ 131 w 152"/>
                  <a:gd name="T91" fmla="*/ 51 h 376"/>
                  <a:gd name="T92" fmla="*/ 93 w 152"/>
                  <a:gd name="T93" fmla="*/ 24 h 376"/>
                  <a:gd name="T94" fmla="*/ 136 w 152"/>
                  <a:gd name="T95" fmla="*/ 28 h 376"/>
                  <a:gd name="T96" fmla="*/ 119 w 152"/>
                  <a:gd name="T97" fmla="*/ 0 h 376"/>
                  <a:gd name="T98" fmla="*/ 119 w 152"/>
                  <a:gd name="T99" fmla="*/ 0 h 376"/>
                  <a:gd name="T100" fmla="*/ 131 w 152"/>
                  <a:gd name="T101" fmla="*/ 5 h 376"/>
                  <a:gd name="T102" fmla="*/ 152 w 152"/>
                  <a:gd name="T103" fmla="*/ 38 h 376"/>
                  <a:gd name="T104" fmla="*/ 129 w 152"/>
                  <a:gd name="T105" fmla="*/ 38 h 376"/>
                  <a:gd name="T106" fmla="*/ 129 w 152"/>
                  <a:gd name="T107" fmla="*/ 38 h 376"/>
                  <a:gd name="T108" fmla="*/ 129 w 152"/>
                  <a:gd name="T109" fmla="*/ 3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376">
                    <a:moveTo>
                      <a:pt x="129" y="38"/>
                    </a:moveTo>
                    <a:lnTo>
                      <a:pt x="145" y="52"/>
                    </a:lnTo>
                    <a:lnTo>
                      <a:pt x="52" y="164"/>
                    </a:lnTo>
                    <a:lnTo>
                      <a:pt x="30" y="180"/>
                    </a:lnTo>
                    <a:lnTo>
                      <a:pt x="30" y="180"/>
                    </a:lnTo>
                    <a:lnTo>
                      <a:pt x="24" y="201"/>
                    </a:lnTo>
                    <a:lnTo>
                      <a:pt x="21" y="219"/>
                    </a:lnTo>
                    <a:lnTo>
                      <a:pt x="19" y="238"/>
                    </a:lnTo>
                    <a:lnTo>
                      <a:pt x="19" y="257"/>
                    </a:lnTo>
                    <a:lnTo>
                      <a:pt x="19" y="275"/>
                    </a:lnTo>
                    <a:lnTo>
                      <a:pt x="21" y="292"/>
                    </a:lnTo>
                    <a:lnTo>
                      <a:pt x="24" y="310"/>
                    </a:lnTo>
                    <a:lnTo>
                      <a:pt x="30" y="325"/>
                    </a:lnTo>
                    <a:lnTo>
                      <a:pt x="30" y="325"/>
                    </a:lnTo>
                    <a:lnTo>
                      <a:pt x="40" y="334"/>
                    </a:lnTo>
                    <a:lnTo>
                      <a:pt x="51" y="343"/>
                    </a:lnTo>
                    <a:lnTo>
                      <a:pt x="65" y="350"/>
                    </a:lnTo>
                    <a:lnTo>
                      <a:pt x="77" y="355"/>
                    </a:lnTo>
                    <a:lnTo>
                      <a:pt x="93" y="359"/>
                    </a:lnTo>
                    <a:lnTo>
                      <a:pt x="108" y="362"/>
                    </a:lnTo>
                    <a:lnTo>
                      <a:pt x="124" y="364"/>
                    </a:lnTo>
                    <a:lnTo>
                      <a:pt x="142" y="366"/>
                    </a:lnTo>
                    <a:lnTo>
                      <a:pt x="142" y="366"/>
                    </a:lnTo>
                    <a:lnTo>
                      <a:pt x="131" y="367"/>
                    </a:lnTo>
                    <a:lnTo>
                      <a:pt x="131" y="367"/>
                    </a:lnTo>
                    <a:lnTo>
                      <a:pt x="108" y="371"/>
                    </a:lnTo>
                    <a:lnTo>
                      <a:pt x="87" y="374"/>
                    </a:lnTo>
                    <a:lnTo>
                      <a:pt x="70" y="376"/>
                    </a:lnTo>
                    <a:lnTo>
                      <a:pt x="54" y="374"/>
                    </a:lnTo>
                    <a:lnTo>
                      <a:pt x="40" y="373"/>
                    </a:lnTo>
                    <a:lnTo>
                      <a:pt x="30" y="369"/>
                    </a:lnTo>
                    <a:lnTo>
                      <a:pt x="21" y="364"/>
                    </a:lnTo>
                    <a:lnTo>
                      <a:pt x="16" y="357"/>
                    </a:lnTo>
                    <a:lnTo>
                      <a:pt x="16" y="357"/>
                    </a:lnTo>
                    <a:lnTo>
                      <a:pt x="9" y="341"/>
                    </a:lnTo>
                    <a:lnTo>
                      <a:pt x="3" y="324"/>
                    </a:lnTo>
                    <a:lnTo>
                      <a:pt x="3" y="324"/>
                    </a:lnTo>
                    <a:lnTo>
                      <a:pt x="0" y="303"/>
                    </a:lnTo>
                    <a:lnTo>
                      <a:pt x="2" y="280"/>
                    </a:lnTo>
                    <a:lnTo>
                      <a:pt x="2" y="280"/>
                    </a:lnTo>
                    <a:lnTo>
                      <a:pt x="3" y="255"/>
                    </a:lnTo>
                    <a:lnTo>
                      <a:pt x="9" y="229"/>
                    </a:lnTo>
                    <a:lnTo>
                      <a:pt x="16" y="201"/>
                    </a:lnTo>
                    <a:lnTo>
                      <a:pt x="23" y="173"/>
                    </a:lnTo>
                    <a:lnTo>
                      <a:pt x="40" y="164"/>
                    </a:lnTo>
                    <a:lnTo>
                      <a:pt x="131" y="51"/>
                    </a:lnTo>
                    <a:lnTo>
                      <a:pt x="93" y="24"/>
                    </a:lnTo>
                    <a:lnTo>
                      <a:pt x="136" y="28"/>
                    </a:lnTo>
                    <a:lnTo>
                      <a:pt x="119" y="0"/>
                    </a:lnTo>
                    <a:lnTo>
                      <a:pt x="119" y="0"/>
                    </a:lnTo>
                    <a:lnTo>
                      <a:pt x="131" y="5"/>
                    </a:lnTo>
                    <a:lnTo>
                      <a:pt x="152" y="38"/>
                    </a:lnTo>
                    <a:lnTo>
                      <a:pt x="129" y="38"/>
                    </a:lnTo>
                    <a:lnTo>
                      <a:pt x="129" y="38"/>
                    </a:lnTo>
                    <a:lnTo>
                      <a:pt x="129" y="38"/>
                    </a:lnTo>
                    <a:close/>
                  </a:path>
                </a:pathLst>
              </a:custGeom>
              <a:solidFill>
                <a:srgbClr val="0B538F"/>
              </a:solidFill>
              <a:ln w="9525">
                <a:solidFill>
                  <a:srgbClr val="0B538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8" name="Freeform 326"/>
              <p:cNvSpPr>
                <a:spLocks/>
              </p:cNvSpPr>
              <p:nvPr/>
            </p:nvSpPr>
            <p:spPr bwMode="auto">
              <a:xfrm>
                <a:off x="3067740" y="3561950"/>
                <a:ext cx="50865" cy="277577"/>
              </a:xfrm>
              <a:custGeom>
                <a:avLst/>
                <a:gdLst>
                  <a:gd name="T0" fmla="*/ 16 w 70"/>
                  <a:gd name="T1" fmla="*/ 186 h 382"/>
                  <a:gd name="T2" fmla="*/ 0 w 70"/>
                  <a:gd name="T3" fmla="*/ 140 h 382"/>
                  <a:gd name="T4" fmla="*/ 0 w 70"/>
                  <a:gd name="T5" fmla="*/ 140 h 382"/>
                  <a:gd name="T6" fmla="*/ 3 w 70"/>
                  <a:gd name="T7" fmla="*/ 107 h 382"/>
                  <a:gd name="T8" fmla="*/ 5 w 70"/>
                  <a:gd name="T9" fmla="*/ 74 h 382"/>
                  <a:gd name="T10" fmla="*/ 35 w 70"/>
                  <a:gd name="T11" fmla="*/ 0 h 382"/>
                  <a:gd name="T12" fmla="*/ 23 w 70"/>
                  <a:gd name="T13" fmla="*/ 84 h 382"/>
                  <a:gd name="T14" fmla="*/ 35 w 70"/>
                  <a:gd name="T15" fmla="*/ 182 h 382"/>
                  <a:gd name="T16" fmla="*/ 24 w 70"/>
                  <a:gd name="T17" fmla="*/ 264 h 382"/>
                  <a:gd name="T18" fmla="*/ 24 w 70"/>
                  <a:gd name="T19" fmla="*/ 350 h 382"/>
                  <a:gd name="T20" fmla="*/ 70 w 70"/>
                  <a:gd name="T21" fmla="*/ 382 h 382"/>
                  <a:gd name="T22" fmla="*/ 70 w 70"/>
                  <a:gd name="T23" fmla="*/ 382 h 382"/>
                  <a:gd name="T24" fmla="*/ 56 w 70"/>
                  <a:gd name="T25" fmla="*/ 378 h 382"/>
                  <a:gd name="T26" fmla="*/ 56 w 70"/>
                  <a:gd name="T27" fmla="*/ 378 h 382"/>
                  <a:gd name="T28" fmla="*/ 42 w 70"/>
                  <a:gd name="T29" fmla="*/ 376 h 382"/>
                  <a:gd name="T30" fmla="*/ 28 w 70"/>
                  <a:gd name="T31" fmla="*/ 376 h 382"/>
                  <a:gd name="T32" fmla="*/ 28 w 70"/>
                  <a:gd name="T33" fmla="*/ 376 h 382"/>
                  <a:gd name="T34" fmla="*/ 19 w 70"/>
                  <a:gd name="T35" fmla="*/ 378 h 382"/>
                  <a:gd name="T36" fmla="*/ 12 w 70"/>
                  <a:gd name="T37" fmla="*/ 380 h 382"/>
                  <a:gd name="T38" fmla="*/ 12 w 70"/>
                  <a:gd name="T39" fmla="*/ 380 h 382"/>
                  <a:gd name="T40" fmla="*/ 5 w 70"/>
                  <a:gd name="T41" fmla="*/ 382 h 382"/>
                  <a:gd name="T42" fmla="*/ 9 w 70"/>
                  <a:gd name="T43" fmla="*/ 298 h 382"/>
                  <a:gd name="T44" fmla="*/ 5 w 70"/>
                  <a:gd name="T45" fmla="*/ 247 h 382"/>
                  <a:gd name="T46" fmla="*/ 16 w 70"/>
                  <a:gd name="T47" fmla="*/ 186 h 382"/>
                  <a:gd name="T48" fmla="*/ 16 w 70"/>
                  <a:gd name="T49" fmla="*/ 186 h 382"/>
                  <a:gd name="T50" fmla="*/ 16 w 70"/>
                  <a:gd name="T51" fmla="*/ 18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382">
                    <a:moveTo>
                      <a:pt x="16" y="186"/>
                    </a:moveTo>
                    <a:lnTo>
                      <a:pt x="0" y="140"/>
                    </a:lnTo>
                    <a:lnTo>
                      <a:pt x="0" y="140"/>
                    </a:lnTo>
                    <a:lnTo>
                      <a:pt x="3" y="107"/>
                    </a:lnTo>
                    <a:lnTo>
                      <a:pt x="5" y="74"/>
                    </a:lnTo>
                    <a:lnTo>
                      <a:pt x="35" y="0"/>
                    </a:lnTo>
                    <a:lnTo>
                      <a:pt x="23" y="84"/>
                    </a:lnTo>
                    <a:lnTo>
                      <a:pt x="35" y="182"/>
                    </a:lnTo>
                    <a:lnTo>
                      <a:pt x="24" y="264"/>
                    </a:lnTo>
                    <a:lnTo>
                      <a:pt x="24" y="350"/>
                    </a:lnTo>
                    <a:lnTo>
                      <a:pt x="70" y="382"/>
                    </a:lnTo>
                    <a:lnTo>
                      <a:pt x="70" y="382"/>
                    </a:lnTo>
                    <a:lnTo>
                      <a:pt x="56" y="378"/>
                    </a:lnTo>
                    <a:lnTo>
                      <a:pt x="56" y="378"/>
                    </a:lnTo>
                    <a:lnTo>
                      <a:pt x="42" y="376"/>
                    </a:lnTo>
                    <a:lnTo>
                      <a:pt x="28" y="376"/>
                    </a:lnTo>
                    <a:lnTo>
                      <a:pt x="28" y="376"/>
                    </a:lnTo>
                    <a:lnTo>
                      <a:pt x="19" y="378"/>
                    </a:lnTo>
                    <a:lnTo>
                      <a:pt x="12" y="380"/>
                    </a:lnTo>
                    <a:lnTo>
                      <a:pt x="12" y="380"/>
                    </a:lnTo>
                    <a:lnTo>
                      <a:pt x="5" y="382"/>
                    </a:lnTo>
                    <a:lnTo>
                      <a:pt x="9" y="298"/>
                    </a:lnTo>
                    <a:lnTo>
                      <a:pt x="5" y="247"/>
                    </a:lnTo>
                    <a:lnTo>
                      <a:pt x="16" y="186"/>
                    </a:lnTo>
                    <a:lnTo>
                      <a:pt x="16" y="186"/>
                    </a:lnTo>
                    <a:lnTo>
                      <a:pt x="16" y="186"/>
                    </a:lnTo>
                    <a:close/>
                  </a:path>
                </a:pathLst>
              </a:custGeom>
              <a:solidFill>
                <a:srgbClr val="0B538F"/>
              </a:solidFill>
              <a:ln w="9525">
                <a:solidFill>
                  <a:srgbClr val="0B538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9" name="Freeform 327"/>
              <p:cNvSpPr>
                <a:spLocks/>
              </p:cNvSpPr>
              <p:nvPr/>
            </p:nvSpPr>
            <p:spPr bwMode="auto">
              <a:xfrm>
                <a:off x="3067740" y="3835168"/>
                <a:ext cx="22526" cy="66124"/>
              </a:xfrm>
              <a:custGeom>
                <a:avLst/>
                <a:gdLst>
                  <a:gd name="T0" fmla="*/ 12 w 31"/>
                  <a:gd name="T1" fmla="*/ 4 h 91"/>
                  <a:gd name="T2" fmla="*/ 12 w 31"/>
                  <a:gd name="T3" fmla="*/ 4 h 91"/>
                  <a:gd name="T4" fmla="*/ 19 w 31"/>
                  <a:gd name="T5" fmla="*/ 2 h 91"/>
                  <a:gd name="T6" fmla="*/ 28 w 31"/>
                  <a:gd name="T7" fmla="*/ 0 h 91"/>
                  <a:gd name="T8" fmla="*/ 17 w 31"/>
                  <a:gd name="T9" fmla="*/ 13 h 91"/>
                  <a:gd name="T10" fmla="*/ 12 w 31"/>
                  <a:gd name="T11" fmla="*/ 74 h 91"/>
                  <a:gd name="T12" fmla="*/ 12 w 31"/>
                  <a:gd name="T13" fmla="*/ 74 h 91"/>
                  <a:gd name="T14" fmla="*/ 16 w 31"/>
                  <a:gd name="T15" fmla="*/ 69 h 91"/>
                  <a:gd name="T16" fmla="*/ 17 w 31"/>
                  <a:gd name="T17" fmla="*/ 60 h 91"/>
                  <a:gd name="T18" fmla="*/ 19 w 31"/>
                  <a:gd name="T19" fmla="*/ 48 h 91"/>
                  <a:gd name="T20" fmla="*/ 19 w 31"/>
                  <a:gd name="T21" fmla="*/ 34 h 91"/>
                  <a:gd name="T22" fmla="*/ 31 w 31"/>
                  <a:gd name="T23" fmla="*/ 49 h 91"/>
                  <a:gd name="T24" fmla="*/ 31 w 31"/>
                  <a:gd name="T25" fmla="*/ 77 h 91"/>
                  <a:gd name="T26" fmla="*/ 2 w 31"/>
                  <a:gd name="T27" fmla="*/ 91 h 91"/>
                  <a:gd name="T28" fmla="*/ 2 w 31"/>
                  <a:gd name="T29" fmla="*/ 91 h 91"/>
                  <a:gd name="T30" fmla="*/ 0 w 31"/>
                  <a:gd name="T31" fmla="*/ 90 h 91"/>
                  <a:gd name="T32" fmla="*/ 0 w 31"/>
                  <a:gd name="T33" fmla="*/ 86 h 91"/>
                  <a:gd name="T34" fmla="*/ 5 w 31"/>
                  <a:gd name="T35" fmla="*/ 77 h 91"/>
                  <a:gd name="T36" fmla="*/ 5 w 31"/>
                  <a:gd name="T37" fmla="*/ 30 h 91"/>
                  <a:gd name="T38" fmla="*/ 12 w 31"/>
                  <a:gd name="T39" fmla="*/ 4 h 91"/>
                  <a:gd name="T40" fmla="*/ 12 w 31"/>
                  <a:gd name="T41" fmla="*/ 4 h 91"/>
                  <a:gd name="T42" fmla="*/ 12 w 31"/>
                  <a:gd name="T43"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91">
                    <a:moveTo>
                      <a:pt x="12" y="4"/>
                    </a:moveTo>
                    <a:lnTo>
                      <a:pt x="12" y="4"/>
                    </a:lnTo>
                    <a:lnTo>
                      <a:pt x="19" y="2"/>
                    </a:lnTo>
                    <a:lnTo>
                      <a:pt x="28" y="0"/>
                    </a:lnTo>
                    <a:lnTo>
                      <a:pt x="17" y="13"/>
                    </a:lnTo>
                    <a:lnTo>
                      <a:pt x="12" y="74"/>
                    </a:lnTo>
                    <a:lnTo>
                      <a:pt x="12" y="74"/>
                    </a:lnTo>
                    <a:lnTo>
                      <a:pt x="16" y="69"/>
                    </a:lnTo>
                    <a:lnTo>
                      <a:pt x="17" y="60"/>
                    </a:lnTo>
                    <a:lnTo>
                      <a:pt x="19" y="48"/>
                    </a:lnTo>
                    <a:lnTo>
                      <a:pt x="19" y="34"/>
                    </a:lnTo>
                    <a:lnTo>
                      <a:pt x="31" y="49"/>
                    </a:lnTo>
                    <a:lnTo>
                      <a:pt x="31" y="77"/>
                    </a:lnTo>
                    <a:lnTo>
                      <a:pt x="2" y="91"/>
                    </a:lnTo>
                    <a:lnTo>
                      <a:pt x="2" y="91"/>
                    </a:lnTo>
                    <a:lnTo>
                      <a:pt x="0" y="90"/>
                    </a:lnTo>
                    <a:lnTo>
                      <a:pt x="0" y="86"/>
                    </a:lnTo>
                    <a:lnTo>
                      <a:pt x="5" y="77"/>
                    </a:lnTo>
                    <a:lnTo>
                      <a:pt x="5" y="30"/>
                    </a:lnTo>
                    <a:lnTo>
                      <a:pt x="12" y="4"/>
                    </a:lnTo>
                    <a:lnTo>
                      <a:pt x="12" y="4"/>
                    </a:lnTo>
                    <a:lnTo>
                      <a:pt x="12" y="4"/>
                    </a:lnTo>
                    <a:close/>
                  </a:path>
                </a:pathLst>
              </a:custGeom>
              <a:solidFill>
                <a:srgbClr val="E2B086"/>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0" name="Freeform 328"/>
              <p:cNvSpPr>
                <a:spLocks/>
              </p:cNvSpPr>
              <p:nvPr/>
            </p:nvSpPr>
            <p:spPr bwMode="auto">
              <a:xfrm>
                <a:off x="3069193" y="3835168"/>
                <a:ext cx="44325" cy="66124"/>
              </a:xfrm>
              <a:custGeom>
                <a:avLst/>
                <a:gdLst>
                  <a:gd name="T0" fmla="*/ 15 w 61"/>
                  <a:gd name="T1" fmla="*/ 13 h 91"/>
                  <a:gd name="T2" fmla="*/ 26 w 61"/>
                  <a:gd name="T3" fmla="*/ 0 h 91"/>
                  <a:gd name="T4" fmla="*/ 26 w 61"/>
                  <a:gd name="T5" fmla="*/ 0 h 91"/>
                  <a:gd name="T6" fmla="*/ 40 w 61"/>
                  <a:gd name="T7" fmla="*/ 0 h 91"/>
                  <a:gd name="T8" fmla="*/ 54 w 61"/>
                  <a:gd name="T9" fmla="*/ 2 h 91"/>
                  <a:gd name="T10" fmla="*/ 61 w 61"/>
                  <a:gd name="T11" fmla="*/ 37 h 91"/>
                  <a:gd name="T12" fmla="*/ 35 w 61"/>
                  <a:gd name="T13" fmla="*/ 86 h 91"/>
                  <a:gd name="T14" fmla="*/ 0 w 61"/>
                  <a:gd name="T15" fmla="*/ 91 h 91"/>
                  <a:gd name="T16" fmla="*/ 29 w 61"/>
                  <a:gd name="T17" fmla="*/ 77 h 91"/>
                  <a:gd name="T18" fmla="*/ 29 w 61"/>
                  <a:gd name="T19" fmla="*/ 49 h 91"/>
                  <a:gd name="T20" fmla="*/ 17 w 61"/>
                  <a:gd name="T21" fmla="*/ 34 h 91"/>
                  <a:gd name="T22" fmla="*/ 17 w 61"/>
                  <a:gd name="T23" fmla="*/ 34 h 91"/>
                  <a:gd name="T24" fmla="*/ 17 w 61"/>
                  <a:gd name="T25" fmla="*/ 48 h 91"/>
                  <a:gd name="T26" fmla="*/ 15 w 61"/>
                  <a:gd name="T27" fmla="*/ 60 h 91"/>
                  <a:gd name="T28" fmla="*/ 14 w 61"/>
                  <a:gd name="T29" fmla="*/ 69 h 91"/>
                  <a:gd name="T30" fmla="*/ 10 w 61"/>
                  <a:gd name="T31" fmla="*/ 74 h 91"/>
                  <a:gd name="T32" fmla="*/ 15 w 61"/>
                  <a:gd name="T33" fmla="*/ 13 h 91"/>
                  <a:gd name="T34" fmla="*/ 15 w 61"/>
                  <a:gd name="T35" fmla="*/ 13 h 91"/>
                  <a:gd name="T36" fmla="*/ 15 w 61"/>
                  <a:gd name="T37"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91">
                    <a:moveTo>
                      <a:pt x="15" y="13"/>
                    </a:moveTo>
                    <a:lnTo>
                      <a:pt x="26" y="0"/>
                    </a:lnTo>
                    <a:lnTo>
                      <a:pt x="26" y="0"/>
                    </a:lnTo>
                    <a:lnTo>
                      <a:pt x="40" y="0"/>
                    </a:lnTo>
                    <a:lnTo>
                      <a:pt x="54" y="2"/>
                    </a:lnTo>
                    <a:lnTo>
                      <a:pt x="61" y="37"/>
                    </a:lnTo>
                    <a:lnTo>
                      <a:pt x="35" y="86"/>
                    </a:lnTo>
                    <a:lnTo>
                      <a:pt x="0" y="91"/>
                    </a:lnTo>
                    <a:lnTo>
                      <a:pt x="29" y="77"/>
                    </a:lnTo>
                    <a:lnTo>
                      <a:pt x="29" y="49"/>
                    </a:lnTo>
                    <a:lnTo>
                      <a:pt x="17" y="34"/>
                    </a:lnTo>
                    <a:lnTo>
                      <a:pt x="17" y="34"/>
                    </a:lnTo>
                    <a:lnTo>
                      <a:pt x="17" y="48"/>
                    </a:lnTo>
                    <a:lnTo>
                      <a:pt x="15" y="60"/>
                    </a:lnTo>
                    <a:lnTo>
                      <a:pt x="14" y="69"/>
                    </a:lnTo>
                    <a:lnTo>
                      <a:pt x="10" y="74"/>
                    </a:lnTo>
                    <a:lnTo>
                      <a:pt x="15" y="13"/>
                    </a:lnTo>
                    <a:lnTo>
                      <a:pt x="15" y="13"/>
                    </a:lnTo>
                    <a:lnTo>
                      <a:pt x="15" y="13"/>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1" name="Freeform 329"/>
              <p:cNvSpPr>
                <a:spLocks/>
              </p:cNvSpPr>
              <p:nvPr/>
            </p:nvSpPr>
            <p:spPr bwMode="auto">
              <a:xfrm>
                <a:off x="2972550" y="4040081"/>
                <a:ext cx="58131" cy="223806"/>
              </a:xfrm>
              <a:custGeom>
                <a:avLst/>
                <a:gdLst>
                  <a:gd name="T0" fmla="*/ 0 w 80"/>
                  <a:gd name="T1" fmla="*/ 0 h 308"/>
                  <a:gd name="T2" fmla="*/ 0 w 80"/>
                  <a:gd name="T3" fmla="*/ 0 h 308"/>
                  <a:gd name="T4" fmla="*/ 40 w 80"/>
                  <a:gd name="T5" fmla="*/ 7 h 308"/>
                  <a:gd name="T6" fmla="*/ 80 w 80"/>
                  <a:gd name="T7" fmla="*/ 11 h 308"/>
                  <a:gd name="T8" fmla="*/ 28 w 80"/>
                  <a:gd name="T9" fmla="*/ 28 h 308"/>
                  <a:gd name="T10" fmla="*/ 59 w 80"/>
                  <a:gd name="T11" fmla="*/ 308 h 308"/>
                  <a:gd name="T12" fmla="*/ 59 w 80"/>
                  <a:gd name="T13" fmla="*/ 308 h 308"/>
                  <a:gd name="T14" fmla="*/ 50 w 80"/>
                  <a:gd name="T15" fmla="*/ 308 h 308"/>
                  <a:gd name="T16" fmla="*/ 43 w 80"/>
                  <a:gd name="T17" fmla="*/ 306 h 308"/>
                  <a:gd name="T18" fmla="*/ 35 w 80"/>
                  <a:gd name="T19" fmla="*/ 303 h 308"/>
                  <a:gd name="T20" fmla="*/ 28 w 80"/>
                  <a:gd name="T21" fmla="*/ 298 h 308"/>
                  <a:gd name="T22" fmla="*/ 28 w 80"/>
                  <a:gd name="T23" fmla="*/ 242 h 308"/>
                  <a:gd name="T24" fmla="*/ 28 w 80"/>
                  <a:gd name="T25" fmla="*/ 208 h 308"/>
                  <a:gd name="T26" fmla="*/ 28 w 80"/>
                  <a:gd name="T27" fmla="*/ 154 h 308"/>
                  <a:gd name="T28" fmla="*/ 28 w 80"/>
                  <a:gd name="T29" fmla="*/ 154 h 308"/>
                  <a:gd name="T30" fmla="*/ 17 w 80"/>
                  <a:gd name="T31" fmla="*/ 117 h 308"/>
                  <a:gd name="T32" fmla="*/ 8 w 80"/>
                  <a:gd name="T33" fmla="*/ 81 h 308"/>
                  <a:gd name="T34" fmla="*/ 3 w 80"/>
                  <a:gd name="T35" fmla="*/ 40 h 308"/>
                  <a:gd name="T36" fmla="*/ 0 w 80"/>
                  <a:gd name="T37" fmla="*/ 0 h 308"/>
                  <a:gd name="T38" fmla="*/ 0 w 80"/>
                  <a:gd name="T39" fmla="*/ 0 h 308"/>
                  <a:gd name="T40" fmla="*/ 0 w 80"/>
                  <a:gd name="T4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308">
                    <a:moveTo>
                      <a:pt x="0" y="0"/>
                    </a:moveTo>
                    <a:lnTo>
                      <a:pt x="0" y="0"/>
                    </a:lnTo>
                    <a:lnTo>
                      <a:pt x="40" y="7"/>
                    </a:lnTo>
                    <a:lnTo>
                      <a:pt x="80" y="11"/>
                    </a:lnTo>
                    <a:lnTo>
                      <a:pt x="28" y="28"/>
                    </a:lnTo>
                    <a:lnTo>
                      <a:pt x="59" y="308"/>
                    </a:lnTo>
                    <a:lnTo>
                      <a:pt x="59" y="308"/>
                    </a:lnTo>
                    <a:lnTo>
                      <a:pt x="50" y="308"/>
                    </a:lnTo>
                    <a:lnTo>
                      <a:pt x="43" y="306"/>
                    </a:lnTo>
                    <a:lnTo>
                      <a:pt x="35" y="303"/>
                    </a:lnTo>
                    <a:lnTo>
                      <a:pt x="28" y="298"/>
                    </a:lnTo>
                    <a:lnTo>
                      <a:pt x="28" y="242"/>
                    </a:lnTo>
                    <a:lnTo>
                      <a:pt x="28" y="208"/>
                    </a:lnTo>
                    <a:lnTo>
                      <a:pt x="28" y="154"/>
                    </a:lnTo>
                    <a:lnTo>
                      <a:pt x="28" y="154"/>
                    </a:lnTo>
                    <a:lnTo>
                      <a:pt x="17" y="117"/>
                    </a:lnTo>
                    <a:lnTo>
                      <a:pt x="8" y="81"/>
                    </a:lnTo>
                    <a:lnTo>
                      <a:pt x="3" y="40"/>
                    </a:lnTo>
                    <a:lnTo>
                      <a:pt x="0" y="0"/>
                    </a:lnTo>
                    <a:lnTo>
                      <a:pt x="0" y="0"/>
                    </a:lnTo>
                    <a:lnTo>
                      <a:pt x="0" y="0"/>
                    </a:lnTo>
                    <a:close/>
                  </a:path>
                </a:pathLst>
              </a:custGeom>
              <a:solidFill>
                <a:srgbClr val="EBBC8D"/>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2" name="Freeform 330"/>
              <p:cNvSpPr>
                <a:spLocks noEditPoints="1"/>
              </p:cNvSpPr>
              <p:nvPr/>
            </p:nvSpPr>
            <p:spPr bwMode="auto">
              <a:xfrm>
                <a:off x="2992896" y="4048074"/>
                <a:ext cx="40692" cy="215813"/>
              </a:xfrm>
              <a:custGeom>
                <a:avLst/>
                <a:gdLst>
                  <a:gd name="T0" fmla="*/ 0 w 56"/>
                  <a:gd name="T1" fmla="*/ 17 h 297"/>
                  <a:gd name="T2" fmla="*/ 0 w 56"/>
                  <a:gd name="T3" fmla="*/ 17 h 297"/>
                  <a:gd name="T4" fmla="*/ 31 w 56"/>
                  <a:gd name="T5" fmla="*/ 297 h 297"/>
                  <a:gd name="T6" fmla="*/ 31 w 56"/>
                  <a:gd name="T7" fmla="*/ 297 h 297"/>
                  <a:gd name="T8" fmla="*/ 36 w 56"/>
                  <a:gd name="T9" fmla="*/ 295 h 297"/>
                  <a:gd name="T10" fmla="*/ 43 w 56"/>
                  <a:gd name="T11" fmla="*/ 292 h 297"/>
                  <a:gd name="T12" fmla="*/ 49 w 56"/>
                  <a:gd name="T13" fmla="*/ 288 h 297"/>
                  <a:gd name="T14" fmla="*/ 56 w 56"/>
                  <a:gd name="T15" fmla="*/ 283 h 297"/>
                  <a:gd name="T16" fmla="*/ 56 w 56"/>
                  <a:gd name="T17" fmla="*/ 283 h 297"/>
                  <a:gd name="T18" fmla="*/ 47 w 56"/>
                  <a:gd name="T19" fmla="*/ 255 h 297"/>
                  <a:gd name="T20" fmla="*/ 40 w 56"/>
                  <a:gd name="T21" fmla="*/ 227 h 297"/>
                  <a:gd name="T22" fmla="*/ 35 w 56"/>
                  <a:gd name="T23" fmla="*/ 199 h 297"/>
                  <a:gd name="T24" fmla="*/ 33 w 56"/>
                  <a:gd name="T25" fmla="*/ 171 h 297"/>
                  <a:gd name="T26" fmla="*/ 33 w 56"/>
                  <a:gd name="T27" fmla="*/ 171 h 297"/>
                  <a:gd name="T28" fmla="*/ 43 w 56"/>
                  <a:gd name="T29" fmla="*/ 127 h 297"/>
                  <a:gd name="T30" fmla="*/ 50 w 56"/>
                  <a:gd name="T31" fmla="*/ 85 h 297"/>
                  <a:gd name="T32" fmla="*/ 54 w 56"/>
                  <a:gd name="T33" fmla="*/ 43 h 297"/>
                  <a:gd name="T34" fmla="*/ 52 w 56"/>
                  <a:gd name="T35" fmla="*/ 0 h 297"/>
                  <a:gd name="T36" fmla="*/ 0 w 56"/>
                  <a:gd name="T37" fmla="*/ 17 h 297"/>
                  <a:gd name="T38" fmla="*/ 0 w 56"/>
                  <a:gd name="T39" fmla="*/ 17 h 297"/>
                  <a:gd name="T40" fmla="*/ 49 w 56"/>
                  <a:gd name="T41" fmla="*/ 5 h 297"/>
                  <a:gd name="T42" fmla="*/ 49 w 56"/>
                  <a:gd name="T43" fmla="*/ 5 h 297"/>
                  <a:gd name="T44" fmla="*/ 49 w 56"/>
                  <a:gd name="T45" fmla="*/ 5 h 297"/>
                  <a:gd name="T46" fmla="*/ 49 w 56"/>
                  <a:gd name="T47" fmla="*/ 47 h 297"/>
                  <a:gd name="T48" fmla="*/ 45 w 56"/>
                  <a:gd name="T49" fmla="*/ 87 h 297"/>
                  <a:gd name="T50" fmla="*/ 40 w 56"/>
                  <a:gd name="T51" fmla="*/ 129 h 297"/>
                  <a:gd name="T52" fmla="*/ 29 w 56"/>
                  <a:gd name="T53" fmla="*/ 169 h 297"/>
                  <a:gd name="T54" fmla="*/ 29 w 56"/>
                  <a:gd name="T55" fmla="*/ 171 h 297"/>
                  <a:gd name="T56" fmla="*/ 29 w 56"/>
                  <a:gd name="T57" fmla="*/ 171 h 297"/>
                  <a:gd name="T58" fmla="*/ 31 w 56"/>
                  <a:gd name="T59" fmla="*/ 199 h 297"/>
                  <a:gd name="T60" fmla="*/ 36 w 56"/>
                  <a:gd name="T61" fmla="*/ 227 h 297"/>
                  <a:gd name="T62" fmla="*/ 42 w 56"/>
                  <a:gd name="T63" fmla="*/ 255 h 297"/>
                  <a:gd name="T64" fmla="*/ 50 w 56"/>
                  <a:gd name="T65" fmla="*/ 283 h 297"/>
                  <a:gd name="T66" fmla="*/ 50 w 56"/>
                  <a:gd name="T67" fmla="*/ 283 h 297"/>
                  <a:gd name="T68" fmla="*/ 42 w 56"/>
                  <a:gd name="T69" fmla="*/ 288 h 297"/>
                  <a:gd name="T70" fmla="*/ 35 w 56"/>
                  <a:gd name="T71" fmla="*/ 292 h 297"/>
                  <a:gd name="T72" fmla="*/ 22 w 56"/>
                  <a:gd name="T73" fmla="*/ 180 h 297"/>
                  <a:gd name="T74" fmla="*/ 29 w 56"/>
                  <a:gd name="T75" fmla="*/ 145 h 297"/>
                  <a:gd name="T76" fmla="*/ 29 w 56"/>
                  <a:gd name="T77" fmla="*/ 145 h 297"/>
                  <a:gd name="T78" fmla="*/ 35 w 56"/>
                  <a:gd name="T79" fmla="*/ 112 h 297"/>
                  <a:gd name="T80" fmla="*/ 38 w 56"/>
                  <a:gd name="T81" fmla="*/ 77 h 297"/>
                  <a:gd name="T82" fmla="*/ 40 w 56"/>
                  <a:gd name="T83" fmla="*/ 42 h 297"/>
                  <a:gd name="T84" fmla="*/ 40 w 56"/>
                  <a:gd name="T85" fmla="*/ 8 h 297"/>
                  <a:gd name="T86" fmla="*/ 49 w 56"/>
                  <a:gd name="T87" fmla="*/ 5 h 297"/>
                  <a:gd name="T88" fmla="*/ 49 w 56"/>
                  <a:gd name="T89" fmla="*/ 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297">
                    <a:moveTo>
                      <a:pt x="0" y="17"/>
                    </a:moveTo>
                    <a:lnTo>
                      <a:pt x="0" y="17"/>
                    </a:lnTo>
                    <a:lnTo>
                      <a:pt x="31" y="297"/>
                    </a:lnTo>
                    <a:lnTo>
                      <a:pt x="31" y="297"/>
                    </a:lnTo>
                    <a:lnTo>
                      <a:pt x="36" y="295"/>
                    </a:lnTo>
                    <a:lnTo>
                      <a:pt x="43" y="292"/>
                    </a:lnTo>
                    <a:lnTo>
                      <a:pt x="49" y="288"/>
                    </a:lnTo>
                    <a:lnTo>
                      <a:pt x="56" y="283"/>
                    </a:lnTo>
                    <a:lnTo>
                      <a:pt x="56" y="283"/>
                    </a:lnTo>
                    <a:lnTo>
                      <a:pt x="47" y="255"/>
                    </a:lnTo>
                    <a:lnTo>
                      <a:pt x="40" y="227"/>
                    </a:lnTo>
                    <a:lnTo>
                      <a:pt x="35" y="199"/>
                    </a:lnTo>
                    <a:lnTo>
                      <a:pt x="33" y="171"/>
                    </a:lnTo>
                    <a:lnTo>
                      <a:pt x="33" y="171"/>
                    </a:lnTo>
                    <a:lnTo>
                      <a:pt x="43" y="127"/>
                    </a:lnTo>
                    <a:lnTo>
                      <a:pt x="50" y="85"/>
                    </a:lnTo>
                    <a:lnTo>
                      <a:pt x="54" y="43"/>
                    </a:lnTo>
                    <a:lnTo>
                      <a:pt x="52" y="0"/>
                    </a:lnTo>
                    <a:lnTo>
                      <a:pt x="0" y="17"/>
                    </a:lnTo>
                    <a:lnTo>
                      <a:pt x="0" y="17"/>
                    </a:lnTo>
                    <a:close/>
                    <a:moveTo>
                      <a:pt x="49" y="5"/>
                    </a:moveTo>
                    <a:lnTo>
                      <a:pt x="49" y="5"/>
                    </a:lnTo>
                    <a:lnTo>
                      <a:pt x="49" y="5"/>
                    </a:lnTo>
                    <a:lnTo>
                      <a:pt x="49" y="47"/>
                    </a:lnTo>
                    <a:lnTo>
                      <a:pt x="45" y="87"/>
                    </a:lnTo>
                    <a:lnTo>
                      <a:pt x="40" y="129"/>
                    </a:lnTo>
                    <a:lnTo>
                      <a:pt x="29" y="169"/>
                    </a:lnTo>
                    <a:lnTo>
                      <a:pt x="29" y="171"/>
                    </a:lnTo>
                    <a:lnTo>
                      <a:pt x="29" y="171"/>
                    </a:lnTo>
                    <a:lnTo>
                      <a:pt x="31" y="199"/>
                    </a:lnTo>
                    <a:lnTo>
                      <a:pt x="36" y="227"/>
                    </a:lnTo>
                    <a:lnTo>
                      <a:pt x="42" y="255"/>
                    </a:lnTo>
                    <a:lnTo>
                      <a:pt x="50" y="283"/>
                    </a:lnTo>
                    <a:lnTo>
                      <a:pt x="50" y="283"/>
                    </a:lnTo>
                    <a:lnTo>
                      <a:pt x="42" y="288"/>
                    </a:lnTo>
                    <a:lnTo>
                      <a:pt x="35" y="292"/>
                    </a:lnTo>
                    <a:lnTo>
                      <a:pt x="22" y="180"/>
                    </a:lnTo>
                    <a:lnTo>
                      <a:pt x="29" y="145"/>
                    </a:lnTo>
                    <a:lnTo>
                      <a:pt x="29" y="145"/>
                    </a:lnTo>
                    <a:lnTo>
                      <a:pt x="35" y="112"/>
                    </a:lnTo>
                    <a:lnTo>
                      <a:pt x="38" y="77"/>
                    </a:lnTo>
                    <a:lnTo>
                      <a:pt x="40" y="42"/>
                    </a:lnTo>
                    <a:lnTo>
                      <a:pt x="40" y="8"/>
                    </a:lnTo>
                    <a:lnTo>
                      <a:pt x="49" y="5"/>
                    </a:lnTo>
                    <a:lnTo>
                      <a:pt x="49" y="5"/>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3" name="Freeform 331"/>
              <p:cNvSpPr>
                <a:spLocks/>
              </p:cNvSpPr>
              <p:nvPr/>
            </p:nvSpPr>
            <p:spPr bwMode="auto">
              <a:xfrm>
                <a:off x="3008882" y="4051707"/>
                <a:ext cx="20346" cy="208546"/>
              </a:xfrm>
              <a:custGeom>
                <a:avLst/>
                <a:gdLst>
                  <a:gd name="T0" fmla="*/ 18 w 28"/>
                  <a:gd name="T1" fmla="*/ 3 h 287"/>
                  <a:gd name="T2" fmla="*/ 27 w 28"/>
                  <a:gd name="T3" fmla="*/ 0 h 287"/>
                  <a:gd name="T4" fmla="*/ 27 w 28"/>
                  <a:gd name="T5" fmla="*/ 0 h 287"/>
                  <a:gd name="T6" fmla="*/ 27 w 28"/>
                  <a:gd name="T7" fmla="*/ 42 h 287"/>
                  <a:gd name="T8" fmla="*/ 23 w 28"/>
                  <a:gd name="T9" fmla="*/ 82 h 287"/>
                  <a:gd name="T10" fmla="*/ 18 w 28"/>
                  <a:gd name="T11" fmla="*/ 124 h 287"/>
                  <a:gd name="T12" fmla="*/ 7 w 28"/>
                  <a:gd name="T13" fmla="*/ 164 h 287"/>
                  <a:gd name="T14" fmla="*/ 7 w 28"/>
                  <a:gd name="T15" fmla="*/ 166 h 287"/>
                  <a:gd name="T16" fmla="*/ 7 w 28"/>
                  <a:gd name="T17" fmla="*/ 166 h 287"/>
                  <a:gd name="T18" fmla="*/ 9 w 28"/>
                  <a:gd name="T19" fmla="*/ 194 h 287"/>
                  <a:gd name="T20" fmla="*/ 14 w 28"/>
                  <a:gd name="T21" fmla="*/ 222 h 287"/>
                  <a:gd name="T22" fmla="*/ 20 w 28"/>
                  <a:gd name="T23" fmla="*/ 250 h 287"/>
                  <a:gd name="T24" fmla="*/ 28 w 28"/>
                  <a:gd name="T25" fmla="*/ 278 h 287"/>
                  <a:gd name="T26" fmla="*/ 28 w 28"/>
                  <a:gd name="T27" fmla="*/ 278 h 287"/>
                  <a:gd name="T28" fmla="*/ 20 w 28"/>
                  <a:gd name="T29" fmla="*/ 283 h 287"/>
                  <a:gd name="T30" fmla="*/ 13 w 28"/>
                  <a:gd name="T31" fmla="*/ 287 h 287"/>
                  <a:gd name="T32" fmla="*/ 0 w 28"/>
                  <a:gd name="T33" fmla="*/ 175 h 287"/>
                  <a:gd name="T34" fmla="*/ 7 w 28"/>
                  <a:gd name="T35" fmla="*/ 140 h 287"/>
                  <a:gd name="T36" fmla="*/ 7 w 28"/>
                  <a:gd name="T37" fmla="*/ 140 h 287"/>
                  <a:gd name="T38" fmla="*/ 13 w 28"/>
                  <a:gd name="T39" fmla="*/ 107 h 287"/>
                  <a:gd name="T40" fmla="*/ 16 w 28"/>
                  <a:gd name="T41" fmla="*/ 72 h 287"/>
                  <a:gd name="T42" fmla="*/ 18 w 28"/>
                  <a:gd name="T43" fmla="*/ 37 h 287"/>
                  <a:gd name="T44" fmla="*/ 18 w 28"/>
                  <a:gd name="T45" fmla="*/ 3 h 287"/>
                  <a:gd name="T46" fmla="*/ 18 w 28"/>
                  <a:gd name="T47" fmla="*/ 3 h 287"/>
                  <a:gd name="T48" fmla="*/ 18 w 28"/>
                  <a:gd name="T4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7">
                    <a:moveTo>
                      <a:pt x="18" y="3"/>
                    </a:moveTo>
                    <a:lnTo>
                      <a:pt x="27" y="0"/>
                    </a:lnTo>
                    <a:lnTo>
                      <a:pt x="27" y="0"/>
                    </a:lnTo>
                    <a:lnTo>
                      <a:pt x="27" y="42"/>
                    </a:lnTo>
                    <a:lnTo>
                      <a:pt x="23" y="82"/>
                    </a:lnTo>
                    <a:lnTo>
                      <a:pt x="18" y="124"/>
                    </a:lnTo>
                    <a:lnTo>
                      <a:pt x="7" y="164"/>
                    </a:lnTo>
                    <a:lnTo>
                      <a:pt x="7" y="166"/>
                    </a:lnTo>
                    <a:lnTo>
                      <a:pt x="7" y="166"/>
                    </a:lnTo>
                    <a:lnTo>
                      <a:pt x="9" y="194"/>
                    </a:lnTo>
                    <a:lnTo>
                      <a:pt x="14" y="222"/>
                    </a:lnTo>
                    <a:lnTo>
                      <a:pt x="20" y="250"/>
                    </a:lnTo>
                    <a:lnTo>
                      <a:pt x="28" y="278"/>
                    </a:lnTo>
                    <a:lnTo>
                      <a:pt x="28" y="278"/>
                    </a:lnTo>
                    <a:lnTo>
                      <a:pt x="20" y="283"/>
                    </a:lnTo>
                    <a:lnTo>
                      <a:pt x="13" y="287"/>
                    </a:lnTo>
                    <a:lnTo>
                      <a:pt x="0" y="175"/>
                    </a:lnTo>
                    <a:lnTo>
                      <a:pt x="7" y="140"/>
                    </a:lnTo>
                    <a:lnTo>
                      <a:pt x="7" y="140"/>
                    </a:lnTo>
                    <a:lnTo>
                      <a:pt x="13" y="107"/>
                    </a:lnTo>
                    <a:lnTo>
                      <a:pt x="16" y="72"/>
                    </a:lnTo>
                    <a:lnTo>
                      <a:pt x="18" y="37"/>
                    </a:lnTo>
                    <a:lnTo>
                      <a:pt x="18" y="3"/>
                    </a:lnTo>
                    <a:lnTo>
                      <a:pt x="18" y="3"/>
                    </a:lnTo>
                    <a:lnTo>
                      <a:pt x="18" y="3"/>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4" name="Freeform 332"/>
              <p:cNvSpPr>
                <a:spLocks noEditPoints="1"/>
              </p:cNvSpPr>
              <p:nvPr/>
            </p:nvSpPr>
            <p:spPr bwMode="auto">
              <a:xfrm>
                <a:off x="2952931" y="4040081"/>
                <a:ext cx="39965" cy="184567"/>
              </a:xfrm>
              <a:custGeom>
                <a:avLst/>
                <a:gdLst>
                  <a:gd name="T0" fmla="*/ 55 w 55"/>
                  <a:gd name="T1" fmla="*/ 208 h 254"/>
                  <a:gd name="T2" fmla="*/ 55 w 55"/>
                  <a:gd name="T3" fmla="*/ 208 h 254"/>
                  <a:gd name="T4" fmla="*/ 55 w 55"/>
                  <a:gd name="T5" fmla="*/ 154 h 254"/>
                  <a:gd name="T6" fmla="*/ 55 w 55"/>
                  <a:gd name="T7" fmla="*/ 154 h 254"/>
                  <a:gd name="T8" fmla="*/ 44 w 55"/>
                  <a:gd name="T9" fmla="*/ 117 h 254"/>
                  <a:gd name="T10" fmla="*/ 35 w 55"/>
                  <a:gd name="T11" fmla="*/ 81 h 254"/>
                  <a:gd name="T12" fmla="*/ 30 w 55"/>
                  <a:gd name="T13" fmla="*/ 40 h 254"/>
                  <a:gd name="T14" fmla="*/ 27 w 55"/>
                  <a:gd name="T15" fmla="*/ 0 h 254"/>
                  <a:gd name="T16" fmla="*/ 0 w 55"/>
                  <a:gd name="T17" fmla="*/ 19 h 254"/>
                  <a:gd name="T18" fmla="*/ 39 w 55"/>
                  <a:gd name="T19" fmla="*/ 163 h 254"/>
                  <a:gd name="T20" fmla="*/ 25 w 55"/>
                  <a:gd name="T21" fmla="*/ 254 h 254"/>
                  <a:gd name="T22" fmla="*/ 55 w 55"/>
                  <a:gd name="T23" fmla="*/ 208 h 254"/>
                  <a:gd name="T24" fmla="*/ 55 w 55"/>
                  <a:gd name="T25" fmla="*/ 208 h 254"/>
                  <a:gd name="T26" fmla="*/ 44 w 55"/>
                  <a:gd name="T27" fmla="*/ 217 h 254"/>
                  <a:gd name="T28" fmla="*/ 44 w 55"/>
                  <a:gd name="T29" fmla="*/ 217 h 254"/>
                  <a:gd name="T30" fmla="*/ 42 w 55"/>
                  <a:gd name="T31" fmla="*/ 165 h 254"/>
                  <a:gd name="T32" fmla="*/ 42 w 55"/>
                  <a:gd name="T33" fmla="*/ 165 h 254"/>
                  <a:gd name="T34" fmla="*/ 42 w 55"/>
                  <a:gd name="T35" fmla="*/ 163 h 254"/>
                  <a:gd name="T36" fmla="*/ 27 w 55"/>
                  <a:gd name="T37" fmla="*/ 103 h 254"/>
                  <a:gd name="T38" fmla="*/ 27 w 55"/>
                  <a:gd name="T39" fmla="*/ 103 h 254"/>
                  <a:gd name="T40" fmla="*/ 20 w 55"/>
                  <a:gd name="T41" fmla="*/ 60 h 254"/>
                  <a:gd name="T42" fmla="*/ 14 w 55"/>
                  <a:gd name="T43" fmla="*/ 14 h 254"/>
                  <a:gd name="T44" fmla="*/ 23 w 55"/>
                  <a:gd name="T45" fmla="*/ 7 h 254"/>
                  <a:gd name="T46" fmla="*/ 23 w 55"/>
                  <a:gd name="T47" fmla="*/ 7 h 254"/>
                  <a:gd name="T48" fmla="*/ 27 w 55"/>
                  <a:gd name="T49" fmla="*/ 46 h 254"/>
                  <a:gd name="T50" fmla="*/ 32 w 55"/>
                  <a:gd name="T51" fmla="*/ 84 h 254"/>
                  <a:gd name="T52" fmla="*/ 41 w 55"/>
                  <a:gd name="T53" fmla="*/ 119 h 254"/>
                  <a:gd name="T54" fmla="*/ 51 w 55"/>
                  <a:gd name="T55" fmla="*/ 154 h 254"/>
                  <a:gd name="T56" fmla="*/ 51 w 55"/>
                  <a:gd name="T57" fmla="*/ 208 h 254"/>
                  <a:gd name="T58" fmla="*/ 44 w 55"/>
                  <a:gd name="T59" fmla="*/ 217 h 254"/>
                  <a:gd name="T60" fmla="*/ 44 w 55"/>
                  <a:gd name="T61" fmla="*/ 21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254">
                    <a:moveTo>
                      <a:pt x="55" y="208"/>
                    </a:moveTo>
                    <a:lnTo>
                      <a:pt x="55" y="208"/>
                    </a:lnTo>
                    <a:lnTo>
                      <a:pt x="55" y="154"/>
                    </a:lnTo>
                    <a:lnTo>
                      <a:pt x="55" y="154"/>
                    </a:lnTo>
                    <a:lnTo>
                      <a:pt x="44" y="117"/>
                    </a:lnTo>
                    <a:lnTo>
                      <a:pt x="35" y="81"/>
                    </a:lnTo>
                    <a:lnTo>
                      <a:pt x="30" y="40"/>
                    </a:lnTo>
                    <a:lnTo>
                      <a:pt x="27" y="0"/>
                    </a:lnTo>
                    <a:lnTo>
                      <a:pt x="0" y="19"/>
                    </a:lnTo>
                    <a:lnTo>
                      <a:pt x="39" y="163"/>
                    </a:lnTo>
                    <a:lnTo>
                      <a:pt x="25" y="254"/>
                    </a:lnTo>
                    <a:lnTo>
                      <a:pt x="55" y="208"/>
                    </a:lnTo>
                    <a:lnTo>
                      <a:pt x="55" y="208"/>
                    </a:lnTo>
                    <a:close/>
                    <a:moveTo>
                      <a:pt x="44" y="217"/>
                    </a:moveTo>
                    <a:lnTo>
                      <a:pt x="44" y="217"/>
                    </a:lnTo>
                    <a:lnTo>
                      <a:pt x="42" y="165"/>
                    </a:lnTo>
                    <a:lnTo>
                      <a:pt x="42" y="165"/>
                    </a:lnTo>
                    <a:lnTo>
                      <a:pt x="42" y="163"/>
                    </a:lnTo>
                    <a:lnTo>
                      <a:pt x="27" y="103"/>
                    </a:lnTo>
                    <a:lnTo>
                      <a:pt x="27" y="103"/>
                    </a:lnTo>
                    <a:lnTo>
                      <a:pt x="20" y="60"/>
                    </a:lnTo>
                    <a:lnTo>
                      <a:pt x="14" y="14"/>
                    </a:lnTo>
                    <a:lnTo>
                      <a:pt x="23" y="7"/>
                    </a:lnTo>
                    <a:lnTo>
                      <a:pt x="23" y="7"/>
                    </a:lnTo>
                    <a:lnTo>
                      <a:pt x="27" y="46"/>
                    </a:lnTo>
                    <a:lnTo>
                      <a:pt x="32" y="84"/>
                    </a:lnTo>
                    <a:lnTo>
                      <a:pt x="41" y="119"/>
                    </a:lnTo>
                    <a:lnTo>
                      <a:pt x="51" y="154"/>
                    </a:lnTo>
                    <a:lnTo>
                      <a:pt x="51" y="208"/>
                    </a:lnTo>
                    <a:lnTo>
                      <a:pt x="44" y="217"/>
                    </a:lnTo>
                    <a:lnTo>
                      <a:pt x="44" y="217"/>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5" name="Freeform 333"/>
              <p:cNvSpPr>
                <a:spLocks/>
              </p:cNvSpPr>
              <p:nvPr/>
            </p:nvSpPr>
            <p:spPr bwMode="auto">
              <a:xfrm>
                <a:off x="2963104" y="4045167"/>
                <a:ext cx="26886" cy="152595"/>
              </a:xfrm>
              <a:custGeom>
                <a:avLst/>
                <a:gdLst>
                  <a:gd name="T0" fmla="*/ 37 w 37"/>
                  <a:gd name="T1" fmla="*/ 201 h 210"/>
                  <a:gd name="T2" fmla="*/ 30 w 37"/>
                  <a:gd name="T3" fmla="*/ 210 h 210"/>
                  <a:gd name="T4" fmla="*/ 28 w 37"/>
                  <a:gd name="T5" fmla="*/ 158 h 210"/>
                  <a:gd name="T6" fmla="*/ 28 w 37"/>
                  <a:gd name="T7" fmla="*/ 158 h 210"/>
                  <a:gd name="T8" fmla="*/ 28 w 37"/>
                  <a:gd name="T9" fmla="*/ 156 h 210"/>
                  <a:gd name="T10" fmla="*/ 13 w 37"/>
                  <a:gd name="T11" fmla="*/ 96 h 210"/>
                  <a:gd name="T12" fmla="*/ 13 w 37"/>
                  <a:gd name="T13" fmla="*/ 96 h 210"/>
                  <a:gd name="T14" fmla="*/ 6 w 37"/>
                  <a:gd name="T15" fmla="*/ 53 h 210"/>
                  <a:gd name="T16" fmla="*/ 0 w 37"/>
                  <a:gd name="T17" fmla="*/ 7 h 210"/>
                  <a:gd name="T18" fmla="*/ 9 w 37"/>
                  <a:gd name="T19" fmla="*/ 0 h 210"/>
                  <a:gd name="T20" fmla="*/ 9 w 37"/>
                  <a:gd name="T21" fmla="*/ 0 h 210"/>
                  <a:gd name="T22" fmla="*/ 13 w 37"/>
                  <a:gd name="T23" fmla="*/ 39 h 210"/>
                  <a:gd name="T24" fmla="*/ 18 w 37"/>
                  <a:gd name="T25" fmla="*/ 77 h 210"/>
                  <a:gd name="T26" fmla="*/ 27 w 37"/>
                  <a:gd name="T27" fmla="*/ 112 h 210"/>
                  <a:gd name="T28" fmla="*/ 37 w 37"/>
                  <a:gd name="T29" fmla="*/ 147 h 210"/>
                  <a:gd name="T30" fmla="*/ 37 w 37"/>
                  <a:gd name="T31" fmla="*/ 201 h 210"/>
                  <a:gd name="T32" fmla="*/ 37 w 37"/>
                  <a:gd name="T33" fmla="*/ 201 h 210"/>
                  <a:gd name="T34" fmla="*/ 37 w 37"/>
                  <a:gd name="T35" fmla="*/ 20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210">
                    <a:moveTo>
                      <a:pt x="37" y="201"/>
                    </a:moveTo>
                    <a:lnTo>
                      <a:pt x="30" y="210"/>
                    </a:lnTo>
                    <a:lnTo>
                      <a:pt x="28" y="158"/>
                    </a:lnTo>
                    <a:lnTo>
                      <a:pt x="28" y="158"/>
                    </a:lnTo>
                    <a:lnTo>
                      <a:pt x="28" y="156"/>
                    </a:lnTo>
                    <a:lnTo>
                      <a:pt x="13" y="96"/>
                    </a:lnTo>
                    <a:lnTo>
                      <a:pt x="13" y="96"/>
                    </a:lnTo>
                    <a:lnTo>
                      <a:pt x="6" y="53"/>
                    </a:lnTo>
                    <a:lnTo>
                      <a:pt x="0" y="7"/>
                    </a:lnTo>
                    <a:lnTo>
                      <a:pt x="9" y="0"/>
                    </a:lnTo>
                    <a:lnTo>
                      <a:pt x="9" y="0"/>
                    </a:lnTo>
                    <a:lnTo>
                      <a:pt x="13" y="39"/>
                    </a:lnTo>
                    <a:lnTo>
                      <a:pt x="18" y="77"/>
                    </a:lnTo>
                    <a:lnTo>
                      <a:pt x="27" y="112"/>
                    </a:lnTo>
                    <a:lnTo>
                      <a:pt x="37" y="147"/>
                    </a:lnTo>
                    <a:lnTo>
                      <a:pt x="37" y="201"/>
                    </a:lnTo>
                    <a:lnTo>
                      <a:pt x="37" y="201"/>
                    </a:lnTo>
                    <a:lnTo>
                      <a:pt x="37" y="201"/>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6" name="Freeform 334"/>
              <p:cNvSpPr>
                <a:spLocks/>
              </p:cNvSpPr>
              <p:nvPr/>
            </p:nvSpPr>
            <p:spPr bwMode="auto">
              <a:xfrm>
                <a:off x="2994258" y="4253032"/>
                <a:ext cx="45778" cy="45777"/>
              </a:xfrm>
              <a:custGeom>
                <a:avLst/>
                <a:gdLst>
                  <a:gd name="T0" fmla="*/ 31 w 63"/>
                  <a:gd name="T1" fmla="*/ 14 h 65"/>
                  <a:gd name="T2" fmla="*/ 31 w 63"/>
                  <a:gd name="T3" fmla="*/ 14 h 65"/>
                  <a:gd name="T4" fmla="*/ 36 w 63"/>
                  <a:gd name="T5" fmla="*/ 12 h 65"/>
                  <a:gd name="T6" fmla="*/ 43 w 63"/>
                  <a:gd name="T7" fmla="*/ 9 h 65"/>
                  <a:gd name="T8" fmla="*/ 49 w 63"/>
                  <a:gd name="T9" fmla="*/ 5 h 65"/>
                  <a:gd name="T10" fmla="*/ 56 w 63"/>
                  <a:gd name="T11" fmla="*/ 0 h 65"/>
                  <a:gd name="T12" fmla="*/ 56 w 63"/>
                  <a:gd name="T13" fmla="*/ 0 h 65"/>
                  <a:gd name="T14" fmla="*/ 61 w 63"/>
                  <a:gd name="T15" fmla="*/ 19 h 65"/>
                  <a:gd name="T16" fmla="*/ 63 w 63"/>
                  <a:gd name="T17" fmla="*/ 37 h 65"/>
                  <a:gd name="T18" fmla="*/ 61 w 63"/>
                  <a:gd name="T19" fmla="*/ 53 h 65"/>
                  <a:gd name="T20" fmla="*/ 56 w 63"/>
                  <a:gd name="T21" fmla="*/ 65 h 65"/>
                  <a:gd name="T22" fmla="*/ 56 w 63"/>
                  <a:gd name="T23" fmla="*/ 65 h 65"/>
                  <a:gd name="T24" fmla="*/ 43 w 63"/>
                  <a:gd name="T25" fmla="*/ 63 h 65"/>
                  <a:gd name="T26" fmla="*/ 33 w 63"/>
                  <a:gd name="T27" fmla="*/ 60 h 65"/>
                  <a:gd name="T28" fmla="*/ 24 w 63"/>
                  <a:gd name="T29" fmla="*/ 54 h 65"/>
                  <a:gd name="T30" fmla="*/ 17 w 63"/>
                  <a:gd name="T31" fmla="*/ 47 h 65"/>
                  <a:gd name="T32" fmla="*/ 10 w 63"/>
                  <a:gd name="T33" fmla="*/ 39 h 65"/>
                  <a:gd name="T34" fmla="*/ 5 w 63"/>
                  <a:gd name="T35" fmla="*/ 28 h 65"/>
                  <a:gd name="T36" fmla="*/ 1 w 63"/>
                  <a:gd name="T37" fmla="*/ 18 h 65"/>
                  <a:gd name="T38" fmla="*/ 0 w 63"/>
                  <a:gd name="T39" fmla="*/ 4 h 65"/>
                  <a:gd name="T40" fmla="*/ 0 w 63"/>
                  <a:gd name="T41" fmla="*/ 4 h 65"/>
                  <a:gd name="T42" fmla="*/ 7 w 63"/>
                  <a:gd name="T43" fmla="*/ 9 h 65"/>
                  <a:gd name="T44" fmla="*/ 15 w 63"/>
                  <a:gd name="T45" fmla="*/ 12 h 65"/>
                  <a:gd name="T46" fmla="*/ 22 w 63"/>
                  <a:gd name="T47" fmla="*/ 14 h 65"/>
                  <a:gd name="T48" fmla="*/ 31 w 63"/>
                  <a:gd name="T49" fmla="*/ 14 h 65"/>
                  <a:gd name="T50" fmla="*/ 31 w 63"/>
                  <a:gd name="T51" fmla="*/ 14 h 65"/>
                  <a:gd name="T52" fmla="*/ 31 w 63"/>
                  <a:gd name="T53" fmla="*/ 14 h 65"/>
                  <a:gd name="connsiteX0" fmla="*/ 4921 w 10000"/>
                  <a:gd name="connsiteY0" fmla="*/ 2154 h 10000"/>
                  <a:gd name="connsiteX1" fmla="*/ 4921 w 10000"/>
                  <a:gd name="connsiteY1" fmla="*/ 2154 h 10000"/>
                  <a:gd name="connsiteX2" fmla="*/ 5714 w 10000"/>
                  <a:gd name="connsiteY2" fmla="*/ 1846 h 10000"/>
                  <a:gd name="connsiteX3" fmla="*/ 6825 w 10000"/>
                  <a:gd name="connsiteY3" fmla="*/ 1385 h 10000"/>
                  <a:gd name="connsiteX4" fmla="*/ 7778 w 10000"/>
                  <a:gd name="connsiteY4" fmla="*/ 769 h 10000"/>
                  <a:gd name="connsiteX5" fmla="*/ 8889 w 10000"/>
                  <a:gd name="connsiteY5" fmla="*/ 0 h 10000"/>
                  <a:gd name="connsiteX6" fmla="*/ 8889 w 10000"/>
                  <a:gd name="connsiteY6" fmla="*/ 0 h 10000"/>
                  <a:gd name="connsiteX7" fmla="*/ 9683 w 10000"/>
                  <a:gd name="connsiteY7" fmla="*/ 2923 h 10000"/>
                  <a:gd name="connsiteX8" fmla="*/ 10000 w 10000"/>
                  <a:gd name="connsiteY8" fmla="*/ 5692 h 10000"/>
                  <a:gd name="connsiteX9" fmla="*/ 9683 w 10000"/>
                  <a:gd name="connsiteY9" fmla="*/ 8154 h 10000"/>
                  <a:gd name="connsiteX10" fmla="*/ 8889 w 10000"/>
                  <a:gd name="connsiteY10" fmla="*/ 10000 h 10000"/>
                  <a:gd name="connsiteX11" fmla="*/ 6825 w 10000"/>
                  <a:gd name="connsiteY11" fmla="*/ 9692 h 10000"/>
                  <a:gd name="connsiteX12" fmla="*/ 5238 w 10000"/>
                  <a:gd name="connsiteY12" fmla="*/ 9231 h 10000"/>
                  <a:gd name="connsiteX13" fmla="*/ 3810 w 10000"/>
                  <a:gd name="connsiteY13" fmla="*/ 8308 h 10000"/>
                  <a:gd name="connsiteX14" fmla="*/ 2698 w 10000"/>
                  <a:gd name="connsiteY14" fmla="*/ 7231 h 10000"/>
                  <a:gd name="connsiteX15" fmla="*/ 1587 w 10000"/>
                  <a:gd name="connsiteY15" fmla="*/ 6000 h 10000"/>
                  <a:gd name="connsiteX16" fmla="*/ 794 w 10000"/>
                  <a:gd name="connsiteY16" fmla="*/ 4308 h 10000"/>
                  <a:gd name="connsiteX17" fmla="*/ 159 w 10000"/>
                  <a:gd name="connsiteY17" fmla="*/ 2769 h 10000"/>
                  <a:gd name="connsiteX18" fmla="*/ 0 w 10000"/>
                  <a:gd name="connsiteY18" fmla="*/ 615 h 10000"/>
                  <a:gd name="connsiteX19" fmla="*/ 0 w 10000"/>
                  <a:gd name="connsiteY19" fmla="*/ 615 h 10000"/>
                  <a:gd name="connsiteX20" fmla="*/ 1111 w 10000"/>
                  <a:gd name="connsiteY20" fmla="*/ 1385 h 10000"/>
                  <a:gd name="connsiteX21" fmla="*/ 2381 w 10000"/>
                  <a:gd name="connsiteY21" fmla="*/ 1846 h 10000"/>
                  <a:gd name="connsiteX22" fmla="*/ 3492 w 10000"/>
                  <a:gd name="connsiteY22" fmla="*/ 2154 h 10000"/>
                  <a:gd name="connsiteX23" fmla="*/ 4921 w 10000"/>
                  <a:gd name="connsiteY23" fmla="*/ 2154 h 10000"/>
                  <a:gd name="connsiteX24" fmla="*/ 4921 w 10000"/>
                  <a:gd name="connsiteY24" fmla="*/ 2154 h 10000"/>
                  <a:gd name="connsiteX25" fmla="*/ 4921 w 10000"/>
                  <a:gd name="connsiteY25" fmla="*/ 2154 h 10000"/>
                  <a:gd name="connsiteX0" fmla="*/ 4921 w 10000"/>
                  <a:gd name="connsiteY0" fmla="*/ 2154 h 9692"/>
                  <a:gd name="connsiteX1" fmla="*/ 4921 w 10000"/>
                  <a:gd name="connsiteY1" fmla="*/ 2154 h 9692"/>
                  <a:gd name="connsiteX2" fmla="*/ 5714 w 10000"/>
                  <a:gd name="connsiteY2" fmla="*/ 1846 h 9692"/>
                  <a:gd name="connsiteX3" fmla="*/ 6825 w 10000"/>
                  <a:gd name="connsiteY3" fmla="*/ 1385 h 9692"/>
                  <a:gd name="connsiteX4" fmla="*/ 7778 w 10000"/>
                  <a:gd name="connsiteY4" fmla="*/ 769 h 9692"/>
                  <a:gd name="connsiteX5" fmla="*/ 8889 w 10000"/>
                  <a:gd name="connsiteY5" fmla="*/ 0 h 9692"/>
                  <a:gd name="connsiteX6" fmla="*/ 8889 w 10000"/>
                  <a:gd name="connsiteY6" fmla="*/ 0 h 9692"/>
                  <a:gd name="connsiteX7" fmla="*/ 9683 w 10000"/>
                  <a:gd name="connsiteY7" fmla="*/ 2923 h 9692"/>
                  <a:gd name="connsiteX8" fmla="*/ 10000 w 10000"/>
                  <a:gd name="connsiteY8" fmla="*/ 5692 h 9692"/>
                  <a:gd name="connsiteX9" fmla="*/ 9683 w 10000"/>
                  <a:gd name="connsiteY9" fmla="*/ 8154 h 9692"/>
                  <a:gd name="connsiteX10" fmla="*/ 6825 w 10000"/>
                  <a:gd name="connsiteY10" fmla="*/ 9692 h 9692"/>
                  <a:gd name="connsiteX11" fmla="*/ 5238 w 10000"/>
                  <a:gd name="connsiteY11" fmla="*/ 9231 h 9692"/>
                  <a:gd name="connsiteX12" fmla="*/ 3810 w 10000"/>
                  <a:gd name="connsiteY12" fmla="*/ 8308 h 9692"/>
                  <a:gd name="connsiteX13" fmla="*/ 2698 w 10000"/>
                  <a:gd name="connsiteY13" fmla="*/ 7231 h 9692"/>
                  <a:gd name="connsiteX14" fmla="*/ 1587 w 10000"/>
                  <a:gd name="connsiteY14" fmla="*/ 6000 h 9692"/>
                  <a:gd name="connsiteX15" fmla="*/ 794 w 10000"/>
                  <a:gd name="connsiteY15" fmla="*/ 4308 h 9692"/>
                  <a:gd name="connsiteX16" fmla="*/ 159 w 10000"/>
                  <a:gd name="connsiteY16" fmla="*/ 2769 h 9692"/>
                  <a:gd name="connsiteX17" fmla="*/ 0 w 10000"/>
                  <a:gd name="connsiteY17" fmla="*/ 615 h 9692"/>
                  <a:gd name="connsiteX18" fmla="*/ 0 w 10000"/>
                  <a:gd name="connsiteY18" fmla="*/ 615 h 9692"/>
                  <a:gd name="connsiteX19" fmla="*/ 1111 w 10000"/>
                  <a:gd name="connsiteY19" fmla="*/ 1385 h 9692"/>
                  <a:gd name="connsiteX20" fmla="*/ 2381 w 10000"/>
                  <a:gd name="connsiteY20" fmla="*/ 1846 h 9692"/>
                  <a:gd name="connsiteX21" fmla="*/ 3492 w 10000"/>
                  <a:gd name="connsiteY21" fmla="*/ 2154 h 9692"/>
                  <a:gd name="connsiteX22" fmla="*/ 4921 w 10000"/>
                  <a:gd name="connsiteY22" fmla="*/ 2154 h 9692"/>
                  <a:gd name="connsiteX23" fmla="*/ 4921 w 10000"/>
                  <a:gd name="connsiteY23" fmla="*/ 2154 h 9692"/>
                  <a:gd name="connsiteX24" fmla="*/ 4921 w 10000"/>
                  <a:gd name="connsiteY24" fmla="*/ 2154 h 9692"/>
                  <a:gd name="connsiteX0" fmla="*/ 4921 w 10000"/>
                  <a:gd name="connsiteY0" fmla="*/ 2222 h 10000"/>
                  <a:gd name="connsiteX1" fmla="*/ 4921 w 10000"/>
                  <a:gd name="connsiteY1" fmla="*/ 2222 h 10000"/>
                  <a:gd name="connsiteX2" fmla="*/ 5714 w 10000"/>
                  <a:gd name="connsiteY2" fmla="*/ 1905 h 10000"/>
                  <a:gd name="connsiteX3" fmla="*/ 6825 w 10000"/>
                  <a:gd name="connsiteY3" fmla="*/ 1429 h 10000"/>
                  <a:gd name="connsiteX4" fmla="*/ 7778 w 10000"/>
                  <a:gd name="connsiteY4" fmla="*/ 793 h 10000"/>
                  <a:gd name="connsiteX5" fmla="*/ 8889 w 10000"/>
                  <a:gd name="connsiteY5" fmla="*/ 0 h 10000"/>
                  <a:gd name="connsiteX6" fmla="*/ 8889 w 10000"/>
                  <a:gd name="connsiteY6" fmla="*/ 0 h 10000"/>
                  <a:gd name="connsiteX7" fmla="*/ 9683 w 10000"/>
                  <a:gd name="connsiteY7" fmla="*/ 3016 h 10000"/>
                  <a:gd name="connsiteX8" fmla="*/ 10000 w 10000"/>
                  <a:gd name="connsiteY8" fmla="*/ 5873 h 10000"/>
                  <a:gd name="connsiteX9" fmla="*/ 9683 w 10000"/>
                  <a:gd name="connsiteY9" fmla="*/ 8413 h 10000"/>
                  <a:gd name="connsiteX10" fmla="*/ 8313 w 10000"/>
                  <a:gd name="connsiteY10" fmla="*/ 10000 h 10000"/>
                  <a:gd name="connsiteX11" fmla="*/ 5238 w 10000"/>
                  <a:gd name="connsiteY11" fmla="*/ 9524 h 10000"/>
                  <a:gd name="connsiteX12" fmla="*/ 3810 w 10000"/>
                  <a:gd name="connsiteY12" fmla="*/ 8572 h 10000"/>
                  <a:gd name="connsiteX13" fmla="*/ 2698 w 10000"/>
                  <a:gd name="connsiteY13" fmla="*/ 7461 h 10000"/>
                  <a:gd name="connsiteX14" fmla="*/ 1587 w 10000"/>
                  <a:gd name="connsiteY14" fmla="*/ 6191 h 10000"/>
                  <a:gd name="connsiteX15" fmla="*/ 794 w 10000"/>
                  <a:gd name="connsiteY15" fmla="*/ 4445 h 10000"/>
                  <a:gd name="connsiteX16" fmla="*/ 159 w 10000"/>
                  <a:gd name="connsiteY16" fmla="*/ 2857 h 10000"/>
                  <a:gd name="connsiteX17" fmla="*/ 0 w 10000"/>
                  <a:gd name="connsiteY17" fmla="*/ 635 h 10000"/>
                  <a:gd name="connsiteX18" fmla="*/ 0 w 10000"/>
                  <a:gd name="connsiteY18" fmla="*/ 635 h 10000"/>
                  <a:gd name="connsiteX19" fmla="*/ 1111 w 10000"/>
                  <a:gd name="connsiteY19" fmla="*/ 1429 h 10000"/>
                  <a:gd name="connsiteX20" fmla="*/ 2381 w 10000"/>
                  <a:gd name="connsiteY20" fmla="*/ 1905 h 10000"/>
                  <a:gd name="connsiteX21" fmla="*/ 3492 w 10000"/>
                  <a:gd name="connsiteY21" fmla="*/ 2222 h 10000"/>
                  <a:gd name="connsiteX22" fmla="*/ 4921 w 10000"/>
                  <a:gd name="connsiteY22" fmla="*/ 2222 h 10000"/>
                  <a:gd name="connsiteX23" fmla="*/ 4921 w 10000"/>
                  <a:gd name="connsiteY23" fmla="*/ 2222 h 10000"/>
                  <a:gd name="connsiteX24" fmla="*/ 4921 w 10000"/>
                  <a:gd name="connsiteY24" fmla="*/ 22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000">
                    <a:moveTo>
                      <a:pt x="4921" y="2222"/>
                    </a:moveTo>
                    <a:lnTo>
                      <a:pt x="4921" y="2222"/>
                    </a:lnTo>
                    <a:lnTo>
                      <a:pt x="5714" y="1905"/>
                    </a:lnTo>
                    <a:lnTo>
                      <a:pt x="6825" y="1429"/>
                    </a:lnTo>
                    <a:lnTo>
                      <a:pt x="7778" y="793"/>
                    </a:lnTo>
                    <a:lnTo>
                      <a:pt x="8889" y="0"/>
                    </a:lnTo>
                    <a:lnTo>
                      <a:pt x="8889" y="0"/>
                    </a:lnTo>
                    <a:lnTo>
                      <a:pt x="9683" y="3016"/>
                    </a:lnTo>
                    <a:cubicBezTo>
                      <a:pt x="9789" y="3968"/>
                      <a:pt x="9894" y="4921"/>
                      <a:pt x="10000" y="5873"/>
                    </a:cubicBezTo>
                    <a:cubicBezTo>
                      <a:pt x="9894" y="6720"/>
                      <a:pt x="9789" y="7566"/>
                      <a:pt x="9683" y="8413"/>
                    </a:cubicBezTo>
                    <a:lnTo>
                      <a:pt x="8313" y="10000"/>
                    </a:lnTo>
                    <a:lnTo>
                      <a:pt x="5238" y="9524"/>
                    </a:lnTo>
                    <a:lnTo>
                      <a:pt x="3810" y="8572"/>
                    </a:lnTo>
                    <a:lnTo>
                      <a:pt x="2698" y="7461"/>
                    </a:lnTo>
                    <a:lnTo>
                      <a:pt x="1587" y="6191"/>
                    </a:lnTo>
                    <a:lnTo>
                      <a:pt x="794" y="4445"/>
                    </a:lnTo>
                    <a:lnTo>
                      <a:pt x="159" y="2857"/>
                    </a:lnTo>
                    <a:lnTo>
                      <a:pt x="0" y="635"/>
                    </a:lnTo>
                    <a:lnTo>
                      <a:pt x="0" y="635"/>
                    </a:lnTo>
                    <a:lnTo>
                      <a:pt x="1111" y="1429"/>
                    </a:lnTo>
                    <a:lnTo>
                      <a:pt x="2381" y="1905"/>
                    </a:lnTo>
                    <a:lnTo>
                      <a:pt x="3492" y="2222"/>
                    </a:lnTo>
                    <a:lnTo>
                      <a:pt x="4921" y="2222"/>
                    </a:lnTo>
                    <a:lnTo>
                      <a:pt x="4921" y="2222"/>
                    </a:lnTo>
                    <a:lnTo>
                      <a:pt x="4921" y="222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01" name="Freeform 300"/>
          <p:cNvSpPr>
            <a:spLocks noEditPoints="1"/>
          </p:cNvSpPr>
          <p:nvPr/>
        </p:nvSpPr>
        <p:spPr bwMode="auto">
          <a:xfrm rot="433632">
            <a:off x="5324375" y="2606558"/>
            <a:ext cx="500792" cy="758044"/>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gradFill flip="none" rotWithShape="1">
            <a:gsLst>
              <a:gs pos="5000">
                <a:srgbClr val="0D65AC">
                  <a:shade val="30000"/>
                  <a:satMod val="115000"/>
                </a:srgbClr>
              </a:gs>
              <a:gs pos="59000">
                <a:srgbClr val="0D65AC"/>
              </a:gs>
            </a:gsLst>
            <a:lin ang="18900000" scaled="1"/>
            <a:tileRect/>
          </a:gra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349" name="Group 348"/>
          <p:cNvGrpSpPr/>
          <p:nvPr/>
        </p:nvGrpSpPr>
        <p:grpSpPr>
          <a:xfrm>
            <a:off x="1940812" y="3651540"/>
            <a:ext cx="2050009" cy="288575"/>
            <a:chOff x="2077120" y="4859661"/>
            <a:chExt cx="2050009" cy="288575"/>
          </a:xfrm>
        </p:grpSpPr>
        <p:sp>
          <p:nvSpPr>
            <p:cNvPr id="335" name="Freeform 6"/>
            <p:cNvSpPr>
              <a:spLocks noEditPoints="1"/>
            </p:cNvSpPr>
            <p:nvPr>
              <p:custDataLst>
                <p:tags r:id="rId13"/>
              </p:custDataLst>
            </p:nvPr>
          </p:nvSpPr>
          <p:spPr bwMode="auto">
            <a:xfrm>
              <a:off x="2077120" y="4859661"/>
              <a:ext cx="290457" cy="288575"/>
            </a:xfrm>
            <a:custGeom>
              <a:avLst/>
              <a:gdLst>
                <a:gd name="T0" fmla="*/ 1285 w 2772"/>
                <a:gd name="T1" fmla="*/ 205 h 2759"/>
                <a:gd name="T2" fmla="*/ 1485 w 2772"/>
                <a:gd name="T3" fmla="*/ 195 h 2759"/>
                <a:gd name="T4" fmla="*/ 2533 w 2772"/>
                <a:gd name="T5" fmla="*/ 616 h 2759"/>
                <a:gd name="T6" fmla="*/ 2366 w 2772"/>
                <a:gd name="T7" fmla="*/ 2357 h 2759"/>
                <a:gd name="T8" fmla="*/ 1023 w 2772"/>
                <a:gd name="T9" fmla="*/ 2708 h 2759"/>
                <a:gd name="T10" fmla="*/ 45 w 2772"/>
                <a:gd name="T11" fmla="*/ 1742 h 2759"/>
                <a:gd name="T12" fmla="*/ 292 w 2772"/>
                <a:gd name="T13" fmla="*/ 534 h 2759"/>
                <a:gd name="T14" fmla="*/ 1142 w 2772"/>
                <a:gd name="T15" fmla="*/ 21 h 2759"/>
                <a:gd name="T16" fmla="*/ 2158 w 2772"/>
                <a:gd name="T17" fmla="*/ 302 h 2759"/>
                <a:gd name="T18" fmla="*/ 702 w 2772"/>
                <a:gd name="T19" fmla="*/ 244 h 2759"/>
                <a:gd name="T20" fmla="*/ 364 w 2772"/>
                <a:gd name="T21" fmla="*/ 534 h 2759"/>
                <a:gd name="T22" fmla="*/ 266 w 2772"/>
                <a:gd name="T23" fmla="*/ 1264 h 2759"/>
                <a:gd name="T24" fmla="*/ 55 w 2772"/>
                <a:gd name="T25" fmla="*/ 1418 h 2759"/>
                <a:gd name="T26" fmla="*/ 1323 w 2772"/>
                <a:gd name="T27" fmla="*/ 2705 h 2759"/>
                <a:gd name="T28" fmla="*/ 2580 w 2772"/>
                <a:gd name="T29" fmla="*/ 1968 h 2759"/>
                <a:gd name="T30" fmla="*/ 2611 w 2772"/>
                <a:gd name="T31" fmla="*/ 1678 h 2759"/>
                <a:gd name="T32" fmla="*/ 2605 w 2772"/>
                <a:gd name="T33" fmla="*/ 1008 h 2759"/>
                <a:gd name="T34" fmla="*/ 2692 w 2772"/>
                <a:gd name="T35" fmla="*/ 1488 h 2759"/>
                <a:gd name="T36" fmla="*/ 1696 w 2772"/>
                <a:gd name="T37" fmla="*/ 112 h 2759"/>
                <a:gd name="T38" fmla="*/ 1735 w 2772"/>
                <a:gd name="T39" fmla="*/ 159 h 2759"/>
                <a:gd name="T40" fmla="*/ 1707 w 2772"/>
                <a:gd name="T41" fmla="*/ 269 h 2759"/>
                <a:gd name="T42" fmla="*/ 2308 w 2772"/>
                <a:gd name="T43" fmla="*/ 642 h 2759"/>
                <a:gd name="T44" fmla="*/ 2588 w 2772"/>
                <a:gd name="T45" fmla="*/ 903 h 2759"/>
                <a:gd name="T46" fmla="*/ 2194 w 2772"/>
                <a:gd name="T47" fmla="*/ 728 h 2759"/>
                <a:gd name="T48" fmla="*/ 1726 w 2772"/>
                <a:gd name="T49" fmla="*/ 310 h 2759"/>
                <a:gd name="T50" fmla="*/ 1627 w 2772"/>
                <a:gd name="T51" fmla="*/ 295 h 2759"/>
                <a:gd name="T52" fmla="*/ 2070 w 2772"/>
                <a:gd name="T53" fmla="*/ 2496 h 2759"/>
                <a:gd name="T54" fmla="*/ 2480 w 2772"/>
                <a:gd name="T55" fmla="*/ 1784 h 2759"/>
                <a:gd name="T56" fmla="*/ 2399 w 2772"/>
                <a:gd name="T57" fmla="*/ 2180 h 2759"/>
                <a:gd name="T58" fmla="*/ 2054 w 2772"/>
                <a:gd name="T59" fmla="*/ 1566 h 2759"/>
                <a:gd name="T60" fmla="*/ 2130 w 2772"/>
                <a:gd name="T61" fmla="*/ 840 h 2759"/>
                <a:gd name="T62" fmla="*/ 2108 w 2772"/>
                <a:gd name="T63" fmla="*/ 711 h 2759"/>
                <a:gd name="T64" fmla="*/ 1906 w 2772"/>
                <a:gd name="T65" fmla="*/ 501 h 2759"/>
                <a:gd name="T66" fmla="*/ 1438 w 2772"/>
                <a:gd name="T67" fmla="*/ 288 h 2759"/>
                <a:gd name="T68" fmla="*/ 1414 w 2772"/>
                <a:gd name="T69" fmla="*/ 2483 h 2759"/>
                <a:gd name="T70" fmla="*/ 1979 w 2772"/>
                <a:gd name="T71" fmla="*/ 1980 h 2759"/>
                <a:gd name="T72" fmla="*/ 2035 w 2772"/>
                <a:gd name="T73" fmla="*/ 1690 h 2759"/>
                <a:gd name="T74" fmla="*/ 1984 w 2772"/>
                <a:gd name="T75" fmla="*/ 1425 h 2759"/>
                <a:gd name="T76" fmla="*/ 1801 w 2772"/>
                <a:gd name="T77" fmla="*/ 859 h 2759"/>
                <a:gd name="T78" fmla="*/ 1562 w 2772"/>
                <a:gd name="T79" fmla="*/ 407 h 2759"/>
                <a:gd name="T80" fmla="*/ 1180 w 2772"/>
                <a:gd name="T81" fmla="*/ 97 h 2759"/>
                <a:gd name="T82" fmla="*/ 1050 w 2772"/>
                <a:gd name="T83" fmla="*/ 188 h 2759"/>
                <a:gd name="T84" fmla="*/ 900 w 2772"/>
                <a:gd name="T85" fmla="*/ 234 h 2759"/>
                <a:gd name="T86" fmla="*/ 929 w 2772"/>
                <a:gd name="T87" fmla="*/ 265 h 2759"/>
                <a:gd name="T88" fmla="*/ 1001 w 2772"/>
                <a:gd name="T89" fmla="*/ 242 h 2759"/>
                <a:gd name="T90" fmla="*/ 739 w 2772"/>
                <a:gd name="T91" fmla="*/ 554 h 2759"/>
                <a:gd name="T92" fmla="*/ 207 w 2772"/>
                <a:gd name="T93" fmla="*/ 1031 h 2759"/>
                <a:gd name="T94" fmla="*/ 427 w 2772"/>
                <a:gd name="T95" fmla="*/ 549 h 2759"/>
                <a:gd name="T96" fmla="*/ 968 w 2772"/>
                <a:gd name="T97" fmla="*/ 605 h 2759"/>
                <a:gd name="T98" fmla="*/ 777 w 2772"/>
                <a:gd name="T99" fmla="*/ 871 h 2759"/>
                <a:gd name="T100" fmla="*/ 424 w 2772"/>
                <a:gd name="T101" fmla="*/ 1271 h 2759"/>
                <a:gd name="T102" fmla="*/ 258 w 2772"/>
                <a:gd name="T103" fmla="*/ 1401 h 2759"/>
                <a:gd name="T104" fmla="*/ 671 w 2772"/>
                <a:gd name="T105" fmla="*/ 1431 h 2759"/>
                <a:gd name="T106" fmla="*/ 342 w 2772"/>
                <a:gd name="T107" fmla="*/ 2162 h 2759"/>
                <a:gd name="T108" fmla="*/ 306 w 2772"/>
                <a:gd name="T109" fmla="*/ 1810 h 2759"/>
                <a:gd name="T110" fmla="*/ 501 w 2772"/>
                <a:gd name="T111" fmla="*/ 2305 h 2759"/>
                <a:gd name="T112" fmla="*/ 1138 w 2772"/>
                <a:gd name="T113" fmla="*/ 652 h 2759"/>
                <a:gd name="T114" fmla="*/ 1375 w 2772"/>
                <a:gd name="T115" fmla="*/ 984 h 2759"/>
                <a:gd name="T116" fmla="*/ 1299 w 2772"/>
                <a:gd name="T117" fmla="*/ 1500 h 2759"/>
                <a:gd name="T118" fmla="*/ 1206 w 2772"/>
                <a:gd name="T119" fmla="*/ 2002 h 2759"/>
                <a:gd name="T120" fmla="*/ 750 w 2772"/>
                <a:gd name="T121" fmla="*/ 2359 h 2759"/>
                <a:gd name="T122" fmla="*/ 740 w 2772"/>
                <a:gd name="T123" fmla="*/ 1977 h 2759"/>
                <a:gd name="T124" fmla="*/ 1107 w 2772"/>
                <a:gd name="T125" fmla="*/ 2469 h 2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2" h="2759">
                  <a:moveTo>
                    <a:pt x="1406" y="117"/>
                  </a:moveTo>
                  <a:lnTo>
                    <a:pt x="1417" y="119"/>
                  </a:lnTo>
                  <a:lnTo>
                    <a:pt x="1427" y="121"/>
                  </a:lnTo>
                  <a:lnTo>
                    <a:pt x="1433" y="113"/>
                  </a:lnTo>
                  <a:lnTo>
                    <a:pt x="1440" y="106"/>
                  </a:lnTo>
                  <a:lnTo>
                    <a:pt x="1447" y="99"/>
                  </a:lnTo>
                  <a:lnTo>
                    <a:pt x="1455" y="93"/>
                  </a:lnTo>
                  <a:lnTo>
                    <a:pt x="1472" y="83"/>
                  </a:lnTo>
                  <a:lnTo>
                    <a:pt x="1489" y="74"/>
                  </a:lnTo>
                  <a:lnTo>
                    <a:pt x="1468" y="71"/>
                  </a:lnTo>
                  <a:lnTo>
                    <a:pt x="1448" y="69"/>
                  </a:lnTo>
                  <a:lnTo>
                    <a:pt x="1427" y="68"/>
                  </a:lnTo>
                  <a:lnTo>
                    <a:pt x="1406" y="68"/>
                  </a:lnTo>
                  <a:lnTo>
                    <a:pt x="1406" y="117"/>
                  </a:lnTo>
                  <a:close/>
                  <a:moveTo>
                    <a:pt x="1387" y="147"/>
                  </a:moveTo>
                  <a:lnTo>
                    <a:pt x="1375" y="147"/>
                  </a:lnTo>
                  <a:lnTo>
                    <a:pt x="1365" y="148"/>
                  </a:lnTo>
                  <a:lnTo>
                    <a:pt x="1354" y="150"/>
                  </a:lnTo>
                  <a:lnTo>
                    <a:pt x="1344" y="152"/>
                  </a:lnTo>
                  <a:lnTo>
                    <a:pt x="1336" y="154"/>
                  </a:lnTo>
                  <a:lnTo>
                    <a:pt x="1328" y="157"/>
                  </a:lnTo>
                  <a:lnTo>
                    <a:pt x="1320" y="160"/>
                  </a:lnTo>
                  <a:lnTo>
                    <a:pt x="1313" y="163"/>
                  </a:lnTo>
                  <a:lnTo>
                    <a:pt x="1307" y="167"/>
                  </a:lnTo>
                  <a:lnTo>
                    <a:pt x="1301" y="172"/>
                  </a:lnTo>
                  <a:lnTo>
                    <a:pt x="1297" y="176"/>
                  </a:lnTo>
                  <a:lnTo>
                    <a:pt x="1293" y="181"/>
                  </a:lnTo>
                  <a:lnTo>
                    <a:pt x="1290" y="185"/>
                  </a:lnTo>
                  <a:lnTo>
                    <a:pt x="1288" y="190"/>
                  </a:lnTo>
                  <a:lnTo>
                    <a:pt x="1286" y="195"/>
                  </a:lnTo>
                  <a:lnTo>
                    <a:pt x="1285" y="199"/>
                  </a:lnTo>
                  <a:lnTo>
                    <a:pt x="1285" y="205"/>
                  </a:lnTo>
                  <a:lnTo>
                    <a:pt x="1286" y="210"/>
                  </a:lnTo>
                  <a:lnTo>
                    <a:pt x="1288" y="214"/>
                  </a:lnTo>
                  <a:lnTo>
                    <a:pt x="1290" y="219"/>
                  </a:lnTo>
                  <a:lnTo>
                    <a:pt x="1293" y="223"/>
                  </a:lnTo>
                  <a:lnTo>
                    <a:pt x="1297" y="228"/>
                  </a:lnTo>
                  <a:lnTo>
                    <a:pt x="1301" y="231"/>
                  </a:lnTo>
                  <a:lnTo>
                    <a:pt x="1307" y="236"/>
                  </a:lnTo>
                  <a:lnTo>
                    <a:pt x="1314" y="240"/>
                  </a:lnTo>
                  <a:lnTo>
                    <a:pt x="1321" y="242"/>
                  </a:lnTo>
                  <a:lnTo>
                    <a:pt x="1329" y="245"/>
                  </a:lnTo>
                  <a:lnTo>
                    <a:pt x="1338" y="248"/>
                  </a:lnTo>
                  <a:lnTo>
                    <a:pt x="1349" y="249"/>
                  </a:lnTo>
                  <a:lnTo>
                    <a:pt x="1359" y="251"/>
                  </a:lnTo>
                  <a:lnTo>
                    <a:pt x="1372" y="251"/>
                  </a:lnTo>
                  <a:lnTo>
                    <a:pt x="1384" y="251"/>
                  </a:lnTo>
                  <a:lnTo>
                    <a:pt x="1397" y="251"/>
                  </a:lnTo>
                  <a:lnTo>
                    <a:pt x="1408" y="250"/>
                  </a:lnTo>
                  <a:lnTo>
                    <a:pt x="1419" y="249"/>
                  </a:lnTo>
                  <a:lnTo>
                    <a:pt x="1429" y="246"/>
                  </a:lnTo>
                  <a:lnTo>
                    <a:pt x="1438" y="244"/>
                  </a:lnTo>
                  <a:lnTo>
                    <a:pt x="1448" y="242"/>
                  </a:lnTo>
                  <a:lnTo>
                    <a:pt x="1455" y="238"/>
                  </a:lnTo>
                  <a:lnTo>
                    <a:pt x="1461" y="235"/>
                  </a:lnTo>
                  <a:lnTo>
                    <a:pt x="1467" y="230"/>
                  </a:lnTo>
                  <a:lnTo>
                    <a:pt x="1472" y="227"/>
                  </a:lnTo>
                  <a:lnTo>
                    <a:pt x="1476" y="222"/>
                  </a:lnTo>
                  <a:lnTo>
                    <a:pt x="1480" y="218"/>
                  </a:lnTo>
                  <a:lnTo>
                    <a:pt x="1482" y="213"/>
                  </a:lnTo>
                  <a:lnTo>
                    <a:pt x="1485" y="208"/>
                  </a:lnTo>
                  <a:lnTo>
                    <a:pt x="1486" y="204"/>
                  </a:lnTo>
                  <a:lnTo>
                    <a:pt x="1486" y="199"/>
                  </a:lnTo>
                  <a:lnTo>
                    <a:pt x="1485" y="195"/>
                  </a:lnTo>
                  <a:lnTo>
                    <a:pt x="1483" y="189"/>
                  </a:lnTo>
                  <a:lnTo>
                    <a:pt x="1481" y="184"/>
                  </a:lnTo>
                  <a:lnTo>
                    <a:pt x="1479" y="180"/>
                  </a:lnTo>
                  <a:lnTo>
                    <a:pt x="1475" y="175"/>
                  </a:lnTo>
                  <a:lnTo>
                    <a:pt x="1471" y="172"/>
                  </a:lnTo>
                  <a:lnTo>
                    <a:pt x="1465" y="167"/>
                  </a:lnTo>
                  <a:lnTo>
                    <a:pt x="1459" y="163"/>
                  </a:lnTo>
                  <a:lnTo>
                    <a:pt x="1452" y="160"/>
                  </a:lnTo>
                  <a:lnTo>
                    <a:pt x="1445" y="157"/>
                  </a:lnTo>
                  <a:lnTo>
                    <a:pt x="1437" y="154"/>
                  </a:lnTo>
                  <a:lnTo>
                    <a:pt x="1429" y="152"/>
                  </a:lnTo>
                  <a:lnTo>
                    <a:pt x="1419" y="150"/>
                  </a:lnTo>
                  <a:lnTo>
                    <a:pt x="1408" y="148"/>
                  </a:lnTo>
                  <a:lnTo>
                    <a:pt x="1398" y="147"/>
                  </a:lnTo>
                  <a:lnTo>
                    <a:pt x="1387" y="147"/>
                  </a:lnTo>
                  <a:close/>
                  <a:moveTo>
                    <a:pt x="1387" y="0"/>
                  </a:moveTo>
                  <a:lnTo>
                    <a:pt x="1476" y="3"/>
                  </a:lnTo>
                  <a:lnTo>
                    <a:pt x="1565" y="11"/>
                  </a:lnTo>
                  <a:lnTo>
                    <a:pt x="1652" y="26"/>
                  </a:lnTo>
                  <a:lnTo>
                    <a:pt x="1736" y="46"/>
                  </a:lnTo>
                  <a:lnTo>
                    <a:pt x="1817" y="70"/>
                  </a:lnTo>
                  <a:lnTo>
                    <a:pt x="1898" y="99"/>
                  </a:lnTo>
                  <a:lnTo>
                    <a:pt x="1975" y="134"/>
                  </a:lnTo>
                  <a:lnTo>
                    <a:pt x="2050" y="172"/>
                  </a:lnTo>
                  <a:lnTo>
                    <a:pt x="2122" y="214"/>
                  </a:lnTo>
                  <a:lnTo>
                    <a:pt x="2191" y="261"/>
                  </a:lnTo>
                  <a:lnTo>
                    <a:pt x="2256" y="312"/>
                  </a:lnTo>
                  <a:lnTo>
                    <a:pt x="2319" y="366"/>
                  </a:lnTo>
                  <a:lnTo>
                    <a:pt x="2377" y="424"/>
                  </a:lnTo>
                  <a:lnTo>
                    <a:pt x="2433" y="485"/>
                  </a:lnTo>
                  <a:lnTo>
                    <a:pt x="2484" y="549"/>
                  </a:lnTo>
                  <a:lnTo>
                    <a:pt x="2533" y="616"/>
                  </a:lnTo>
                  <a:lnTo>
                    <a:pt x="2577" y="685"/>
                  </a:lnTo>
                  <a:lnTo>
                    <a:pt x="2617" y="758"/>
                  </a:lnTo>
                  <a:lnTo>
                    <a:pt x="2653" y="832"/>
                  </a:lnTo>
                  <a:lnTo>
                    <a:pt x="2684" y="908"/>
                  </a:lnTo>
                  <a:lnTo>
                    <a:pt x="2711" y="986"/>
                  </a:lnTo>
                  <a:lnTo>
                    <a:pt x="2733" y="1066"/>
                  </a:lnTo>
                  <a:lnTo>
                    <a:pt x="2751" y="1147"/>
                  </a:lnTo>
                  <a:lnTo>
                    <a:pt x="2763" y="1229"/>
                  </a:lnTo>
                  <a:lnTo>
                    <a:pt x="2770" y="1313"/>
                  </a:lnTo>
                  <a:lnTo>
                    <a:pt x="2772" y="1397"/>
                  </a:lnTo>
                  <a:lnTo>
                    <a:pt x="2769" y="1483"/>
                  </a:lnTo>
                  <a:lnTo>
                    <a:pt x="2761" y="1568"/>
                  </a:lnTo>
                  <a:lnTo>
                    <a:pt x="2746" y="1653"/>
                  </a:lnTo>
                  <a:lnTo>
                    <a:pt x="2726" y="1738"/>
                  </a:lnTo>
                  <a:lnTo>
                    <a:pt x="2700" y="1824"/>
                  </a:lnTo>
                  <a:lnTo>
                    <a:pt x="2668" y="1909"/>
                  </a:lnTo>
                  <a:lnTo>
                    <a:pt x="2654" y="1940"/>
                  </a:lnTo>
                  <a:lnTo>
                    <a:pt x="2640" y="1971"/>
                  </a:lnTo>
                  <a:lnTo>
                    <a:pt x="2625" y="2002"/>
                  </a:lnTo>
                  <a:lnTo>
                    <a:pt x="2609" y="2032"/>
                  </a:lnTo>
                  <a:lnTo>
                    <a:pt x="2593" y="2062"/>
                  </a:lnTo>
                  <a:lnTo>
                    <a:pt x="2575" y="2091"/>
                  </a:lnTo>
                  <a:lnTo>
                    <a:pt x="2557" y="2120"/>
                  </a:lnTo>
                  <a:lnTo>
                    <a:pt x="2539" y="2149"/>
                  </a:lnTo>
                  <a:lnTo>
                    <a:pt x="2519" y="2176"/>
                  </a:lnTo>
                  <a:lnTo>
                    <a:pt x="2499" y="2204"/>
                  </a:lnTo>
                  <a:lnTo>
                    <a:pt x="2479" y="2230"/>
                  </a:lnTo>
                  <a:lnTo>
                    <a:pt x="2457" y="2257"/>
                  </a:lnTo>
                  <a:lnTo>
                    <a:pt x="2435" y="2283"/>
                  </a:lnTo>
                  <a:lnTo>
                    <a:pt x="2412" y="2309"/>
                  </a:lnTo>
                  <a:lnTo>
                    <a:pt x="2389" y="2333"/>
                  </a:lnTo>
                  <a:lnTo>
                    <a:pt x="2366" y="2357"/>
                  </a:lnTo>
                  <a:lnTo>
                    <a:pt x="2342" y="2381"/>
                  </a:lnTo>
                  <a:lnTo>
                    <a:pt x="2316" y="2404"/>
                  </a:lnTo>
                  <a:lnTo>
                    <a:pt x="2291" y="2426"/>
                  </a:lnTo>
                  <a:lnTo>
                    <a:pt x="2264" y="2448"/>
                  </a:lnTo>
                  <a:lnTo>
                    <a:pt x="2238" y="2470"/>
                  </a:lnTo>
                  <a:lnTo>
                    <a:pt x="2211" y="2490"/>
                  </a:lnTo>
                  <a:lnTo>
                    <a:pt x="2184" y="2510"/>
                  </a:lnTo>
                  <a:lnTo>
                    <a:pt x="2156" y="2529"/>
                  </a:lnTo>
                  <a:lnTo>
                    <a:pt x="2127" y="2547"/>
                  </a:lnTo>
                  <a:lnTo>
                    <a:pt x="2099" y="2566"/>
                  </a:lnTo>
                  <a:lnTo>
                    <a:pt x="2069" y="2583"/>
                  </a:lnTo>
                  <a:lnTo>
                    <a:pt x="2039" y="2599"/>
                  </a:lnTo>
                  <a:lnTo>
                    <a:pt x="2009" y="2615"/>
                  </a:lnTo>
                  <a:lnTo>
                    <a:pt x="1978" y="2630"/>
                  </a:lnTo>
                  <a:lnTo>
                    <a:pt x="1946" y="2644"/>
                  </a:lnTo>
                  <a:lnTo>
                    <a:pt x="1915" y="2658"/>
                  </a:lnTo>
                  <a:lnTo>
                    <a:pt x="1861" y="2679"/>
                  </a:lnTo>
                  <a:lnTo>
                    <a:pt x="1806" y="2697"/>
                  </a:lnTo>
                  <a:lnTo>
                    <a:pt x="1751" y="2713"/>
                  </a:lnTo>
                  <a:lnTo>
                    <a:pt x="1694" y="2727"/>
                  </a:lnTo>
                  <a:lnTo>
                    <a:pt x="1638" y="2738"/>
                  </a:lnTo>
                  <a:lnTo>
                    <a:pt x="1582" y="2748"/>
                  </a:lnTo>
                  <a:lnTo>
                    <a:pt x="1526" y="2753"/>
                  </a:lnTo>
                  <a:lnTo>
                    <a:pt x="1468" y="2758"/>
                  </a:lnTo>
                  <a:lnTo>
                    <a:pt x="1412" y="2759"/>
                  </a:lnTo>
                  <a:lnTo>
                    <a:pt x="1355" y="2759"/>
                  </a:lnTo>
                  <a:lnTo>
                    <a:pt x="1299" y="2756"/>
                  </a:lnTo>
                  <a:lnTo>
                    <a:pt x="1244" y="2751"/>
                  </a:lnTo>
                  <a:lnTo>
                    <a:pt x="1187" y="2744"/>
                  </a:lnTo>
                  <a:lnTo>
                    <a:pt x="1132" y="2734"/>
                  </a:lnTo>
                  <a:lnTo>
                    <a:pt x="1077" y="2722"/>
                  </a:lnTo>
                  <a:lnTo>
                    <a:pt x="1023" y="2708"/>
                  </a:lnTo>
                  <a:lnTo>
                    <a:pt x="968" y="2693"/>
                  </a:lnTo>
                  <a:lnTo>
                    <a:pt x="915" y="2675"/>
                  </a:lnTo>
                  <a:lnTo>
                    <a:pt x="864" y="2655"/>
                  </a:lnTo>
                  <a:lnTo>
                    <a:pt x="812" y="2634"/>
                  </a:lnTo>
                  <a:lnTo>
                    <a:pt x="761" y="2609"/>
                  </a:lnTo>
                  <a:lnTo>
                    <a:pt x="710" y="2583"/>
                  </a:lnTo>
                  <a:lnTo>
                    <a:pt x="662" y="2555"/>
                  </a:lnTo>
                  <a:lnTo>
                    <a:pt x="615" y="2526"/>
                  </a:lnTo>
                  <a:lnTo>
                    <a:pt x="568" y="2494"/>
                  </a:lnTo>
                  <a:lnTo>
                    <a:pt x="523" y="2461"/>
                  </a:lnTo>
                  <a:lnTo>
                    <a:pt x="479" y="2426"/>
                  </a:lnTo>
                  <a:lnTo>
                    <a:pt x="436" y="2388"/>
                  </a:lnTo>
                  <a:lnTo>
                    <a:pt x="396" y="2350"/>
                  </a:lnTo>
                  <a:lnTo>
                    <a:pt x="356" y="2310"/>
                  </a:lnTo>
                  <a:lnTo>
                    <a:pt x="318" y="2267"/>
                  </a:lnTo>
                  <a:lnTo>
                    <a:pt x="282" y="2223"/>
                  </a:lnTo>
                  <a:lnTo>
                    <a:pt x="261" y="2197"/>
                  </a:lnTo>
                  <a:lnTo>
                    <a:pt x="242" y="2169"/>
                  </a:lnTo>
                  <a:lnTo>
                    <a:pt x="222" y="2142"/>
                  </a:lnTo>
                  <a:lnTo>
                    <a:pt x="203" y="2113"/>
                  </a:lnTo>
                  <a:lnTo>
                    <a:pt x="186" y="2084"/>
                  </a:lnTo>
                  <a:lnTo>
                    <a:pt x="170" y="2055"/>
                  </a:lnTo>
                  <a:lnTo>
                    <a:pt x="154" y="2025"/>
                  </a:lnTo>
                  <a:lnTo>
                    <a:pt x="139" y="1995"/>
                  </a:lnTo>
                  <a:lnTo>
                    <a:pt x="124" y="1964"/>
                  </a:lnTo>
                  <a:lnTo>
                    <a:pt x="110" y="1933"/>
                  </a:lnTo>
                  <a:lnTo>
                    <a:pt x="98" y="1902"/>
                  </a:lnTo>
                  <a:lnTo>
                    <a:pt x="86" y="1871"/>
                  </a:lnTo>
                  <a:lnTo>
                    <a:pt x="74" y="1839"/>
                  </a:lnTo>
                  <a:lnTo>
                    <a:pt x="64" y="1806"/>
                  </a:lnTo>
                  <a:lnTo>
                    <a:pt x="54" y="1774"/>
                  </a:lnTo>
                  <a:lnTo>
                    <a:pt x="45" y="1742"/>
                  </a:lnTo>
                  <a:lnTo>
                    <a:pt x="36" y="1710"/>
                  </a:lnTo>
                  <a:lnTo>
                    <a:pt x="30" y="1676"/>
                  </a:lnTo>
                  <a:lnTo>
                    <a:pt x="23" y="1643"/>
                  </a:lnTo>
                  <a:lnTo>
                    <a:pt x="17" y="1609"/>
                  </a:lnTo>
                  <a:lnTo>
                    <a:pt x="12" y="1576"/>
                  </a:lnTo>
                  <a:lnTo>
                    <a:pt x="9" y="1543"/>
                  </a:lnTo>
                  <a:lnTo>
                    <a:pt x="5" y="1509"/>
                  </a:lnTo>
                  <a:lnTo>
                    <a:pt x="3" y="1475"/>
                  </a:lnTo>
                  <a:lnTo>
                    <a:pt x="1" y="1441"/>
                  </a:lnTo>
                  <a:lnTo>
                    <a:pt x="0" y="1408"/>
                  </a:lnTo>
                  <a:lnTo>
                    <a:pt x="0" y="1373"/>
                  </a:lnTo>
                  <a:lnTo>
                    <a:pt x="1" y="1340"/>
                  </a:lnTo>
                  <a:lnTo>
                    <a:pt x="2" y="1305"/>
                  </a:lnTo>
                  <a:lnTo>
                    <a:pt x="4" y="1272"/>
                  </a:lnTo>
                  <a:lnTo>
                    <a:pt x="8" y="1238"/>
                  </a:lnTo>
                  <a:lnTo>
                    <a:pt x="12" y="1205"/>
                  </a:lnTo>
                  <a:lnTo>
                    <a:pt x="20" y="1149"/>
                  </a:lnTo>
                  <a:lnTo>
                    <a:pt x="32" y="1094"/>
                  </a:lnTo>
                  <a:lnTo>
                    <a:pt x="45" y="1039"/>
                  </a:lnTo>
                  <a:lnTo>
                    <a:pt x="59" y="985"/>
                  </a:lnTo>
                  <a:lnTo>
                    <a:pt x="77" y="932"/>
                  </a:lnTo>
                  <a:lnTo>
                    <a:pt x="96" y="879"/>
                  </a:lnTo>
                  <a:lnTo>
                    <a:pt x="118" y="827"/>
                  </a:lnTo>
                  <a:lnTo>
                    <a:pt x="142" y="775"/>
                  </a:lnTo>
                  <a:lnTo>
                    <a:pt x="168" y="726"/>
                  </a:lnTo>
                  <a:lnTo>
                    <a:pt x="195" y="676"/>
                  </a:lnTo>
                  <a:lnTo>
                    <a:pt x="210" y="652"/>
                  </a:lnTo>
                  <a:lnTo>
                    <a:pt x="227" y="628"/>
                  </a:lnTo>
                  <a:lnTo>
                    <a:pt x="242" y="604"/>
                  </a:lnTo>
                  <a:lnTo>
                    <a:pt x="258" y="581"/>
                  </a:lnTo>
                  <a:lnTo>
                    <a:pt x="275" y="557"/>
                  </a:lnTo>
                  <a:lnTo>
                    <a:pt x="292" y="534"/>
                  </a:lnTo>
                  <a:lnTo>
                    <a:pt x="311" y="513"/>
                  </a:lnTo>
                  <a:lnTo>
                    <a:pt x="328" y="491"/>
                  </a:lnTo>
                  <a:lnTo>
                    <a:pt x="347" y="469"/>
                  </a:lnTo>
                  <a:lnTo>
                    <a:pt x="367" y="447"/>
                  </a:lnTo>
                  <a:lnTo>
                    <a:pt x="387" y="426"/>
                  </a:lnTo>
                  <a:lnTo>
                    <a:pt x="406" y="405"/>
                  </a:lnTo>
                  <a:lnTo>
                    <a:pt x="406" y="405"/>
                  </a:lnTo>
                  <a:lnTo>
                    <a:pt x="432" y="381"/>
                  </a:lnTo>
                  <a:lnTo>
                    <a:pt x="457" y="357"/>
                  </a:lnTo>
                  <a:lnTo>
                    <a:pt x="482" y="334"/>
                  </a:lnTo>
                  <a:lnTo>
                    <a:pt x="509" y="312"/>
                  </a:lnTo>
                  <a:lnTo>
                    <a:pt x="535" y="290"/>
                  </a:lnTo>
                  <a:lnTo>
                    <a:pt x="563" y="269"/>
                  </a:lnTo>
                  <a:lnTo>
                    <a:pt x="589" y="250"/>
                  </a:lnTo>
                  <a:lnTo>
                    <a:pt x="617" y="230"/>
                  </a:lnTo>
                  <a:lnTo>
                    <a:pt x="646" y="212"/>
                  </a:lnTo>
                  <a:lnTo>
                    <a:pt x="674" y="195"/>
                  </a:lnTo>
                  <a:lnTo>
                    <a:pt x="702" y="177"/>
                  </a:lnTo>
                  <a:lnTo>
                    <a:pt x="732" y="161"/>
                  </a:lnTo>
                  <a:lnTo>
                    <a:pt x="761" y="146"/>
                  </a:lnTo>
                  <a:lnTo>
                    <a:pt x="791" y="131"/>
                  </a:lnTo>
                  <a:lnTo>
                    <a:pt x="821" y="117"/>
                  </a:lnTo>
                  <a:lnTo>
                    <a:pt x="852" y="104"/>
                  </a:lnTo>
                  <a:lnTo>
                    <a:pt x="883" y="91"/>
                  </a:lnTo>
                  <a:lnTo>
                    <a:pt x="914" y="79"/>
                  </a:lnTo>
                  <a:lnTo>
                    <a:pt x="945" y="69"/>
                  </a:lnTo>
                  <a:lnTo>
                    <a:pt x="978" y="59"/>
                  </a:lnTo>
                  <a:lnTo>
                    <a:pt x="1010" y="49"/>
                  </a:lnTo>
                  <a:lnTo>
                    <a:pt x="1043" y="41"/>
                  </a:lnTo>
                  <a:lnTo>
                    <a:pt x="1076" y="33"/>
                  </a:lnTo>
                  <a:lnTo>
                    <a:pt x="1109" y="26"/>
                  </a:lnTo>
                  <a:lnTo>
                    <a:pt x="1142" y="21"/>
                  </a:lnTo>
                  <a:lnTo>
                    <a:pt x="1177" y="15"/>
                  </a:lnTo>
                  <a:lnTo>
                    <a:pt x="1210" y="10"/>
                  </a:lnTo>
                  <a:lnTo>
                    <a:pt x="1245" y="7"/>
                  </a:lnTo>
                  <a:lnTo>
                    <a:pt x="1279" y="4"/>
                  </a:lnTo>
                  <a:lnTo>
                    <a:pt x="1315" y="2"/>
                  </a:lnTo>
                  <a:lnTo>
                    <a:pt x="1351" y="1"/>
                  </a:lnTo>
                  <a:lnTo>
                    <a:pt x="1387" y="0"/>
                  </a:lnTo>
                  <a:close/>
                  <a:moveTo>
                    <a:pt x="2327" y="446"/>
                  </a:moveTo>
                  <a:lnTo>
                    <a:pt x="2314" y="432"/>
                  </a:lnTo>
                  <a:lnTo>
                    <a:pt x="2319" y="447"/>
                  </a:lnTo>
                  <a:lnTo>
                    <a:pt x="2322" y="462"/>
                  </a:lnTo>
                  <a:lnTo>
                    <a:pt x="2325" y="477"/>
                  </a:lnTo>
                  <a:lnTo>
                    <a:pt x="2328" y="492"/>
                  </a:lnTo>
                  <a:lnTo>
                    <a:pt x="2352" y="511"/>
                  </a:lnTo>
                  <a:lnTo>
                    <a:pt x="2375" y="532"/>
                  </a:lnTo>
                  <a:lnTo>
                    <a:pt x="2398" y="553"/>
                  </a:lnTo>
                  <a:lnTo>
                    <a:pt x="2421" y="574"/>
                  </a:lnTo>
                  <a:lnTo>
                    <a:pt x="2443" y="596"/>
                  </a:lnTo>
                  <a:lnTo>
                    <a:pt x="2464" y="619"/>
                  </a:lnTo>
                  <a:lnTo>
                    <a:pt x="2484" y="642"/>
                  </a:lnTo>
                  <a:lnTo>
                    <a:pt x="2505" y="665"/>
                  </a:lnTo>
                  <a:lnTo>
                    <a:pt x="2486" y="636"/>
                  </a:lnTo>
                  <a:lnTo>
                    <a:pt x="2465" y="607"/>
                  </a:lnTo>
                  <a:lnTo>
                    <a:pt x="2444" y="578"/>
                  </a:lnTo>
                  <a:lnTo>
                    <a:pt x="2422" y="551"/>
                  </a:lnTo>
                  <a:lnTo>
                    <a:pt x="2399" y="523"/>
                  </a:lnTo>
                  <a:lnTo>
                    <a:pt x="2376" y="496"/>
                  </a:lnTo>
                  <a:lnTo>
                    <a:pt x="2352" y="470"/>
                  </a:lnTo>
                  <a:lnTo>
                    <a:pt x="2327" y="446"/>
                  </a:lnTo>
                  <a:close/>
                  <a:moveTo>
                    <a:pt x="2203" y="336"/>
                  </a:moveTo>
                  <a:lnTo>
                    <a:pt x="2181" y="320"/>
                  </a:lnTo>
                  <a:lnTo>
                    <a:pt x="2158" y="302"/>
                  </a:lnTo>
                  <a:lnTo>
                    <a:pt x="2134" y="284"/>
                  </a:lnTo>
                  <a:lnTo>
                    <a:pt x="2109" y="267"/>
                  </a:lnTo>
                  <a:lnTo>
                    <a:pt x="2084" y="250"/>
                  </a:lnTo>
                  <a:lnTo>
                    <a:pt x="2058" y="235"/>
                  </a:lnTo>
                  <a:lnTo>
                    <a:pt x="2033" y="222"/>
                  </a:lnTo>
                  <a:lnTo>
                    <a:pt x="2008" y="212"/>
                  </a:lnTo>
                  <a:lnTo>
                    <a:pt x="2018" y="223"/>
                  </a:lnTo>
                  <a:lnTo>
                    <a:pt x="2029" y="237"/>
                  </a:lnTo>
                  <a:lnTo>
                    <a:pt x="2039" y="251"/>
                  </a:lnTo>
                  <a:lnTo>
                    <a:pt x="2048" y="265"/>
                  </a:lnTo>
                  <a:lnTo>
                    <a:pt x="2055" y="280"/>
                  </a:lnTo>
                  <a:lnTo>
                    <a:pt x="2062" y="295"/>
                  </a:lnTo>
                  <a:lnTo>
                    <a:pt x="2067" y="310"/>
                  </a:lnTo>
                  <a:lnTo>
                    <a:pt x="2071" y="327"/>
                  </a:lnTo>
                  <a:lnTo>
                    <a:pt x="2097" y="340"/>
                  </a:lnTo>
                  <a:lnTo>
                    <a:pt x="2123" y="354"/>
                  </a:lnTo>
                  <a:lnTo>
                    <a:pt x="2148" y="369"/>
                  </a:lnTo>
                  <a:lnTo>
                    <a:pt x="2173" y="384"/>
                  </a:lnTo>
                  <a:lnTo>
                    <a:pt x="2199" y="400"/>
                  </a:lnTo>
                  <a:lnTo>
                    <a:pt x="2224" y="416"/>
                  </a:lnTo>
                  <a:lnTo>
                    <a:pt x="2248" y="432"/>
                  </a:lnTo>
                  <a:lnTo>
                    <a:pt x="2271" y="449"/>
                  </a:lnTo>
                  <a:lnTo>
                    <a:pt x="2266" y="434"/>
                  </a:lnTo>
                  <a:lnTo>
                    <a:pt x="2259" y="418"/>
                  </a:lnTo>
                  <a:lnTo>
                    <a:pt x="2252" y="403"/>
                  </a:lnTo>
                  <a:lnTo>
                    <a:pt x="2244" y="389"/>
                  </a:lnTo>
                  <a:lnTo>
                    <a:pt x="2234" y="375"/>
                  </a:lnTo>
                  <a:lnTo>
                    <a:pt x="2224" y="362"/>
                  </a:lnTo>
                  <a:lnTo>
                    <a:pt x="2214" y="349"/>
                  </a:lnTo>
                  <a:lnTo>
                    <a:pt x="2203" y="336"/>
                  </a:lnTo>
                  <a:close/>
                  <a:moveTo>
                    <a:pt x="740" y="223"/>
                  </a:moveTo>
                  <a:lnTo>
                    <a:pt x="702" y="244"/>
                  </a:lnTo>
                  <a:lnTo>
                    <a:pt x="663" y="266"/>
                  </a:lnTo>
                  <a:lnTo>
                    <a:pt x="645" y="278"/>
                  </a:lnTo>
                  <a:lnTo>
                    <a:pt x="625" y="290"/>
                  </a:lnTo>
                  <a:lnTo>
                    <a:pt x="607" y="303"/>
                  </a:lnTo>
                  <a:lnTo>
                    <a:pt x="589" y="316"/>
                  </a:lnTo>
                  <a:lnTo>
                    <a:pt x="572" y="329"/>
                  </a:lnTo>
                  <a:lnTo>
                    <a:pt x="556" y="344"/>
                  </a:lnTo>
                  <a:lnTo>
                    <a:pt x="541" y="359"/>
                  </a:lnTo>
                  <a:lnTo>
                    <a:pt x="526" y="377"/>
                  </a:lnTo>
                  <a:lnTo>
                    <a:pt x="513" y="394"/>
                  </a:lnTo>
                  <a:lnTo>
                    <a:pt x="503" y="412"/>
                  </a:lnTo>
                  <a:lnTo>
                    <a:pt x="493" y="432"/>
                  </a:lnTo>
                  <a:lnTo>
                    <a:pt x="486" y="453"/>
                  </a:lnTo>
                  <a:lnTo>
                    <a:pt x="509" y="435"/>
                  </a:lnTo>
                  <a:lnTo>
                    <a:pt x="534" y="419"/>
                  </a:lnTo>
                  <a:lnTo>
                    <a:pt x="558" y="402"/>
                  </a:lnTo>
                  <a:lnTo>
                    <a:pt x="584" y="387"/>
                  </a:lnTo>
                  <a:lnTo>
                    <a:pt x="609" y="371"/>
                  </a:lnTo>
                  <a:lnTo>
                    <a:pt x="634" y="356"/>
                  </a:lnTo>
                  <a:lnTo>
                    <a:pt x="660" y="342"/>
                  </a:lnTo>
                  <a:lnTo>
                    <a:pt x="686" y="328"/>
                  </a:lnTo>
                  <a:lnTo>
                    <a:pt x="690" y="313"/>
                  </a:lnTo>
                  <a:lnTo>
                    <a:pt x="694" y="299"/>
                  </a:lnTo>
                  <a:lnTo>
                    <a:pt x="700" y="286"/>
                  </a:lnTo>
                  <a:lnTo>
                    <a:pt x="707" y="272"/>
                  </a:lnTo>
                  <a:lnTo>
                    <a:pt x="714" y="259"/>
                  </a:lnTo>
                  <a:lnTo>
                    <a:pt x="722" y="246"/>
                  </a:lnTo>
                  <a:lnTo>
                    <a:pt x="731" y="235"/>
                  </a:lnTo>
                  <a:lnTo>
                    <a:pt x="740" y="223"/>
                  </a:lnTo>
                  <a:close/>
                  <a:moveTo>
                    <a:pt x="439" y="453"/>
                  </a:moveTo>
                  <a:lnTo>
                    <a:pt x="400" y="493"/>
                  </a:lnTo>
                  <a:lnTo>
                    <a:pt x="364" y="534"/>
                  </a:lnTo>
                  <a:lnTo>
                    <a:pt x="346" y="555"/>
                  </a:lnTo>
                  <a:lnTo>
                    <a:pt x="329" y="577"/>
                  </a:lnTo>
                  <a:lnTo>
                    <a:pt x="312" y="599"/>
                  </a:lnTo>
                  <a:lnTo>
                    <a:pt x="296" y="622"/>
                  </a:lnTo>
                  <a:lnTo>
                    <a:pt x="328" y="589"/>
                  </a:lnTo>
                  <a:lnTo>
                    <a:pt x="361" y="556"/>
                  </a:lnTo>
                  <a:lnTo>
                    <a:pt x="395" y="525"/>
                  </a:lnTo>
                  <a:lnTo>
                    <a:pt x="429" y="496"/>
                  </a:lnTo>
                  <a:lnTo>
                    <a:pt x="432" y="485"/>
                  </a:lnTo>
                  <a:lnTo>
                    <a:pt x="433" y="475"/>
                  </a:lnTo>
                  <a:lnTo>
                    <a:pt x="435" y="463"/>
                  </a:lnTo>
                  <a:lnTo>
                    <a:pt x="439" y="453"/>
                  </a:lnTo>
                  <a:close/>
                  <a:moveTo>
                    <a:pt x="57" y="1450"/>
                  </a:moveTo>
                  <a:lnTo>
                    <a:pt x="65" y="1478"/>
                  </a:lnTo>
                  <a:lnTo>
                    <a:pt x="74" y="1506"/>
                  </a:lnTo>
                  <a:lnTo>
                    <a:pt x="87" y="1531"/>
                  </a:lnTo>
                  <a:lnTo>
                    <a:pt x="100" y="1556"/>
                  </a:lnTo>
                  <a:lnTo>
                    <a:pt x="115" y="1581"/>
                  </a:lnTo>
                  <a:lnTo>
                    <a:pt x="131" y="1605"/>
                  </a:lnTo>
                  <a:lnTo>
                    <a:pt x="149" y="1627"/>
                  </a:lnTo>
                  <a:lnTo>
                    <a:pt x="168" y="1649"/>
                  </a:lnTo>
                  <a:lnTo>
                    <a:pt x="171" y="1620"/>
                  </a:lnTo>
                  <a:lnTo>
                    <a:pt x="175" y="1592"/>
                  </a:lnTo>
                  <a:lnTo>
                    <a:pt x="179" y="1563"/>
                  </a:lnTo>
                  <a:lnTo>
                    <a:pt x="184" y="1536"/>
                  </a:lnTo>
                  <a:lnTo>
                    <a:pt x="190" y="1508"/>
                  </a:lnTo>
                  <a:lnTo>
                    <a:pt x="195" y="1480"/>
                  </a:lnTo>
                  <a:lnTo>
                    <a:pt x="202" y="1453"/>
                  </a:lnTo>
                  <a:lnTo>
                    <a:pt x="210" y="1425"/>
                  </a:lnTo>
                  <a:lnTo>
                    <a:pt x="227" y="1371"/>
                  </a:lnTo>
                  <a:lnTo>
                    <a:pt x="245" y="1317"/>
                  </a:lnTo>
                  <a:lnTo>
                    <a:pt x="266" y="1264"/>
                  </a:lnTo>
                  <a:lnTo>
                    <a:pt x="288" y="1211"/>
                  </a:lnTo>
                  <a:lnTo>
                    <a:pt x="273" y="1197"/>
                  </a:lnTo>
                  <a:lnTo>
                    <a:pt x="259" y="1182"/>
                  </a:lnTo>
                  <a:lnTo>
                    <a:pt x="246" y="1167"/>
                  </a:lnTo>
                  <a:lnTo>
                    <a:pt x="233" y="1151"/>
                  </a:lnTo>
                  <a:lnTo>
                    <a:pt x="222" y="1135"/>
                  </a:lnTo>
                  <a:lnTo>
                    <a:pt x="210" y="1119"/>
                  </a:lnTo>
                  <a:lnTo>
                    <a:pt x="199" y="1101"/>
                  </a:lnTo>
                  <a:lnTo>
                    <a:pt x="190" y="1084"/>
                  </a:lnTo>
                  <a:lnTo>
                    <a:pt x="180" y="1067"/>
                  </a:lnTo>
                  <a:lnTo>
                    <a:pt x="171" y="1048"/>
                  </a:lnTo>
                  <a:lnTo>
                    <a:pt x="163" y="1030"/>
                  </a:lnTo>
                  <a:lnTo>
                    <a:pt x="156" y="1011"/>
                  </a:lnTo>
                  <a:lnTo>
                    <a:pt x="151" y="992"/>
                  </a:lnTo>
                  <a:lnTo>
                    <a:pt x="145" y="972"/>
                  </a:lnTo>
                  <a:lnTo>
                    <a:pt x="141" y="953"/>
                  </a:lnTo>
                  <a:lnTo>
                    <a:pt x="138" y="933"/>
                  </a:lnTo>
                  <a:lnTo>
                    <a:pt x="125" y="963"/>
                  </a:lnTo>
                  <a:lnTo>
                    <a:pt x="114" y="993"/>
                  </a:lnTo>
                  <a:lnTo>
                    <a:pt x="103" y="1024"/>
                  </a:lnTo>
                  <a:lnTo>
                    <a:pt x="94" y="1056"/>
                  </a:lnTo>
                  <a:lnTo>
                    <a:pt x="86" y="1089"/>
                  </a:lnTo>
                  <a:lnTo>
                    <a:pt x="79" y="1121"/>
                  </a:lnTo>
                  <a:lnTo>
                    <a:pt x="72" y="1154"/>
                  </a:lnTo>
                  <a:lnTo>
                    <a:pt x="68" y="1187"/>
                  </a:lnTo>
                  <a:lnTo>
                    <a:pt x="63" y="1220"/>
                  </a:lnTo>
                  <a:lnTo>
                    <a:pt x="59" y="1253"/>
                  </a:lnTo>
                  <a:lnTo>
                    <a:pt x="57" y="1287"/>
                  </a:lnTo>
                  <a:lnTo>
                    <a:pt x="56" y="1320"/>
                  </a:lnTo>
                  <a:lnTo>
                    <a:pt x="55" y="1354"/>
                  </a:lnTo>
                  <a:lnTo>
                    <a:pt x="55" y="1386"/>
                  </a:lnTo>
                  <a:lnTo>
                    <a:pt x="55" y="1418"/>
                  </a:lnTo>
                  <a:lnTo>
                    <a:pt x="57" y="1450"/>
                  </a:lnTo>
                  <a:close/>
                  <a:moveTo>
                    <a:pt x="71" y="1586"/>
                  </a:moveTo>
                  <a:lnTo>
                    <a:pt x="79" y="1636"/>
                  </a:lnTo>
                  <a:lnTo>
                    <a:pt x="91" y="1685"/>
                  </a:lnTo>
                  <a:lnTo>
                    <a:pt x="102" y="1734"/>
                  </a:lnTo>
                  <a:lnTo>
                    <a:pt x="117" y="1781"/>
                  </a:lnTo>
                  <a:lnTo>
                    <a:pt x="133" y="1828"/>
                  </a:lnTo>
                  <a:lnTo>
                    <a:pt x="151" y="1875"/>
                  </a:lnTo>
                  <a:lnTo>
                    <a:pt x="170" y="1922"/>
                  </a:lnTo>
                  <a:lnTo>
                    <a:pt x="192" y="1967"/>
                  </a:lnTo>
                  <a:lnTo>
                    <a:pt x="184" y="1934"/>
                  </a:lnTo>
                  <a:lnTo>
                    <a:pt x="178" y="1901"/>
                  </a:lnTo>
                  <a:lnTo>
                    <a:pt x="172" y="1869"/>
                  </a:lnTo>
                  <a:lnTo>
                    <a:pt x="169" y="1835"/>
                  </a:lnTo>
                  <a:lnTo>
                    <a:pt x="165" y="1802"/>
                  </a:lnTo>
                  <a:lnTo>
                    <a:pt x="164" y="1768"/>
                  </a:lnTo>
                  <a:lnTo>
                    <a:pt x="164" y="1735"/>
                  </a:lnTo>
                  <a:lnTo>
                    <a:pt x="164" y="1702"/>
                  </a:lnTo>
                  <a:lnTo>
                    <a:pt x="139" y="1675"/>
                  </a:lnTo>
                  <a:lnTo>
                    <a:pt x="114" y="1647"/>
                  </a:lnTo>
                  <a:lnTo>
                    <a:pt x="102" y="1632"/>
                  </a:lnTo>
                  <a:lnTo>
                    <a:pt x="92" y="1617"/>
                  </a:lnTo>
                  <a:lnTo>
                    <a:pt x="80" y="1602"/>
                  </a:lnTo>
                  <a:lnTo>
                    <a:pt x="71" y="1586"/>
                  </a:lnTo>
                  <a:close/>
                  <a:moveTo>
                    <a:pt x="965" y="2638"/>
                  </a:moveTo>
                  <a:lnTo>
                    <a:pt x="1016" y="2654"/>
                  </a:lnTo>
                  <a:lnTo>
                    <a:pt x="1065" y="2668"/>
                  </a:lnTo>
                  <a:lnTo>
                    <a:pt x="1117" y="2680"/>
                  </a:lnTo>
                  <a:lnTo>
                    <a:pt x="1168" y="2689"/>
                  </a:lnTo>
                  <a:lnTo>
                    <a:pt x="1220" y="2696"/>
                  </a:lnTo>
                  <a:lnTo>
                    <a:pt x="1271" y="2702"/>
                  </a:lnTo>
                  <a:lnTo>
                    <a:pt x="1323" y="2705"/>
                  </a:lnTo>
                  <a:lnTo>
                    <a:pt x="1375" y="2706"/>
                  </a:lnTo>
                  <a:lnTo>
                    <a:pt x="1375" y="2703"/>
                  </a:lnTo>
                  <a:lnTo>
                    <a:pt x="1324" y="2700"/>
                  </a:lnTo>
                  <a:lnTo>
                    <a:pt x="1273" y="2697"/>
                  </a:lnTo>
                  <a:lnTo>
                    <a:pt x="1222" y="2692"/>
                  </a:lnTo>
                  <a:lnTo>
                    <a:pt x="1171" y="2685"/>
                  </a:lnTo>
                  <a:lnTo>
                    <a:pt x="1120" y="2676"/>
                  </a:lnTo>
                  <a:lnTo>
                    <a:pt x="1070" y="2666"/>
                  </a:lnTo>
                  <a:lnTo>
                    <a:pt x="1020" y="2654"/>
                  </a:lnTo>
                  <a:lnTo>
                    <a:pt x="971" y="2640"/>
                  </a:lnTo>
                  <a:lnTo>
                    <a:pt x="971" y="2640"/>
                  </a:lnTo>
                  <a:lnTo>
                    <a:pt x="965" y="2638"/>
                  </a:lnTo>
                  <a:close/>
                  <a:moveTo>
                    <a:pt x="1414" y="2706"/>
                  </a:moveTo>
                  <a:lnTo>
                    <a:pt x="1437" y="2706"/>
                  </a:lnTo>
                  <a:lnTo>
                    <a:pt x="1460" y="2705"/>
                  </a:lnTo>
                  <a:lnTo>
                    <a:pt x="1483" y="2703"/>
                  </a:lnTo>
                  <a:lnTo>
                    <a:pt x="1505" y="2702"/>
                  </a:lnTo>
                  <a:lnTo>
                    <a:pt x="1528" y="2699"/>
                  </a:lnTo>
                  <a:lnTo>
                    <a:pt x="1551" y="2697"/>
                  </a:lnTo>
                  <a:lnTo>
                    <a:pt x="1573" y="2693"/>
                  </a:lnTo>
                  <a:lnTo>
                    <a:pt x="1595" y="2690"/>
                  </a:lnTo>
                  <a:lnTo>
                    <a:pt x="1573" y="2693"/>
                  </a:lnTo>
                  <a:lnTo>
                    <a:pt x="1550" y="2696"/>
                  </a:lnTo>
                  <a:lnTo>
                    <a:pt x="1527" y="2698"/>
                  </a:lnTo>
                  <a:lnTo>
                    <a:pt x="1505" y="2699"/>
                  </a:lnTo>
                  <a:lnTo>
                    <a:pt x="1482" y="2700"/>
                  </a:lnTo>
                  <a:lnTo>
                    <a:pt x="1459" y="2702"/>
                  </a:lnTo>
                  <a:lnTo>
                    <a:pt x="1437" y="2703"/>
                  </a:lnTo>
                  <a:lnTo>
                    <a:pt x="1414" y="2703"/>
                  </a:lnTo>
                  <a:lnTo>
                    <a:pt x="1414" y="2706"/>
                  </a:lnTo>
                  <a:close/>
                  <a:moveTo>
                    <a:pt x="2567" y="1991"/>
                  </a:moveTo>
                  <a:lnTo>
                    <a:pt x="2580" y="1968"/>
                  </a:lnTo>
                  <a:lnTo>
                    <a:pt x="2593" y="1942"/>
                  </a:lnTo>
                  <a:lnTo>
                    <a:pt x="2607" y="1916"/>
                  </a:lnTo>
                  <a:lnTo>
                    <a:pt x="2619" y="1888"/>
                  </a:lnTo>
                  <a:lnTo>
                    <a:pt x="2632" y="1861"/>
                  </a:lnTo>
                  <a:lnTo>
                    <a:pt x="2642" y="1833"/>
                  </a:lnTo>
                  <a:lnTo>
                    <a:pt x="2647" y="1819"/>
                  </a:lnTo>
                  <a:lnTo>
                    <a:pt x="2650" y="1806"/>
                  </a:lnTo>
                  <a:lnTo>
                    <a:pt x="2653" y="1794"/>
                  </a:lnTo>
                  <a:lnTo>
                    <a:pt x="2655" y="1781"/>
                  </a:lnTo>
                  <a:lnTo>
                    <a:pt x="2655" y="1781"/>
                  </a:lnTo>
                  <a:lnTo>
                    <a:pt x="2655" y="1781"/>
                  </a:lnTo>
                  <a:lnTo>
                    <a:pt x="2655" y="1781"/>
                  </a:lnTo>
                  <a:lnTo>
                    <a:pt x="2655" y="1780"/>
                  </a:lnTo>
                  <a:lnTo>
                    <a:pt x="2655" y="1780"/>
                  </a:lnTo>
                  <a:lnTo>
                    <a:pt x="2655" y="1780"/>
                  </a:lnTo>
                  <a:lnTo>
                    <a:pt x="2656" y="1770"/>
                  </a:lnTo>
                  <a:lnTo>
                    <a:pt x="2658" y="1770"/>
                  </a:lnTo>
                  <a:lnTo>
                    <a:pt x="2666" y="1743"/>
                  </a:lnTo>
                  <a:lnTo>
                    <a:pt x="2675" y="1717"/>
                  </a:lnTo>
                  <a:lnTo>
                    <a:pt x="2681" y="1689"/>
                  </a:lnTo>
                  <a:lnTo>
                    <a:pt x="2687" y="1662"/>
                  </a:lnTo>
                  <a:lnTo>
                    <a:pt x="2693" y="1635"/>
                  </a:lnTo>
                  <a:lnTo>
                    <a:pt x="2698" y="1608"/>
                  </a:lnTo>
                  <a:lnTo>
                    <a:pt x="2702" y="1581"/>
                  </a:lnTo>
                  <a:lnTo>
                    <a:pt x="2706" y="1553"/>
                  </a:lnTo>
                  <a:lnTo>
                    <a:pt x="2695" y="1572"/>
                  </a:lnTo>
                  <a:lnTo>
                    <a:pt x="2683" y="1592"/>
                  </a:lnTo>
                  <a:lnTo>
                    <a:pt x="2670" y="1611"/>
                  </a:lnTo>
                  <a:lnTo>
                    <a:pt x="2656" y="1629"/>
                  </a:lnTo>
                  <a:lnTo>
                    <a:pt x="2642" y="1646"/>
                  </a:lnTo>
                  <a:lnTo>
                    <a:pt x="2627" y="1662"/>
                  </a:lnTo>
                  <a:lnTo>
                    <a:pt x="2611" y="1678"/>
                  </a:lnTo>
                  <a:lnTo>
                    <a:pt x="2595" y="1695"/>
                  </a:lnTo>
                  <a:lnTo>
                    <a:pt x="2596" y="1734"/>
                  </a:lnTo>
                  <a:lnTo>
                    <a:pt x="2596" y="1774"/>
                  </a:lnTo>
                  <a:lnTo>
                    <a:pt x="2594" y="1813"/>
                  </a:lnTo>
                  <a:lnTo>
                    <a:pt x="2590" y="1852"/>
                  </a:lnTo>
                  <a:lnTo>
                    <a:pt x="2586" y="1892"/>
                  </a:lnTo>
                  <a:lnTo>
                    <a:pt x="2579" y="1931"/>
                  </a:lnTo>
                  <a:lnTo>
                    <a:pt x="2570" y="1970"/>
                  </a:lnTo>
                  <a:lnTo>
                    <a:pt x="2558" y="2008"/>
                  </a:lnTo>
                  <a:lnTo>
                    <a:pt x="2563" y="1998"/>
                  </a:lnTo>
                  <a:lnTo>
                    <a:pt x="2567" y="1991"/>
                  </a:lnTo>
                  <a:close/>
                  <a:moveTo>
                    <a:pt x="2717" y="1381"/>
                  </a:moveTo>
                  <a:lnTo>
                    <a:pt x="2717" y="1351"/>
                  </a:lnTo>
                  <a:lnTo>
                    <a:pt x="2716" y="1321"/>
                  </a:lnTo>
                  <a:lnTo>
                    <a:pt x="2715" y="1293"/>
                  </a:lnTo>
                  <a:lnTo>
                    <a:pt x="2713" y="1264"/>
                  </a:lnTo>
                  <a:lnTo>
                    <a:pt x="2709" y="1235"/>
                  </a:lnTo>
                  <a:lnTo>
                    <a:pt x="2706" y="1206"/>
                  </a:lnTo>
                  <a:lnTo>
                    <a:pt x="2701" y="1177"/>
                  </a:lnTo>
                  <a:lnTo>
                    <a:pt x="2695" y="1149"/>
                  </a:lnTo>
                  <a:lnTo>
                    <a:pt x="2690" y="1120"/>
                  </a:lnTo>
                  <a:lnTo>
                    <a:pt x="2683" y="1092"/>
                  </a:lnTo>
                  <a:lnTo>
                    <a:pt x="2676" y="1064"/>
                  </a:lnTo>
                  <a:lnTo>
                    <a:pt x="2666" y="1037"/>
                  </a:lnTo>
                  <a:lnTo>
                    <a:pt x="2657" y="1009"/>
                  </a:lnTo>
                  <a:lnTo>
                    <a:pt x="2648" y="981"/>
                  </a:lnTo>
                  <a:lnTo>
                    <a:pt x="2637" y="954"/>
                  </a:lnTo>
                  <a:lnTo>
                    <a:pt x="2625" y="926"/>
                  </a:lnTo>
                  <a:lnTo>
                    <a:pt x="2622" y="947"/>
                  </a:lnTo>
                  <a:lnTo>
                    <a:pt x="2617" y="968"/>
                  </a:lnTo>
                  <a:lnTo>
                    <a:pt x="2612" y="988"/>
                  </a:lnTo>
                  <a:lnTo>
                    <a:pt x="2605" y="1008"/>
                  </a:lnTo>
                  <a:lnTo>
                    <a:pt x="2599" y="1028"/>
                  </a:lnTo>
                  <a:lnTo>
                    <a:pt x="2590" y="1046"/>
                  </a:lnTo>
                  <a:lnTo>
                    <a:pt x="2582" y="1064"/>
                  </a:lnTo>
                  <a:lnTo>
                    <a:pt x="2572" y="1083"/>
                  </a:lnTo>
                  <a:lnTo>
                    <a:pt x="2563" y="1101"/>
                  </a:lnTo>
                  <a:lnTo>
                    <a:pt x="2551" y="1119"/>
                  </a:lnTo>
                  <a:lnTo>
                    <a:pt x="2540" y="1136"/>
                  </a:lnTo>
                  <a:lnTo>
                    <a:pt x="2527" y="1152"/>
                  </a:lnTo>
                  <a:lnTo>
                    <a:pt x="2514" y="1168"/>
                  </a:lnTo>
                  <a:lnTo>
                    <a:pt x="2501" y="1184"/>
                  </a:lnTo>
                  <a:lnTo>
                    <a:pt x="2487" y="1199"/>
                  </a:lnTo>
                  <a:lnTo>
                    <a:pt x="2472" y="1214"/>
                  </a:lnTo>
                  <a:lnTo>
                    <a:pt x="2494" y="1266"/>
                  </a:lnTo>
                  <a:lnTo>
                    <a:pt x="2514" y="1318"/>
                  </a:lnTo>
                  <a:lnTo>
                    <a:pt x="2532" y="1371"/>
                  </a:lnTo>
                  <a:lnTo>
                    <a:pt x="2548" y="1424"/>
                  </a:lnTo>
                  <a:lnTo>
                    <a:pt x="2563" y="1478"/>
                  </a:lnTo>
                  <a:lnTo>
                    <a:pt x="2574" y="1532"/>
                  </a:lnTo>
                  <a:lnTo>
                    <a:pt x="2580" y="1560"/>
                  </a:lnTo>
                  <a:lnTo>
                    <a:pt x="2584" y="1587"/>
                  </a:lnTo>
                  <a:lnTo>
                    <a:pt x="2588" y="1615"/>
                  </a:lnTo>
                  <a:lnTo>
                    <a:pt x="2590" y="1643"/>
                  </a:lnTo>
                  <a:lnTo>
                    <a:pt x="2603" y="1629"/>
                  </a:lnTo>
                  <a:lnTo>
                    <a:pt x="2616" y="1615"/>
                  </a:lnTo>
                  <a:lnTo>
                    <a:pt x="2627" y="1600"/>
                  </a:lnTo>
                  <a:lnTo>
                    <a:pt x="2639" y="1585"/>
                  </a:lnTo>
                  <a:lnTo>
                    <a:pt x="2649" y="1570"/>
                  </a:lnTo>
                  <a:lnTo>
                    <a:pt x="2658" y="1554"/>
                  </a:lnTo>
                  <a:lnTo>
                    <a:pt x="2668" y="1538"/>
                  </a:lnTo>
                  <a:lnTo>
                    <a:pt x="2677" y="1522"/>
                  </a:lnTo>
                  <a:lnTo>
                    <a:pt x="2684" y="1506"/>
                  </a:lnTo>
                  <a:lnTo>
                    <a:pt x="2692" y="1488"/>
                  </a:lnTo>
                  <a:lnTo>
                    <a:pt x="2698" y="1471"/>
                  </a:lnTo>
                  <a:lnTo>
                    <a:pt x="2703" y="1454"/>
                  </a:lnTo>
                  <a:lnTo>
                    <a:pt x="2708" y="1437"/>
                  </a:lnTo>
                  <a:lnTo>
                    <a:pt x="2711" y="1418"/>
                  </a:lnTo>
                  <a:lnTo>
                    <a:pt x="2715" y="1400"/>
                  </a:lnTo>
                  <a:lnTo>
                    <a:pt x="2717" y="1381"/>
                  </a:lnTo>
                  <a:close/>
                  <a:moveTo>
                    <a:pt x="1466" y="134"/>
                  </a:moveTo>
                  <a:lnTo>
                    <a:pt x="1474" y="135"/>
                  </a:lnTo>
                  <a:lnTo>
                    <a:pt x="1493" y="134"/>
                  </a:lnTo>
                  <a:lnTo>
                    <a:pt x="1516" y="131"/>
                  </a:lnTo>
                  <a:lnTo>
                    <a:pt x="1542" y="128"/>
                  </a:lnTo>
                  <a:lnTo>
                    <a:pt x="1594" y="122"/>
                  </a:lnTo>
                  <a:lnTo>
                    <a:pt x="1626" y="119"/>
                  </a:lnTo>
                  <a:lnTo>
                    <a:pt x="1616" y="113"/>
                  </a:lnTo>
                  <a:lnTo>
                    <a:pt x="1605" y="108"/>
                  </a:lnTo>
                  <a:lnTo>
                    <a:pt x="1595" y="105"/>
                  </a:lnTo>
                  <a:lnTo>
                    <a:pt x="1585" y="101"/>
                  </a:lnTo>
                  <a:lnTo>
                    <a:pt x="1574" y="99"/>
                  </a:lnTo>
                  <a:lnTo>
                    <a:pt x="1564" y="98"/>
                  </a:lnTo>
                  <a:lnTo>
                    <a:pt x="1554" y="97"/>
                  </a:lnTo>
                  <a:lnTo>
                    <a:pt x="1543" y="97"/>
                  </a:lnTo>
                  <a:lnTo>
                    <a:pt x="1533" y="98"/>
                  </a:lnTo>
                  <a:lnTo>
                    <a:pt x="1523" y="100"/>
                  </a:lnTo>
                  <a:lnTo>
                    <a:pt x="1513" y="104"/>
                  </a:lnTo>
                  <a:lnTo>
                    <a:pt x="1503" y="107"/>
                  </a:lnTo>
                  <a:lnTo>
                    <a:pt x="1494" y="112"/>
                  </a:lnTo>
                  <a:lnTo>
                    <a:pt x="1483" y="119"/>
                  </a:lnTo>
                  <a:lnTo>
                    <a:pt x="1474" y="125"/>
                  </a:lnTo>
                  <a:lnTo>
                    <a:pt x="1466" y="134"/>
                  </a:lnTo>
                  <a:close/>
                  <a:moveTo>
                    <a:pt x="1669" y="98"/>
                  </a:moveTo>
                  <a:lnTo>
                    <a:pt x="1683" y="106"/>
                  </a:lnTo>
                  <a:lnTo>
                    <a:pt x="1696" y="112"/>
                  </a:lnTo>
                  <a:lnTo>
                    <a:pt x="1710" y="115"/>
                  </a:lnTo>
                  <a:lnTo>
                    <a:pt x="1724" y="119"/>
                  </a:lnTo>
                  <a:lnTo>
                    <a:pt x="1753" y="121"/>
                  </a:lnTo>
                  <a:lnTo>
                    <a:pt x="1784" y="123"/>
                  </a:lnTo>
                  <a:lnTo>
                    <a:pt x="1755" y="116"/>
                  </a:lnTo>
                  <a:lnTo>
                    <a:pt x="1726" y="109"/>
                  </a:lnTo>
                  <a:lnTo>
                    <a:pt x="1698" y="104"/>
                  </a:lnTo>
                  <a:lnTo>
                    <a:pt x="1669" y="98"/>
                  </a:lnTo>
                  <a:close/>
                  <a:moveTo>
                    <a:pt x="1563" y="161"/>
                  </a:moveTo>
                  <a:lnTo>
                    <a:pt x="1600" y="166"/>
                  </a:lnTo>
                  <a:lnTo>
                    <a:pt x="1635" y="172"/>
                  </a:lnTo>
                  <a:lnTo>
                    <a:pt x="1671" y="180"/>
                  </a:lnTo>
                  <a:lnTo>
                    <a:pt x="1707" y="188"/>
                  </a:lnTo>
                  <a:lnTo>
                    <a:pt x="1701" y="178"/>
                  </a:lnTo>
                  <a:lnTo>
                    <a:pt x="1694" y="172"/>
                  </a:lnTo>
                  <a:lnTo>
                    <a:pt x="1687" y="165"/>
                  </a:lnTo>
                  <a:lnTo>
                    <a:pt x="1679" y="160"/>
                  </a:lnTo>
                  <a:lnTo>
                    <a:pt x="1671" y="157"/>
                  </a:lnTo>
                  <a:lnTo>
                    <a:pt x="1663" y="154"/>
                  </a:lnTo>
                  <a:lnTo>
                    <a:pt x="1654" y="153"/>
                  </a:lnTo>
                  <a:lnTo>
                    <a:pt x="1645" y="152"/>
                  </a:lnTo>
                  <a:lnTo>
                    <a:pt x="1604" y="155"/>
                  </a:lnTo>
                  <a:lnTo>
                    <a:pt x="1563" y="161"/>
                  </a:lnTo>
                  <a:close/>
                  <a:moveTo>
                    <a:pt x="1913" y="184"/>
                  </a:moveTo>
                  <a:lnTo>
                    <a:pt x="1891" y="180"/>
                  </a:lnTo>
                  <a:lnTo>
                    <a:pt x="1869" y="175"/>
                  </a:lnTo>
                  <a:lnTo>
                    <a:pt x="1846" y="170"/>
                  </a:lnTo>
                  <a:lnTo>
                    <a:pt x="1824" y="167"/>
                  </a:lnTo>
                  <a:lnTo>
                    <a:pt x="1802" y="165"/>
                  </a:lnTo>
                  <a:lnTo>
                    <a:pt x="1779" y="162"/>
                  </a:lnTo>
                  <a:lnTo>
                    <a:pt x="1756" y="160"/>
                  </a:lnTo>
                  <a:lnTo>
                    <a:pt x="1735" y="159"/>
                  </a:lnTo>
                  <a:lnTo>
                    <a:pt x="1740" y="168"/>
                  </a:lnTo>
                  <a:lnTo>
                    <a:pt x="1746" y="178"/>
                  </a:lnTo>
                  <a:lnTo>
                    <a:pt x="1751" y="190"/>
                  </a:lnTo>
                  <a:lnTo>
                    <a:pt x="1754" y="200"/>
                  </a:lnTo>
                  <a:lnTo>
                    <a:pt x="1789" y="211"/>
                  </a:lnTo>
                  <a:lnTo>
                    <a:pt x="1822" y="222"/>
                  </a:lnTo>
                  <a:lnTo>
                    <a:pt x="1857" y="234"/>
                  </a:lnTo>
                  <a:lnTo>
                    <a:pt x="1890" y="246"/>
                  </a:lnTo>
                  <a:lnTo>
                    <a:pt x="1925" y="259"/>
                  </a:lnTo>
                  <a:lnTo>
                    <a:pt x="1957" y="273"/>
                  </a:lnTo>
                  <a:lnTo>
                    <a:pt x="1990" y="288"/>
                  </a:lnTo>
                  <a:lnTo>
                    <a:pt x="2023" y="303"/>
                  </a:lnTo>
                  <a:lnTo>
                    <a:pt x="2014" y="284"/>
                  </a:lnTo>
                  <a:lnTo>
                    <a:pt x="2003" y="267"/>
                  </a:lnTo>
                  <a:lnTo>
                    <a:pt x="1990" y="251"/>
                  </a:lnTo>
                  <a:lnTo>
                    <a:pt x="1976" y="236"/>
                  </a:lnTo>
                  <a:lnTo>
                    <a:pt x="1963" y="221"/>
                  </a:lnTo>
                  <a:lnTo>
                    <a:pt x="1946" y="208"/>
                  </a:lnTo>
                  <a:lnTo>
                    <a:pt x="1930" y="196"/>
                  </a:lnTo>
                  <a:lnTo>
                    <a:pt x="1913" y="184"/>
                  </a:lnTo>
                  <a:close/>
                  <a:moveTo>
                    <a:pt x="1520" y="197"/>
                  </a:moveTo>
                  <a:lnTo>
                    <a:pt x="1521" y="199"/>
                  </a:lnTo>
                  <a:lnTo>
                    <a:pt x="1521" y="203"/>
                  </a:lnTo>
                  <a:lnTo>
                    <a:pt x="1543" y="212"/>
                  </a:lnTo>
                  <a:lnTo>
                    <a:pt x="1566" y="221"/>
                  </a:lnTo>
                  <a:lnTo>
                    <a:pt x="1588" y="231"/>
                  </a:lnTo>
                  <a:lnTo>
                    <a:pt x="1610" y="242"/>
                  </a:lnTo>
                  <a:lnTo>
                    <a:pt x="1652" y="264"/>
                  </a:lnTo>
                  <a:lnTo>
                    <a:pt x="1693" y="289"/>
                  </a:lnTo>
                  <a:lnTo>
                    <a:pt x="1699" y="282"/>
                  </a:lnTo>
                  <a:lnTo>
                    <a:pt x="1703" y="276"/>
                  </a:lnTo>
                  <a:lnTo>
                    <a:pt x="1707" y="269"/>
                  </a:lnTo>
                  <a:lnTo>
                    <a:pt x="1710" y="261"/>
                  </a:lnTo>
                  <a:lnTo>
                    <a:pt x="1714" y="254"/>
                  </a:lnTo>
                  <a:lnTo>
                    <a:pt x="1716" y="248"/>
                  </a:lnTo>
                  <a:lnTo>
                    <a:pt x="1717" y="240"/>
                  </a:lnTo>
                  <a:lnTo>
                    <a:pt x="1718" y="231"/>
                  </a:lnTo>
                  <a:lnTo>
                    <a:pt x="1694" y="225"/>
                  </a:lnTo>
                  <a:lnTo>
                    <a:pt x="1670" y="219"/>
                  </a:lnTo>
                  <a:lnTo>
                    <a:pt x="1645" y="213"/>
                  </a:lnTo>
                  <a:lnTo>
                    <a:pt x="1620" y="208"/>
                  </a:lnTo>
                  <a:lnTo>
                    <a:pt x="1595" y="204"/>
                  </a:lnTo>
                  <a:lnTo>
                    <a:pt x="1571" y="200"/>
                  </a:lnTo>
                  <a:lnTo>
                    <a:pt x="1546" y="198"/>
                  </a:lnTo>
                  <a:lnTo>
                    <a:pt x="1520" y="197"/>
                  </a:lnTo>
                  <a:close/>
                  <a:moveTo>
                    <a:pt x="2590" y="858"/>
                  </a:moveTo>
                  <a:lnTo>
                    <a:pt x="2578" y="836"/>
                  </a:lnTo>
                  <a:lnTo>
                    <a:pt x="2565" y="813"/>
                  </a:lnTo>
                  <a:lnTo>
                    <a:pt x="2551" y="793"/>
                  </a:lnTo>
                  <a:lnTo>
                    <a:pt x="2536" y="771"/>
                  </a:lnTo>
                  <a:lnTo>
                    <a:pt x="2521" y="750"/>
                  </a:lnTo>
                  <a:lnTo>
                    <a:pt x="2506" y="729"/>
                  </a:lnTo>
                  <a:lnTo>
                    <a:pt x="2491" y="710"/>
                  </a:lnTo>
                  <a:lnTo>
                    <a:pt x="2475" y="690"/>
                  </a:lnTo>
                  <a:lnTo>
                    <a:pt x="2441" y="651"/>
                  </a:lnTo>
                  <a:lnTo>
                    <a:pt x="2406" y="614"/>
                  </a:lnTo>
                  <a:lnTo>
                    <a:pt x="2369" y="578"/>
                  </a:lnTo>
                  <a:lnTo>
                    <a:pt x="2330" y="545"/>
                  </a:lnTo>
                  <a:lnTo>
                    <a:pt x="2329" y="562"/>
                  </a:lnTo>
                  <a:lnTo>
                    <a:pt x="2327" y="578"/>
                  </a:lnTo>
                  <a:lnTo>
                    <a:pt x="2323" y="594"/>
                  </a:lnTo>
                  <a:lnTo>
                    <a:pt x="2320" y="610"/>
                  </a:lnTo>
                  <a:lnTo>
                    <a:pt x="2314" y="627"/>
                  </a:lnTo>
                  <a:lnTo>
                    <a:pt x="2308" y="642"/>
                  </a:lnTo>
                  <a:lnTo>
                    <a:pt x="2301" y="658"/>
                  </a:lnTo>
                  <a:lnTo>
                    <a:pt x="2293" y="672"/>
                  </a:lnTo>
                  <a:lnTo>
                    <a:pt x="2285" y="687"/>
                  </a:lnTo>
                  <a:lnTo>
                    <a:pt x="2276" y="700"/>
                  </a:lnTo>
                  <a:lnTo>
                    <a:pt x="2267" y="714"/>
                  </a:lnTo>
                  <a:lnTo>
                    <a:pt x="2256" y="728"/>
                  </a:lnTo>
                  <a:lnTo>
                    <a:pt x="2246" y="741"/>
                  </a:lnTo>
                  <a:lnTo>
                    <a:pt x="2234" y="752"/>
                  </a:lnTo>
                  <a:lnTo>
                    <a:pt x="2223" y="765"/>
                  </a:lnTo>
                  <a:lnTo>
                    <a:pt x="2210" y="776"/>
                  </a:lnTo>
                  <a:lnTo>
                    <a:pt x="2246" y="824"/>
                  </a:lnTo>
                  <a:lnTo>
                    <a:pt x="2279" y="871"/>
                  </a:lnTo>
                  <a:lnTo>
                    <a:pt x="2312" y="920"/>
                  </a:lnTo>
                  <a:lnTo>
                    <a:pt x="2344" y="970"/>
                  </a:lnTo>
                  <a:lnTo>
                    <a:pt x="2374" y="1021"/>
                  </a:lnTo>
                  <a:lnTo>
                    <a:pt x="2403" y="1071"/>
                  </a:lnTo>
                  <a:lnTo>
                    <a:pt x="2429" y="1123"/>
                  </a:lnTo>
                  <a:lnTo>
                    <a:pt x="2455" y="1176"/>
                  </a:lnTo>
                  <a:lnTo>
                    <a:pt x="2471" y="1160"/>
                  </a:lnTo>
                  <a:lnTo>
                    <a:pt x="2484" y="1143"/>
                  </a:lnTo>
                  <a:lnTo>
                    <a:pt x="2498" y="1125"/>
                  </a:lnTo>
                  <a:lnTo>
                    <a:pt x="2512" y="1107"/>
                  </a:lnTo>
                  <a:lnTo>
                    <a:pt x="2524" y="1089"/>
                  </a:lnTo>
                  <a:lnTo>
                    <a:pt x="2535" y="1070"/>
                  </a:lnTo>
                  <a:lnTo>
                    <a:pt x="2546" y="1051"/>
                  </a:lnTo>
                  <a:lnTo>
                    <a:pt x="2555" y="1031"/>
                  </a:lnTo>
                  <a:lnTo>
                    <a:pt x="2563" y="1010"/>
                  </a:lnTo>
                  <a:lnTo>
                    <a:pt x="2570" y="990"/>
                  </a:lnTo>
                  <a:lnTo>
                    <a:pt x="2577" y="969"/>
                  </a:lnTo>
                  <a:lnTo>
                    <a:pt x="2581" y="947"/>
                  </a:lnTo>
                  <a:lnTo>
                    <a:pt x="2586" y="925"/>
                  </a:lnTo>
                  <a:lnTo>
                    <a:pt x="2588" y="903"/>
                  </a:lnTo>
                  <a:lnTo>
                    <a:pt x="2590" y="881"/>
                  </a:lnTo>
                  <a:lnTo>
                    <a:pt x="2590" y="858"/>
                  </a:lnTo>
                  <a:close/>
                  <a:moveTo>
                    <a:pt x="2284" y="507"/>
                  </a:moveTo>
                  <a:lnTo>
                    <a:pt x="2259" y="488"/>
                  </a:lnTo>
                  <a:lnTo>
                    <a:pt x="2233" y="470"/>
                  </a:lnTo>
                  <a:lnTo>
                    <a:pt x="2208" y="453"/>
                  </a:lnTo>
                  <a:lnTo>
                    <a:pt x="2181" y="435"/>
                  </a:lnTo>
                  <a:lnTo>
                    <a:pt x="2155" y="418"/>
                  </a:lnTo>
                  <a:lnTo>
                    <a:pt x="2128" y="403"/>
                  </a:lnTo>
                  <a:lnTo>
                    <a:pt x="2102" y="387"/>
                  </a:lnTo>
                  <a:lnTo>
                    <a:pt x="2074" y="372"/>
                  </a:lnTo>
                  <a:lnTo>
                    <a:pt x="2073" y="384"/>
                  </a:lnTo>
                  <a:lnTo>
                    <a:pt x="2072" y="395"/>
                  </a:lnTo>
                  <a:lnTo>
                    <a:pt x="2070" y="405"/>
                  </a:lnTo>
                  <a:lnTo>
                    <a:pt x="2066" y="417"/>
                  </a:lnTo>
                  <a:lnTo>
                    <a:pt x="2063" y="427"/>
                  </a:lnTo>
                  <a:lnTo>
                    <a:pt x="2058" y="438"/>
                  </a:lnTo>
                  <a:lnTo>
                    <a:pt x="2054" y="448"/>
                  </a:lnTo>
                  <a:lnTo>
                    <a:pt x="2049" y="458"/>
                  </a:lnTo>
                  <a:lnTo>
                    <a:pt x="2036" y="477"/>
                  </a:lnTo>
                  <a:lnTo>
                    <a:pt x="2024" y="495"/>
                  </a:lnTo>
                  <a:lnTo>
                    <a:pt x="2009" y="513"/>
                  </a:lnTo>
                  <a:lnTo>
                    <a:pt x="1993" y="529"/>
                  </a:lnTo>
                  <a:lnTo>
                    <a:pt x="2018" y="553"/>
                  </a:lnTo>
                  <a:lnTo>
                    <a:pt x="2042" y="579"/>
                  </a:lnTo>
                  <a:lnTo>
                    <a:pt x="2066" y="605"/>
                  </a:lnTo>
                  <a:lnTo>
                    <a:pt x="2090" y="631"/>
                  </a:lnTo>
                  <a:lnTo>
                    <a:pt x="2115" y="658"/>
                  </a:lnTo>
                  <a:lnTo>
                    <a:pt x="2138" y="685"/>
                  </a:lnTo>
                  <a:lnTo>
                    <a:pt x="2161" y="713"/>
                  </a:lnTo>
                  <a:lnTo>
                    <a:pt x="2183" y="741"/>
                  </a:lnTo>
                  <a:lnTo>
                    <a:pt x="2194" y="728"/>
                  </a:lnTo>
                  <a:lnTo>
                    <a:pt x="2206" y="716"/>
                  </a:lnTo>
                  <a:lnTo>
                    <a:pt x="2217" y="704"/>
                  </a:lnTo>
                  <a:lnTo>
                    <a:pt x="2228" y="691"/>
                  </a:lnTo>
                  <a:lnTo>
                    <a:pt x="2237" y="677"/>
                  </a:lnTo>
                  <a:lnTo>
                    <a:pt x="2246" y="663"/>
                  </a:lnTo>
                  <a:lnTo>
                    <a:pt x="2254" y="650"/>
                  </a:lnTo>
                  <a:lnTo>
                    <a:pt x="2261" y="635"/>
                  </a:lnTo>
                  <a:lnTo>
                    <a:pt x="2268" y="620"/>
                  </a:lnTo>
                  <a:lnTo>
                    <a:pt x="2274" y="605"/>
                  </a:lnTo>
                  <a:lnTo>
                    <a:pt x="2277" y="590"/>
                  </a:lnTo>
                  <a:lnTo>
                    <a:pt x="2281" y="574"/>
                  </a:lnTo>
                  <a:lnTo>
                    <a:pt x="2284" y="557"/>
                  </a:lnTo>
                  <a:lnTo>
                    <a:pt x="2285" y="541"/>
                  </a:lnTo>
                  <a:lnTo>
                    <a:pt x="2285" y="524"/>
                  </a:lnTo>
                  <a:lnTo>
                    <a:pt x="2284" y="507"/>
                  </a:lnTo>
                  <a:close/>
                  <a:moveTo>
                    <a:pt x="2035" y="352"/>
                  </a:moveTo>
                  <a:lnTo>
                    <a:pt x="2002" y="335"/>
                  </a:lnTo>
                  <a:lnTo>
                    <a:pt x="1967" y="320"/>
                  </a:lnTo>
                  <a:lnTo>
                    <a:pt x="1933" y="305"/>
                  </a:lnTo>
                  <a:lnTo>
                    <a:pt x="1898" y="291"/>
                  </a:lnTo>
                  <a:lnTo>
                    <a:pt x="1864" y="278"/>
                  </a:lnTo>
                  <a:lnTo>
                    <a:pt x="1828" y="265"/>
                  </a:lnTo>
                  <a:lnTo>
                    <a:pt x="1792" y="253"/>
                  </a:lnTo>
                  <a:lnTo>
                    <a:pt x="1756" y="242"/>
                  </a:lnTo>
                  <a:lnTo>
                    <a:pt x="1755" y="251"/>
                  </a:lnTo>
                  <a:lnTo>
                    <a:pt x="1753" y="260"/>
                  </a:lnTo>
                  <a:lnTo>
                    <a:pt x="1749" y="269"/>
                  </a:lnTo>
                  <a:lnTo>
                    <a:pt x="1746" y="278"/>
                  </a:lnTo>
                  <a:lnTo>
                    <a:pt x="1741" y="287"/>
                  </a:lnTo>
                  <a:lnTo>
                    <a:pt x="1737" y="295"/>
                  </a:lnTo>
                  <a:lnTo>
                    <a:pt x="1732" y="302"/>
                  </a:lnTo>
                  <a:lnTo>
                    <a:pt x="1726" y="310"/>
                  </a:lnTo>
                  <a:lnTo>
                    <a:pt x="1758" y="332"/>
                  </a:lnTo>
                  <a:lnTo>
                    <a:pt x="1789" y="354"/>
                  </a:lnTo>
                  <a:lnTo>
                    <a:pt x="1820" y="377"/>
                  </a:lnTo>
                  <a:lnTo>
                    <a:pt x="1850" y="401"/>
                  </a:lnTo>
                  <a:lnTo>
                    <a:pt x="1879" y="425"/>
                  </a:lnTo>
                  <a:lnTo>
                    <a:pt x="1908" y="449"/>
                  </a:lnTo>
                  <a:lnTo>
                    <a:pt x="1936" y="476"/>
                  </a:lnTo>
                  <a:lnTo>
                    <a:pt x="1964" y="501"/>
                  </a:lnTo>
                  <a:lnTo>
                    <a:pt x="1979" y="486"/>
                  </a:lnTo>
                  <a:lnTo>
                    <a:pt x="1994" y="470"/>
                  </a:lnTo>
                  <a:lnTo>
                    <a:pt x="2006" y="453"/>
                  </a:lnTo>
                  <a:lnTo>
                    <a:pt x="2017" y="434"/>
                  </a:lnTo>
                  <a:lnTo>
                    <a:pt x="2021" y="425"/>
                  </a:lnTo>
                  <a:lnTo>
                    <a:pt x="2026" y="416"/>
                  </a:lnTo>
                  <a:lnTo>
                    <a:pt x="2029" y="405"/>
                  </a:lnTo>
                  <a:lnTo>
                    <a:pt x="2032" y="395"/>
                  </a:lnTo>
                  <a:lnTo>
                    <a:pt x="2034" y="385"/>
                  </a:lnTo>
                  <a:lnTo>
                    <a:pt x="2035" y="374"/>
                  </a:lnTo>
                  <a:lnTo>
                    <a:pt x="2035" y="363"/>
                  </a:lnTo>
                  <a:lnTo>
                    <a:pt x="2035" y="352"/>
                  </a:lnTo>
                  <a:close/>
                  <a:moveTo>
                    <a:pt x="1511" y="241"/>
                  </a:moveTo>
                  <a:lnTo>
                    <a:pt x="1503" y="251"/>
                  </a:lnTo>
                  <a:lnTo>
                    <a:pt x="1495" y="259"/>
                  </a:lnTo>
                  <a:lnTo>
                    <a:pt x="1517" y="283"/>
                  </a:lnTo>
                  <a:lnTo>
                    <a:pt x="1538" y="309"/>
                  </a:lnTo>
                  <a:lnTo>
                    <a:pt x="1557" y="335"/>
                  </a:lnTo>
                  <a:lnTo>
                    <a:pt x="1577" y="360"/>
                  </a:lnTo>
                  <a:lnTo>
                    <a:pt x="1600" y="352"/>
                  </a:lnTo>
                  <a:lnTo>
                    <a:pt x="1622" y="342"/>
                  </a:lnTo>
                  <a:lnTo>
                    <a:pt x="1643" y="329"/>
                  </a:lnTo>
                  <a:lnTo>
                    <a:pt x="1664" y="317"/>
                  </a:lnTo>
                  <a:lnTo>
                    <a:pt x="1627" y="295"/>
                  </a:lnTo>
                  <a:lnTo>
                    <a:pt x="1589" y="275"/>
                  </a:lnTo>
                  <a:lnTo>
                    <a:pt x="1570" y="266"/>
                  </a:lnTo>
                  <a:lnTo>
                    <a:pt x="1550" y="257"/>
                  </a:lnTo>
                  <a:lnTo>
                    <a:pt x="1531" y="249"/>
                  </a:lnTo>
                  <a:lnTo>
                    <a:pt x="1511" y="241"/>
                  </a:lnTo>
                  <a:close/>
                  <a:moveTo>
                    <a:pt x="2372" y="2265"/>
                  </a:moveTo>
                  <a:lnTo>
                    <a:pt x="2381" y="2255"/>
                  </a:lnTo>
                  <a:lnTo>
                    <a:pt x="2389" y="2244"/>
                  </a:lnTo>
                  <a:lnTo>
                    <a:pt x="2397" y="2234"/>
                  </a:lnTo>
                  <a:lnTo>
                    <a:pt x="2405" y="2223"/>
                  </a:lnTo>
                  <a:lnTo>
                    <a:pt x="2384" y="2237"/>
                  </a:lnTo>
                  <a:lnTo>
                    <a:pt x="2362" y="2250"/>
                  </a:lnTo>
                  <a:lnTo>
                    <a:pt x="2340" y="2264"/>
                  </a:lnTo>
                  <a:lnTo>
                    <a:pt x="2319" y="2276"/>
                  </a:lnTo>
                  <a:lnTo>
                    <a:pt x="2274" y="2299"/>
                  </a:lnTo>
                  <a:lnTo>
                    <a:pt x="2229" y="2321"/>
                  </a:lnTo>
                  <a:lnTo>
                    <a:pt x="2181" y="2341"/>
                  </a:lnTo>
                  <a:lnTo>
                    <a:pt x="2134" y="2359"/>
                  </a:lnTo>
                  <a:lnTo>
                    <a:pt x="2087" y="2377"/>
                  </a:lnTo>
                  <a:lnTo>
                    <a:pt x="2039" y="2392"/>
                  </a:lnTo>
                  <a:lnTo>
                    <a:pt x="2031" y="2414"/>
                  </a:lnTo>
                  <a:lnTo>
                    <a:pt x="2021" y="2434"/>
                  </a:lnTo>
                  <a:lnTo>
                    <a:pt x="2012" y="2455"/>
                  </a:lnTo>
                  <a:lnTo>
                    <a:pt x="2003" y="2476"/>
                  </a:lnTo>
                  <a:lnTo>
                    <a:pt x="1991" y="2495"/>
                  </a:lnTo>
                  <a:lnTo>
                    <a:pt x="1980" y="2515"/>
                  </a:lnTo>
                  <a:lnTo>
                    <a:pt x="1968" y="2535"/>
                  </a:lnTo>
                  <a:lnTo>
                    <a:pt x="1956" y="2553"/>
                  </a:lnTo>
                  <a:lnTo>
                    <a:pt x="1984" y="2540"/>
                  </a:lnTo>
                  <a:lnTo>
                    <a:pt x="2013" y="2526"/>
                  </a:lnTo>
                  <a:lnTo>
                    <a:pt x="2042" y="2511"/>
                  </a:lnTo>
                  <a:lnTo>
                    <a:pt x="2070" y="2496"/>
                  </a:lnTo>
                  <a:lnTo>
                    <a:pt x="2097" y="2482"/>
                  </a:lnTo>
                  <a:lnTo>
                    <a:pt x="2125" y="2464"/>
                  </a:lnTo>
                  <a:lnTo>
                    <a:pt x="2152" y="2448"/>
                  </a:lnTo>
                  <a:lnTo>
                    <a:pt x="2178" y="2430"/>
                  </a:lnTo>
                  <a:lnTo>
                    <a:pt x="2205" y="2411"/>
                  </a:lnTo>
                  <a:lnTo>
                    <a:pt x="2230" y="2393"/>
                  </a:lnTo>
                  <a:lnTo>
                    <a:pt x="2255" y="2373"/>
                  </a:lnTo>
                  <a:lnTo>
                    <a:pt x="2279" y="2352"/>
                  </a:lnTo>
                  <a:lnTo>
                    <a:pt x="2304" y="2332"/>
                  </a:lnTo>
                  <a:lnTo>
                    <a:pt x="2327" y="2310"/>
                  </a:lnTo>
                  <a:lnTo>
                    <a:pt x="2350" y="2288"/>
                  </a:lnTo>
                  <a:lnTo>
                    <a:pt x="2372" y="2265"/>
                  </a:lnTo>
                  <a:close/>
                  <a:moveTo>
                    <a:pt x="2468" y="2124"/>
                  </a:moveTo>
                  <a:lnTo>
                    <a:pt x="2480" y="2101"/>
                  </a:lnTo>
                  <a:lnTo>
                    <a:pt x="2490" y="2077"/>
                  </a:lnTo>
                  <a:lnTo>
                    <a:pt x="2501" y="2054"/>
                  </a:lnTo>
                  <a:lnTo>
                    <a:pt x="2510" y="2030"/>
                  </a:lnTo>
                  <a:lnTo>
                    <a:pt x="2518" y="2006"/>
                  </a:lnTo>
                  <a:lnTo>
                    <a:pt x="2526" y="1981"/>
                  </a:lnTo>
                  <a:lnTo>
                    <a:pt x="2532" y="1956"/>
                  </a:lnTo>
                  <a:lnTo>
                    <a:pt x="2539" y="1932"/>
                  </a:lnTo>
                  <a:lnTo>
                    <a:pt x="2543" y="1907"/>
                  </a:lnTo>
                  <a:lnTo>
                    <a:pt x="2548" y="1881"/>
                  </a:lnTo>
                  <a:lnTo>
                    <a:pt x="2551" y="1856"/>
                  </a:lnTo>
                  <a:lnTo>
                    <a:pt x="2554" y="1831"/>
                  </a:lnTo>
                  <a:lnTo>
                    <a:pt x="2556" y="1805"/>
                  </a:lnTo>
                  <a:lnTo>
                    <a:pt x="2557" y="1779"/>
                  </a:lnTo>
                  <a:lnTo>
                    <a:pt x="2557" y="1753"/>
                  </a:lnTo>
                  <a:lnTo>
                    <a:pt x="2557" y="1728"/>
                  </a:lnTo>
                  <a:lnTo>
                    <a:pt x="2532" y="1748"/>
                  </a:lnTo>
                  <a:lnTo>
                    <a:pt x="2506" y="1766"/>
                  </a:lnTo>
                  <a:lnTo>
                    <a:pt x="2480" y="1784"/>
                  </a:lnTo>
                  <a:lnTo>
                    <a:pt x="2452" y="1802"/>
                  </a:lnTo>
                  <a:lnTo>
                    <a:pt x="2425" y="1818"/>
                  </a:lnTo>
                  <a:lnTo>
                    <a:pt x="2396" y="1833"/>
                  </a:lnTo>
                  <a:lnTo>
                    <a:pt x="2368" y="1848"/>
                  </a:lnTo>
                  <a:lnTo>
                    <a:pt x="2338" y="1862"/>
                  </a:lnTo>
                  <a:lnTo>
                    <a:pt x="2309" y="1875"/>
                  </a:lnTo>
                  <a:lnTo>
                    <a:pt x="2279" y="1888"/>
                  </a:lnTo>
                  <a:lnTo>
                    <a:pt x="2249" y="1900"/>
                  </a:lnTo>
                  <a:lnTo>
                    <a:pt x="2219" y="1911"/>
                  </a:lnTo>
                  <a:lnTo>
                    <a:pt x="2158" y="1932"/>
                  </a:lnTo>
                  <a:lnTo>
                    <a:pt x="2096" y="1950"/>
                  </a:lnTo>
                  <a:lnTo>
                    <a:pt x="2097" y="2000"/>
                  </a:lnTo>
                  <a:lnTo>
                    <a:pt x="2096" y="2049"/>
                  </a:lnTo>
                  <a:lnTo>
                    <a:pt x="2094" y="2100"/>
                  </a:lnTo>
                  <a:lnTo>
                    <a:pt x="2090" y="2150"/>
                  </a:lnTo>
                  <a:lnTo>
                    <a:pt x="2085" y="2199"/>
                  </a:lnTo>
                  <a:lnTo>
                    <a:pt x="2077" y="2249"/>
                  </a:lnTo>
                  <a:lnTo>
                    <a:pt x="2071" y="2274"/>
                  </a:lnTo>
                  <a:lnTo>
                    <a:pt x="2066" y="2298"/>
                  </a:lnTo>
                  <a:lnTo>
                    <a:pt x="2059" y="2323"/>
                  </a:lnTo>
                  <a:lnTo>
                    <a:pt x="2052" y="2347"/>
                  </a:lnTo>
                  <a:lnTo>
                    <a:pt x="2109" y="2327"/>
                  </a:lnTo>
                  <a:lnTo>
                    <a:pt x="2164" y="2306"/>
                  </a:lnTo>
                  <a:lnTo>
                    <a:pt x="2192" y="2295"/>
                  </a:lnTo>
                  <a:lnTo>
                    <a:pt x="2219" y="2282"/>
                  </a:lnTo>
                  <a:lnTo>
                    <a:pt x="2246" y="2271"/>
                  </a:lnTo>
                  <a:lnTo>
                    <a:pt x="2272" y="2257"/>
                  </a:lnTo>
                  <a:lnTo>
                    <a:pt x="2299" y="2243"/>
                  </a:lnTo>
                  <a:lnTo>
                    <a:pt x="2324" y="2228"/>
                  </a:lnTo>
                  <a:lnTo>
                    <a:pt x="2350" y="2213"/>
                  </a:lnTo>
                  <a:lnTo>
                    <a:pt x="2375" y="2197"/>
                  </a:lnTo>
                  <a:lnTo>
                    <a:pt x="2399" y="2180"/>
                  </a:lnTo>
                  <a:lnTo>
                    <a:pt x="2422" y="2162"/>
                  </a:lnTo>
                  <a:lnTo>
                    <a:pt x="2445" y="2144"/>
                  </a:lnTo>
                  <a:lnTo>
                    <a:pt x="2468" y="2124"/>
                  </a:lnTo>
                  <a:close/>
                  <a:moveTo>
                    <a:pt x="2555" y="1677"/>
                  </a:moveTo>
                  <a:lnTo>
                    <a:pt x="2552" y="1650"/>
                  </a:lnTo>
                  <a:lnTo>
                    <a:pt x="2549" y="1621"/>
                  </a:lnTo>
                  <a:lnTo>
                    <a:pt x="2546" y="1593"/>
                  </a:lnTo>
                  <a:lnTo>
                    <a:pt x="2541" y="1566"/>
                  </a:lnTo>
                  <a:lnTo>
                    <a:pt x="2536" y="1538"/>
                  </a:lnTo>
                  <a:lnTo>
                    <a:pt x="2531" y="1510"/>
                  </a:lnTo>
                  <a:lnTo>
                    <a:pt x="2524" y="1483"/>
                  </a:lnTo>
                  <a:lnTo>
                    <a:pt x="2517" y="1455"/>
                  </a:lnTo>
                  <a:lnTo>
                    <a:pt x="2501" y="1401"/>
                  </a:lnTo>
                  <a:lnTo>
                    <a:pt x="2483" y="1347"/>
                  </a:lnTo>
                  <a:lnTo>
                    <a:pt x="2464" y="1295"/>
                  </a:lnTo>
                  <a:lnTo>
                    <a:pt x="2442" y="1242"/>
                  </a:lnTo>
                  <a:lnTo>
                    <a:pt x="2420" y="1260"/>
                  </a:lnTo>
                  <a:lnTo>
                    <a:pt x="2397" y="1279"/>
                  </a:lnTo>
                  <a:lnTo>
                    <a:pt x="2373" y="1295"/>
                  </a:lnTo>
                  <a:lnTo>
                    <a:pt x="2349" y="1311"/>
                  </a:lnTo>
                  <a:lnTo>
                    <a:pt x="2324" y="1327"/>
                  </a:lnTo>
                  <a:lnTo>
                    <a:pt x="2299" y="1341"/>
                  </a:lnTo>
                  <a:lnTo>
                    <a:pt x="2274" y="1355"/>
                  </a:lnTo>
                  <a:lnTo>
                    <a:pt x="2247" y="1369"/>
                  </a:lnTo>
                  <a:lnTo>
                    <a:pt x="2221" y="1381"/>
                  </a:lnTo>
                  <a:lnTo>
                    <a:pt x="2194" y="1393"/>
                  </a:lnTo>
                  <a:lnTo>
                    <a:pt x="2168" y="1404"/>
                  </a:lnTo>
                  <a:lnTo>
                    <a:pt x="2140" y="1415"/>
                  </a:lnTo>
                  <a:lnTo>
                    <a:pt x="2086" y="1434"/>
                  </a:lnTo>
                  <a:lnTo>
                    <a:pt x="2031" y="1452"/>
                  </a:lnTo>
                  <a:lnTo>
                    <a:pt x="2043" y="1508"/>
                  </a:lnTo>
                  <a:lnTo>
                    <a:pt x="2054" y="1566"/>
                  </a:lnTo>
                  <a:lnTo>
                    <a:pt x="2064" y="1622"/>
                  </a:lnTo>
                  <a:lnTo>
                    <a:pt x="2073" y="1680"/>
                  </a:lnTo>
                  <a:lnTo>
                    <a:pt x="2080" y="1737"/>
                  </a:lnTo>
                  <a:lnTo>
                    <a:pt x="2087" y="1795"/>
                  </a:lnTo>
                  <a:lnTo>
                    <a:pt x="2092" y="1852"/>
                  </a:lnTo>
                  <a:lnTo>
                    <a:pt x="2095" y="1910"/>
                  </a:lnTo>
                  <a:lnTo>
                    <a:pt x="2157" y="1890"/>
                  </a:lnTo>
                  <a:lnTo>
                    <a:pt x="2218" y="1870"/>
                  </a:lnTo>
                  <a:lnTo>
                    <a:pt x="2248" y="1858"/>
                  </a:lnTo>
                  <a:lnTo>
                    <a:pt x="2278" y="1846"/>
                  </a:lnTo>
                  <a:lnTo>
                    <a:pt x="2308" y="1833"/>
                  </a:lnTo>
                  <a:lnTo>
                    <a:pt x="2338" y="1819"/>
                  </a:lnTo>
                  <a:lnTo>
                    <a:pt x="2367" y="1804"/>
                  </a:lnTo>
                  <a:lnTo>
                    <a:pt x="2396" y="1789"/>
                  </a:lnTo>
                  <a:lnTo>
                    <a:pt x="2425" y="1773"/>
                  </a:lnTo>
                  <a:lnTo>
                    <a:pt x="2452" y="1756"/>
                  </a:lnTo>
                  <a:lnTo>
                    <a:pt x="2479" y="1737"/>
                  </a:lnTo>
                  <a:lnTo>
                    <a:pt x="2505" y="1719"/>
                  </a:lnTo>
                  <a:lnTo>
                    <a:pt x="2531" y="1699"/>
                  </a:lnTo>
                  <a:lnTo>
                    <a:pt x="2555" y="1677"/>
                  </a:lnTo>
                  <a:close/>
                  <a:moveTo>
                    <a:pt x="2426" y="1205"/>
                  </a:moveTo>
                  <a:lnTo>
                    <a:pt x="2400" y="1152"/>
                  </a:lnTo>
                  <a:lnTo>
                    <a:pt x="2373" y="1099"/>
                  </a:lnTo>
                  <a:lnTo>
                    <a:pt x="2344" y="1047"/>
                  </a:lnTo>
                  <a:lnTo>
                    <a:pt x="2314" y="996"/>
                  </a:lnTo>
                  <a:lnTo>
                    <a:pt x="2283" y="947"/>
                  </a:lnTo>
                  <a:lnTo>
                    <a:pt x="2251" y="897"/>
                  </a:lnTo>
                  <a:lnTo>
                    <a:pt x="2216" y="849"/>
                  </a:lnTo>
                  <a:lnTo>
                    <a:pt x="2181" y="802"/>
                  </a:lnTo>
                  <a:lnTo>
                    <a:pt x="2164" y="816"/>
                  </a:lnTo>
                  <a:lnTo>
                    <a:pt x="2147" y="827"/>
                  </a:lnTo>
                  <a:lnTo>
                    <a:pt x="2130" y="840"/>
                  </a:lnTo>
                  <a:lnTo>
                    <a:pt x="2112" y="851"/>
                  </a:lnTo>
                  <a:lnTo>
                    <a:pt x="2075" y="872"/>
                  </a:lnTo>
                  <a:lnTo>
                    <a:pt x="2039" y="892"/>
                  </a:lnTo>
                  <a:lnTo>
                    <a:pt x="2001" y="910"/>
                  </a:lnTo>
                  <a:lnTo>
                    <a:pt x="1961" y="926"/>
                  </a:lnTo>
                  <a:lnTo>
                    <a:pt x="1921" y="941"/>
                  </a:lnTo>
                  <a:lnTo>
                    <a:pt x="1881" y="955"/>
                  </a:lnTo>
                  <a:lnTo>
                    <a:pt x="1902" y="1011"/>
                  </a:lnTo>
                  <a:lnTo>
                    <a:pt x="1922" y="1068"/>
                  </a:lnTo>
                  <a:lnTo>
                    <a:pt x="1941" y="1125"/>
                  </a:lnTo>
                  <a:lnTo>
                    <a:pt x="1959" y="1182"/>
                  </a:lnTo>
                  <a:lnTo>
                    <a:pt x="1976" y="1240"/>
                  </a:lnTo>
                  <a:lnTo>
                    <a:pt x="1993" y="1297"/>
                  </a:lnTo>
                  <a:lnTo>
                    <a:pt x="2008" y="1356"/>
                  </a:lnTo>
                  <a:lnTo>
                    <a:pt x="2023" y="1414"/>
                  </a:lnTo>
                  <a:lnTo>
                    <a:pt x="2077" y="1396"/>
                  </a:lnTo>
                  <a:lnTo>
                    <a:pt x="2130" y="1377"/>
                  </a:lnTo>
                  <a:lnTo>
                    <a:pt x="2157" y="1366"/>
                  </a:lnTo>
                  <a:lnTo>
                    <a:pt x="2184" y="1355"/>
                  </a:lnTo>
                  <a:lnTo>
                    <a:pt x="2209" y="1343"/>
                  </a:lnTo>
                  <a:lnTo>
                    <a:pt x="2236" y="1331"/>
                  </a:lnTo>
                  <a:lnTo>
                    <a:pt x="2261" y="1318"/>
                  </a:lnTo>
                  <a:lnTo>
                    <a:pt x="2286" y="1304"/>
                  </a:lnTo>
                  <a:lnTo>
                    <a:pt x="2311" y="1289"/>
                  </a:lnTo>
                  <a:lnTo>
                    <a:pt x="2335" y="1274"/>
                  </a:lnTo>
                  <a:lnTo>
                    <a:pt x="2358" y="1258"/>
                  </a:lnTo>
                  <a:lnTo>
                    <a:pt x="2381" y="1242"/>
                  </a:lnTo>
                  <a:lnTo>
                    <a:pt x="2404" y="1223"/>
                  </a:lnTo>
                  <a:lnTo>
                    <a:pt x="2426" y="1205"/>
                  </a:lnTo>
                  <a:close/>
                  <a:moveTo>
                    <a:pt x="2153" y="766"/>
                  </a:moveTo>
                  <a:lnTo>
                    <a:pt x="2131" y="738"/>
                  </a:lnTo>
                  <a:lnTo>
                    <a:pt x="2108" y="711"/>
                  </a:lnTo>
                  <a:lnTo>
                    <a:pt x="2085" y="683"/>
                  </a:lnTo>
                  <a:lnTo>
                    <a:pt x="2061" y="657"/>
                  </a:lnTo>
                  <a:lnTo>
                    <a:pt x="2037" y="630"/>
                  </a:lnTo>
                  <a:lnTo>
                    <a:pt x="2012" y="605"/>
                  </a:lnTo>
                  <a:lnTo>
                    <a:pt x="1988" y="578"/>
                  </a:lnTo>
                  <a:lnTo>
                    <a:pt x="1963" y="554"/>
                  </a:lnTo>
                  <a:lnTo>
                    <a:pt x="1938" y="571"/>
                  </a:lnTo>
                  <a:lnTo>
                    <a:pt x="1914" y="586"/>
                  </a:lnTo>
                  <a:lnTo>
                    <a:pt x="1888" y="601"/>
                  </a:lnTo>
                  <a:lnTo>
                    <a:pt x="1861" y="615"/>
                  </a:lnTo>
                  <a:lnTo>
                    <a:pt x="1835" y="627"/>
                  </a:lnTo>
                  <a:lnTo>
                    <a:pt x="1807" y="638"/>
                  </a:lnTo>
                  <a:lnTo>
                    <a:pt x="1779" y="649"/>
                  </a:lnTo>
                  <a:lnTo>
                    <a:pt x="1752" y="658"/>
                  </a:lnTo>
                  <a:lnTo>
                    <a:pt x="1767" y="689"/>
                  </a:lnTo>
                  <a:lnTo>
                    <a:pt x="1782" y="721"/>
                  </a:lnTo>
                  <a:lnTo>
                    <a:pt x="1797" y="752"/>
                  </a:lnTo>
                  <a:lnTo>
                    <a:pt x="1811" y="784"/>
                  </a:lnTo>
                  <a:lnTo>
                    <a:pt x="1826" y="816"/>
                  </a:lnTo>
                  <a:lnTo>
                    <a:pt x="1838" y="848"/>
                  </a:lnTo>
                  <a:lnTo>
                    <a:pt x="1852" y="880"/>
                  </a:lnTo>
                  <a:lnTo>
                    <a:pt x="1865" y="912"/>
                  </a:lnTo>
                  <a:lnTo>
                    <a:pt x="1903" y="900"/>
                  </a:lnTo>
                  <a:lnTo>
                    <a:pt x="1942" y="885"/>
                  </a:lnTo>
                  <a:lnTo>
                    <a:pt x="1979" y="870"/>
                  </a:lnTo>
                  <a:lnTo>
                    <a:pt x="2016" y="852"/>
                  </a:lnTo>
                  <a:lnTo>
                    <a:pt x="2051" y="833"/>
                  </a:lnTo>
                  <a:lnTo>
                    <a:pt x="2087" y="813"/>
                  </a:lnTo>
                  <a:lnTo>
                    <a:pt x="2120" y="790"/>
                  </a:lnTo>
                  <a:lnTo>
                    <a:pt x="2153" y="766"/>
                  </a:lnTo>
                  <a:close/>
                  <a:moveTo>
                    <a:pt x="1934" y="526"/>
                  </a:moveTo>
                  <a:lnTo>
                    <a:pt x="1906" y="501"/>
                  </a:lnTo>
                  <a:lnTo>
                    <a:pt x="1879" y="476"/>
                  </a:lnTo>
                  <a:lnTo>
                    <a:pt x="1850" y="451"/>
                  </a:lnTo>
                  <a:lnTo>
                    <a:pt x="1821" y="427"/>
                  </a:lnTo>
                  <a:lnTo>
                    <a:pt x="1791" y="403"/>
                  </a:lnTo>
                  <a:lnTo>
                    <a:pt x="1761" y="381"/>
                  </a:lnTo>
                  <a:lnTo>
                    <a:pt x="1730" y="359"/>
                  </a:lnTo>
                  <a:lnTo>
                    <a:pt x="1699" y="339"/>
                  </a:lnTo>
                  <a:lnTo>
                    <a:pt x="1687" y="347"/>
                  </a:lnTo>
                  <a:lnTo>
                    <a:pt x="1676" y="355"/>
                  </a:lnTo>
                  <a:lnTo>
                    <a:pt x="1664" y="363"/>
                  </a:lnTo>
                  <a:lnTo>
                    <a:pt x="1652" y="370"/>
                  </a:lnTo>
                  <a:lnTo>
                    <a:pt x="1626" y="382"/>
                  </a:lnTo>
                  <a:lnTo>
                    <a:pt x="1600" y="394"/>
                  </a:lnTo>
                  <a:lnTo>
                    <a:pt x="1618" y="422"/>
                  </a:lnTo>
                  <a:lnTo>
                    <a:pt x="1637" y="449"/>
                  </a:lnTo>
                  <a:lnTo>
                    <a:pt x="1654" y="478"/>
                  </a:lnTo>
                  <a:lnTo>
                    <a:pt x="1671" y="506"/>
                  </a:lnTo>
                  <a:lnTo>
                    <a:pt x="1687" y="534"/>
                  </a:lnTo>
                  <a:lnTo>
                    <a:pt x="1703" y="564"/>
                  </a:lnTo>
                  <a:lnTo>
                    <a:pt x="1720" y="593"/>
                  </a:lnTo>
                  <a:lnTo>
                    <a:pt x="1735" y="623"/>
                  </a:lnTo>
                  <a:lnTo>
                    <a:pt x="1761" y="614"/>
                  </a:lnTo>
                  <a:lnTo>
                    <a:pt x="1786" y="605"/>
                  </a:lnTo>
                  <a:lnTo>
                    <a:pt x="1813" y="594"/>
                  </a:lnTo>
                  <a:lnTo>
                    <a:pt x="1838" y="583"/>
                  </a:lnTo>
                  <a:lnTo>
                    <a:pt x="1864" y="570"/>
                  </a:lnTo>
                  <a:lnTo>
                    <a:pt x="1888" y="557"/>
                  </a:lnTo>
                  <a:lnTo>
                    <a:pt x="1911" y="543"/>
                  </a:lnTo>
                  <a:lnTo>
                    <a:pt x="1934" y="526"/>
                  </a:lnTo>
                  <a:close/>
                  <a:moveTo>
                    <a:pt x="1460" y="280"/>
                  </a:moveTo>
                  <a:lnTo>
                    <a:pt x="1450" y="284"/>
                  </a:lnTo>
                  <a:lnTo>
                    <a:pt x="1438" y="288"/>
                  </a:lnTo>
                  <a:lnTo>
                    <a:pt x="1426" y="291"/>
                  </a:lnTo>
                  <a:lnTo>
                    <a:pt x="1414" y="294"/>
                  </a:lnTo>
                  <a:lnTo>
                    <a:pt x="1414" y="392"/>
                  </a:lnTo>
                  <a:lnTo>
                    <a:pt x="1445" y="389"/>
                  </a:lnTo>
                  <a:lnTo>
                    <a:pt x="1476" y="386"/>
                  </a:lnTo>
                  <a:lnTo>
                    <a:pt x="1508" y="380"/>
                  </a:lnTo>
                  <a:lnTo>
                    <a:pt x="1538" y="373"/>
                  </a:lnTo>
                  <a:lnTo>
                    <a:pt x="1519" y="349"/>
                  </a:lnTo>
                  <a:lnTo>
                    <a:pt x="1501" y="326"/>
                  </a:lnTo>
                  <a:lnTo>
                    <a:pt x="1481" y="303"/>
                  </a:lnTo>
                  <a:lnTo>
                    <a:pt x="1460" y="280"/>
                  </a:lnTo>
                  <a:close/>
                  <a:moveTo>
                    <a:pt x="1880" y="2583"/>
                  </a:moveTo>
                  <a:lnTo>
                    <a:pt x="1897" y="2563"/>
                  </a:lnTo>
                  <a:lnTo>
                    <a:pt x="1914" y="2543"/>
                  </a:lnTo>
                  <a:lnTo>
                    <a:pt x="1929" y="2522"/>
                  </a:lnTo>
                  <a:lnTo>
                    <a:pt x="1944" y="2500"/>
                  </a:lnTo>
                  <a:lnTo>
                    <a:pt x="1958" y="2477"/>
                  </a:lnTo>
                  <a:lnTo>
                    <a:pt x="1970" y="2454"/>
                  </a:lnTo>
                  <a:lnTo>
                    <a:pt x="1981" y="2430"/>
                  </a:lnTo>
                  <a:lnTo>
                    <a:pt x="1991" y="2405"/>
                  </a:lnTo>
                  <a:lnTo>
                    <a:pt x="1957" y="2415"/>
                  </a:lnTo>
                  <a:lnTo>
                    <a:pt x="1921" y="2423"/>
                  </a:lnTo>
                  <a:lnTo>
                    <a:pt x="1885" y="2431"/>
                  </a:lnTo>
                  <a:lnTo>
                    <a:pt x="1850" y="2439"/>
                  </a:lnTo>
                  <a:lnTo>
                    <a:pt x="1814" y="2446"/>
                  </a:lnTo>
                  <a:lnTo>
                    <a:pt x="1777" y="2452"/>
                  </a:lnTo>
                  <a:lnTo>
                    <a:pt x="1741" y="2457"/>
                  </a:lnTo>
                  <a:lnTo>
                    <a:pt x="1706" y="2462"/>
                  </a:lnTo>
                  <a:lnTo>
                    <a:pt x="1633" y="2471"/>
                  </a:lnTo>
                  <a:lnTo>
                    <a:pt x="1561" y="2477"/>
                  </a:lnTo>
                  <a:lnTo>
                    <a:pt x="1487" y="2482"/>
                  </a:lnTo>
                  <a:lnTo>
                    <a:pt x="1414" y="2483"/>
                  </a:lnTo>
                  <a:lnTo>
                    <a:pt x="1414" y="2664"/>
                  </a:lnTo>
                  <a:lnTo>
                    <a:pt x="1444" y="2664"/>
                  </a:lnTo>
                  <a:lnTo>
                    <a:pt x="1473" y="2662"/>
                  </a:lnTo>
                  <a:lnTo>
                    <a:pt x="1503" y="2660"/>
                  </a:lnTo>
                  <a:lnTo>
                    <a:pt x="1533" y="2658"/>
                  </a:lnTo>
                  <a:lnTo>
                    <a:pt x="1562" y="2655"/>
                  </a:lnTo>
                  <a:lnTo>
                    <a:pt x="1592" y="2652"/>
                  </a:lnTo>
                  <a:lnTo>
                    <a:pt x="1620" y="2647"/>
                  </a:lnTo>
                  <a:lnTo>
                    <a:pt x="1650" y="2643"/>
                  </a:lnTo>
                  <a:lnTo>
                    <a:pt x="1679" y="2637"/>
                  </a:lnTo>
                  <a:lnTo>
                    <a:pt x="1708" y="2631"/>
                  </a:lnTo>
                  <a:lnTo>
                    <a:pt x="1737" y="2624"/>
                  </a:lnTo>
                  <a:lnTo>
                    <a:pt x="1766" y="2617"/>
                  </a:lnTo>
                  <a:lnTo>
                    <a:pt x="1794" y="2609"/>
                  </a:lnTo>
                  <a:lnTo>
                    <a:pt x="1823" y="2601"/>
                  </a:lnTo>
                  <a:lnTo>
                    <a:pt x="1851" y="2592"/>
                  </a:lnTo>
                  <a:lnTo>
                    <a:pt x="1880" y="2583"/>
                  </a:lnTo>
                  <a:close/>
                  <a:moveTo>
                    <a:pt x="2008" y="2361"/>
                  </a:moveTo>
                  <a:lnTo>
                    <a:pt x="2016" y="2336"/>
                  </a:lnTo>
                  <a:lnTo>
                    <a:pt x="2023" y="2312"/>
                  </a:lnTo>
                  <a:lnTo>
                    <a:pt x="2028" y="2287"/>
                  </a:lnTo>
                  <a:lnTo>
                    <a:pt x="2034" y="2263"/>
                  </a:lnTo>
                  <a:lnTo>
                    <a:pt x="2039" y="2237"/>
                  </a:lnTo>
                  <a:lnTo>
                    <a:pt x="2043" y="2213"/>
                  </a:lnTo>
                  <a:lnTo>
                    <a:pt x="2047" y="2188"/>
                  </a:lnTo>
                  <a:lnTo>
                    <a:pt x="2050" y="2162"/>
                  </a:lnTo>
                  <a:lnTo>
                    <a:pt x="2055" y="2112"/>
                  </a:lnTo>
                  <a:lnTo>
                    <a:pt x="2057" y="2062"/>
                  </a:lnTo>
                  <a:lnTo>
                    <a:pt x="2058" y="2011"/>
                  </a:lnTo>
                  <a:lnTo>
                    <a:pt x="2058" y="1961"/>
                  </a:lnTo>
                  <a:lnTo>
                    <a:pt x="2019" y="1971"/>
                  </a:lnTo>
                  <a:lnTo>
                    <a:pt x="1979" y="1980"/>
                  </a:lnTo>
                  <a:lnTo>
                    <a:pt x="1940" y="1988"/>
                  </a:lnTo>
                  <a:lnTo>
                    <a:pt x="1899" y="1996"/>
                  </a:lnTo>
                  <a:lnTo>
                    <a:pt x="1859" y="2005"/>
                  </a:lnTo>
                  <a:lnTo>
                    <a:pt x="1820" y="2010"/>
                  </a:lnTo>
                  <a:lnTo>
                    <a:pt x="1779" y="2017"/>
                  </a:lnTo>
                  <a:lnTo>
                    <a:pt x="1739" y="2022"/>
                  </a:lnTo>
                  <a:lnTo>
                    <a:pt x="1698" y="2028"/>
                  </a:lnTo>
                  <a:lnTo>
                    <a:pt x="1657" y="2031"/>
                  </a:lnTo>
                  <a:lnTo>
                    <a:pt x="1617" y="2034"/>
                  </a:lnTo>
                  <a:lnTo>
                    <a:pt x="1577" y="2038"/>
                  </a:lnTo>
                  <a:lnTo>
                    <a:pt x="1495" y="2043"/>
                  </a:lnTo>
                  <a:lnTo>
                    <a:pt x="1414" y="2045"/>
                  </a:lnTo>
                  <a:lnTo>
                    <a:pt x="1414" y="2443"/>
                  </a:lnTo>
                  <a:lnTo>
                    <a:pt x="1489" y="2442"/>
                  </a:lnTo>
                  <a:lnTo>
                    <a:pt x="1564" y="2438"/>
                  </a:lnTo>
                  <a:lnTo>
                    <a:pt x="1602" y="2434"/>
                  </a:lnTo>
                  <a:lnTo>
                    <a:pt x="1639" y="2431"/>
                  </a:lnTo>
                  <a:lnTo>
                    <a:pt x="1677" y="2426"/>
                  </a:lnTo>
                  <a:lnTo>
                    <a:pt x="1714" y="2422"/>
                  </a:lnTo>
                  <a:lnTo>
                    <a:pt x="1752" y="2417"/>
                  </a:lnTo>
                  <a:lnTo>
                    <a:pt x="1789" y="2410"/>
                  </a:lnTo>
                  <a:lnTo>
                    <a:pt x="1826" y="2403"/>
                  </a:lnTo>
                  <a:lnTo>
                    <a:pt x="1862" y="2396"/>
                  </a:lnTo>
                  <a:lnTo>
                    <a:pt x="1899" y="2388"/>
                  </a:lnTo>
                  <a:lnTo>
                    <a:pt x="1936" y="2380"/>
                  </a:lnTo>
                  <a:lnTo>
                    <a:pt x="1972" y="2370"/>
                  </a:lnTo>
                  <a:lnTo>
                    <a:pt x="2008" y="2361"/>
                  </a:lnTo>
                  <a:close/>
                  <a:moveTo>
                    <a:pt x="2057" y="1920"/>
                  </a:moveTo>
                  <a:lnTo>
                    <a:pt x="2054" y="1863"/>
                  </a:lnTo>
                  <a:lnTo>
                    <a:pt x="2049" y="1805"/>
                  </a:lnTo>
                  <a:lnTo>
                    <a:pt x="2043" y="1748"/>
                  </a:lnTo>
                  <a:lnTo>
                    <a:pt x="2035" y="1690"/>
                  </a:lnTo>
                  <a:lnTo>
                    <a:pt x="2026" y="1634"/>
                  </a:lnTo>
                  <a:lnTo>
                    <a:pt x="2017" y="1576"/>
                  </a:lnTo>
                  <a:lnTo>
                    <a:pt x="2005" y="1519"/>
                  </a:lnTo>
                  <a:lnTo>
                    <a:pt x="1994" y="1463"/>
                  </a:lnTo>
                  <a:lnTo>
                    <a:pt x="1958" y="1472"/>
                  </a:lnTo>
                  <a:lnTo>
                    <a:pt x="1922" y="1481"/>
                  </a:lnTo>
                  <a:lnTo>
                    <a:pt x="1888" y="1490"/>
                  </a:lnTo>
                  <a:lnTo>
                    <a:pt x="1851" y="1496"/>
                  </a:lnTo>
                  <a:lnTo>
                    <a:pt x="1815" y="1503"/>
                  </a:lnTo>
                  <a:lnTo>
                    <a:pt x="1779" y="1510"/>
                  </a:lnTo>
                  <a:lnTo>
                    <a:pt x="1743" y="1515"/>
                  </a:lnTo>
                  <a:lnTo>
                    <a:pt x="1707" y="1521"/>
                  </a:lnTo>
                  <a:lnTo>
                    <a:pt x="1633" y="1529"/>
                  </a:lnTo>
                  <a:lnTo>
                    <a:pt x="1561" y="1534"/>
                  </a:lnTo>
                  <a:lnTo>
                    <a:pt x="1487" y="1538"/>
                  </a:lnTo>
                  <a:lnTo>
                    <a:pt x="1414" y="1539"/>
                  </a:lnTo>
                  <a:lnTo>
                    <a:pt x="1414" y="2006"/>
                  </a:lnTo>
                  <a:lnTo>
                    <a:pt x="1496" y="2003"/>
                  </a:lnTo>
                  <a:lnTo>
                    <a:pt x="1577" y="1999"/>
                  </a:lnTo>
                  <a:lnTo>
                    <a:pt x="1617" y="1996"/>
                  </a:lnTo>
                  <a:lnTo>
                    <a:pt x="1657" y="1992"/>
                  </a:lnTo>
                  <a:lnTo>
                    <a:pt x="1698" y="1988"/>
                  </a:lnTo>
                  <a:lnTo>
                    <a:pt x="1738" y="1983"/>
                  </a:lnTo>
                  <a:lnTo>
                    <a:pt x="1778" y="1978"/>
                  </a:lnTo>
                  <a:lnTo>
                    <a:pt x="1819" y="1971"/>
                  </a:lnTo>
                  <a:lnTo>
                    <a:pt x="1859" y="1964"/>
                  </a:lnTo>
                  <a:lnTo>
                    <a:pt x="1898" y="1957"/>
                  </a:lnTo>
                  <a:lnTo>
                    <a:pt x="1938" y="1949"/>
                  </a:lnTo>
                  <a:lnTo>
                    <a:pt x="1978" y="1940"/>
                  </a:lnTo>
                  <a:lnTo>
                    <a:pt x="2018" y="1931"/>
                  </a:lnTo>
                  <a:lnTo>
                    <a:pt x="2057" y="1920"/>
                  </a:lnTo>
                  <a:close/>
                  <a:moveTo>
                    <a:pt x="1984" y="1425"/>
                  </a:moveTo>
                  <a:lnTo>
                    <a:pt x="1971" y="1366"/>
                  </a:lnTo>
                  <a:lnTo>
                    <a:pt x="1956" y="1309"/>
                  </a:lnTo>
                  <a:lnTo>
                    <a:pt x="1940" y="1251"/>
                  </a:lnTo>
                  <a:lnTo>
                    <a:pt x="1922" y="1193"/>
                  </a:lnTo>
                  <a:lnTo>
                    <a:pt x="1904" y="1136"/>
                  </a:lnTo>
                  <a:lnTo>
                    <a:pt x="1884" y="1079"/>
                  </a:lnTo>
                  <a:lnTo>
                    <a:pt x="1865" y="1023"/>
                  </a:lnTo>
                  <a:lnTo>
                    <a:pt x="1844" y="966"/>
                  </a:lnTo>
                  <a:lnTo>
                    <a:pt x="1791" y="981"/>
                  </a:lnTo>
                  <a:lnTo>
                    <a:pt x="1738" y="993"/>
                  </a:lnTo>
                  <a:lnTo>
                    <a:pt x="1685" y="1003"/>
                  </a:lnTo>
                  <a:lnTo>
                    <a:pt x="1631" y="1013"/>
                  </a:lnTo>
                  <a:lnTo>
                    <a:pt x="1577" y="1019"/>
                  </a:lnTo>
                  <a:lnTo>
                    <a:pt x="1523" y="1024"/>
                  </a:lnTo>
                  <a:lnTo>
                    <a:pt x="1468" y="1028"/>
                  </a:lnTo>
                  <a:lnTo>
                    <a:pt x="1414" y="1030"/>
                  </a:lnTo>
                  <a:lnTo>
                    <a:pt x="1414" y="1500"/>
                  </a:lnTo>
                  <a:lnTo>
                    <a:pt x="1487" y="1499"/>
                  </a:lnTo>
                  <a:lnTo>
                    <a:pt x="1558" y="1495"/>
                  </a:lnTo>
                  <a:lnTo>
                    <a:pt x="1630" y="1488"/>
                  </a:lnTo>
                  <a:lnTo>
                    <a:pt x="1702" y="1480"/>
                  </a:lnTo>
                  <a:lnTo>
                    <a:pt x="1738" y="1476"/>
                  </a:lnTo>
                  <a:lnTo>
                    <a:pt x="1774" y="1470"/>
                  </a:lnTo>
                  <a:lnTo>
                    <a:pt x="1808" y="1464"/>
                  </a:lnTo>
                  <a:lnTo>
                    <a:pt x="1844" y="1457"/>
                  </a:lnTo>
                  <a:lnTo>
                    <a:pt x="1880" y="1450"/>
                  </a:lnTo>
                  <a:lnTo>
                    <a:pt x="1914" y="1442"/>
                  </a:lnTo>
                  <a:lnTo>
                    <a:pt x="1950" y="1434"/>
                  </a:lnTo>
                  <a:lnTo>
                    <a:pt x="1984" y="1425"/>
                  </a:lnTo>
                  <a:close/>
                  <a:moveTo>
                    <a:pt x="1827" y="924"/>
                  </a:moveTo>
                  <a:lnTo>
                    <a:pt x="1814" y="892"/>
                  </a:lnTo>
                  <a:lnTo>
                    <a:pt x="1801" y="859"/>
                  </a:lnTo>
                  <a:lnTo>
                    <a:pt x="1787" y="827"/>
                  </a:lnTo>
                  <a:lnTo>
                    <a:pt x="1774" y="795"/>
                  </a:lnTo>
                  <a:lnTo>
                    <a:pt x="1759" y="764"/>
                  </a:lnTo>
                  <a:lnTo>
                    <a:pt x="1745" y="731"/>
                  </a:lnTo>
                  <a:lnTo>
                    <a:pt x="1730" y="700"/>
                  </a:lnTo>
                  <a:lnTo>
                    <a:pt x="1714" y="669"/>
                  </a:lnTo>
                  <a:lnTo>
                    <a:pt x="1677" y="678"/>
                  </a:lnTo>
                  <a:lnTo>
                    <a:pt x="1640" y="687"/>
                  </a:lnTo>
                  <a:lnTo>
                    <a:pt x="1603" y="693"/>
                  </a:lnTo>
                  <a:lnTo>
                    <a:pt x="1565" y="699"/>
                  </a:lnTo>
                  <a:lnTo>
                    <a:pt x="1528" y="704"/>
                  </a:lnTo>
                  <a:lnTo>
                    <a:pt x="1490" y="707"/>
                  </a:lnTo>
                  <a:lnTo>
                    <a:pt x="1452" y="711"/>
                  </a:lnTo>
                  <a:lnTo>
                    <a:pt x="1414" y="712"/>
                  </a:lnTo>
                  <a:lnTo>
                    <a:pt x="1414" y="984"/>
                  </a:lnTo>
                  <a:lnTo>
                    <a:pt x="1466" y="981"/>
                  </a:lnTo>
                  <a:lnTo>
                    <a:pt x="1519" y="978"/>
                  </a:lnTo>
                  <a:lnTo>
                    <a:pt x="1571" y="973"/>
                  </a:lnTo>
                  <a:lnTo>
                    <a:pt x="1623" y="966"/>
                  </a:lnTo>
                  <a:lnTo>
                    <a:pt x="1675" y="958"/>
                  </a:lnTo>
                  <a:lnTo>
                    <a:pt x="1725" y="949"/>
                  </a:lnTo>
                  <a:lnTo>
                    <a:pt x="1777" y="938"/>
                  </a:lnTo>
                  <a:lnTo>
                    <a:pt x="1827" y="924"/>
                  </a:lnTo>
                  <a:close/>
                  <a:moveTo>
                    <a:pt x="1696" y="634"/>
                  </a:moveTo>
                  <a:lnTo>
                    <a:pt x="1680" y="605"/>
                  </a:lnTo>
                  <a:lnTo>
                    <a:pt x="1665" y="576"/>
                  </a:lnTo>
                  <a:lnTo>
                    <a:pt x="1649" y="547"/>
                  </a:lnTo>
                  <a:lnTo>
                    <a:pt x="1633" y="518"/>
                  </a:lnTo>
                  <a:lnTo>
                    <a:pt x="1616" y="490"/>
                  </a:lnTo>
                  <a:lnTo>
                    <a:pt x="1599" y="462"/>
                  </a:lnTo>
                  <a:lnTo>
                    <a:pt x="1580" y="434"/>
                  </a:lnTo>
                  <a:lnTo>
                    <a:pt x="1562" y="407"/>
                  </a:lnTo>
                  <a:lnTo>
                    <a:pt x="1543" y="411"/>
                  </a:lnTo>
                  <a:lnTo>
                    <a:pt x="1525" y="416"/>
                  </a:lnTo>
                  <a:lnTo>
                    <a:pt x="1508" y="420"/>
                  </a:lnTo>
                  <a:lnTo>
                    <a:pt x="1489" y="423"/>
                  </a:lnTo>
                  <a:lnTo>
                    <a:pt x="1451" y="428"/>
                  </a:lnTo>
                  <a:lnTo>
                    <a:pt x="1414" y="431"/>
                  </a:lnTo>
                  <a:lnTo>
                    <a:pt x="1414" y="673"/>
                  </a:lnTo>
                  <a:lnTo>
                    <a:pt x="1450" y="672"/>
                  </a:lnTo>
                  <a:lnTo>
                    <a:pt x="1486" y="669"/>
                  </a:lnTo>
                  <a:lnTo>
                    <a:pt x="1521" y="666"/>
                  </a:lnTo>
                  <a:lnTo>
                    <a:pt x="1556" y="661"/>
                  </a:lnTo>
                  <a:lnTo>
                    <a:pt x="1592" y="657"/>
                  </a:lnTo>
                  <a:lnTo>
                    <a:pt x="1626" y="650"/>
                  </a:lnTo>
                  <a:lnTo>
                    <a:pt x="1662" y="643"/>
                  </a:lnTo>
                  <a:lnTo>
                    <a:pt x="1696" y="634"/>
                  </a:lnTo>
                  <a:close/>
                  <a:moveTo>
                    <a:pt x="1367" y="67"/>
                  </a:moveTo>
                  <a:lnTo>
                    <a:pt x="1342" y="68"/>
                  </a:lnTo>
                  <a:lnTo>
                    <a:pt x="1315" y="69"/>
                  </a:lnTo>
                  <a:lnTo>
                    <a:pt x="1289" y="71"/>
                  </a:lnTo>
                  <a:lnTo>
                    <a:pt x="1263" y="75"/>
                  </a:lnTo>
                  <a:lnTo>
                    <a:pt x="1282" y="83"/>
                  </a:lnTo>
                  <a:lnTo>
                    <a:pt x="1299" y="93"/>
                  </a:lnTo>
                  <a:lnTo>
                    <a:pt x="1308" y="99"/>
                  </a:lnTo>
                  <a:lnTo>
                    <a:pt x="1315" y="106"/>
                  </a:lnTo>
                  <a:lnTo>
                    <a:pt x="1322" y="113"/>
                  </a:lnTo>
                  <a:lnTo>
                    <a:pt x="1329" y="121"/>
                  </a:lnTo>
                  <a:lnTo>
                    <a:pt x="1338" y="120"/>
                  </a:lnTo>
                  <a:lnTo>
                    <a:pt x="1349" y="117"/>
                  </a:lnTo>
                  <a:lnTo>
                    <a:pt x="1358" y="116"/>
                  </a:lnTo>
                  <a:lnTo>
                    <a:pt x="1367" y="116"/>
                  </a:lnTo>
                  <a:lnTo>
                    <a:pt x="1367" y="67"/>
                  </a:lnTo>
                  <a:close/>
                  <a:moveTo>
                    <a:pt x="1180" y="97"/>
                  </a:moveTo>
                  <a:lnTo>
                    <a:pt x="1168" y="101"/>
                  </a:lnTo>
                  <a:lnTo>
                    <a:pt x="1155" y="106"/>
                  </a:lnTo>
                  <a:lnTo>
                    <a:pt x="1144" y="112"/>
                  </a:lnTo>
                  <a:lnTo>
                    <a:pt x="1131" y="119"/>
                  </a:lnTo>
                  <a:lnTo>
                    <a:pt x="1171" y="120"/>
                  </a:lnTo>
                  <a:lnTo>
                    <a:pt x="1210" y="123"/>
                  </a:lnTo>
                  <a:lnTo>
                    <a:pt x="1251" y="128"/>
                  </a:lnTo>
                  <a:lnTo>
                    <a:pt x="1290" y="135"/>
                  </a:lnTo>
                  <a:lnTo>
                    <a:pt x="1278" y="125"/>
                  </a:lnTo>
                  <a:lnTo>
                    <a:pt x="1266" y="117"/>
                  </a:lnTo>
                  <a:lnTo>
                    <a:pt x="1253" y="112"/>
                  </a:lnTo>
                  <a:lnTo>
                    <a:pt x="1238" y="107"/>
                  </a:lnTo>
                  <a:lnTo>
                    <a:pt x="1224" y="104"/>
                  </a:lnTo>
                  <a:lnTo>
                    <a:pt x="1209" y="100"/>
                  </a:lnTo>
                  <a:lnTo>
                    <a:pt x="1194" y="98"/>
                  </a:lnTo>
                  <a:lnTo>
                    <a:pt x="1180" y="97"/>
                  </a:lnTo>
                  <a:close/>
                  <a:moveTo>
                    <a:pt x="1088" y="98"/>
                  </a:moveTo>
                  <a:lnTo>
                    <a:pt x="1061" y="104"/>
                  </a:lnTo>
                  <a:lnTo>
                    <a:pt x="1033" y="109"/>
                  </a:lnTo>
                  <a:lnTo>
                    <a:pt x="1005" y="116"/>
                  </a:lnTo>
                  <a:lnTo>
                    <a:pt x="978" y="123"/>
                  </a:lnTo>
                  <a:lnTo>
                    <a:pt x="1009" y="121"/>
                  </a:lnTo>
                  <a:lnTo>
                    <a:pt x="1035" y="119"/>
                  </a:lnTo>
                  <a:lnTo>
                    <a:pt x="1048" y="115"/>
                  </a:lnTo>
                  <a:lnTo>
                    <a:pt x="1061" y="112"/>
                  </a:lnTo>
                  <a:lnTo>
                    <a:pt x="1074" y="106"/>
                  </a:lnTo>
                  <a:lnTo>
                    <a:pt x="1088" y="98"/>
                  </a:lnTo>
                  <a:close/>
                  <a:moveTo>
                    <a:pt x="1076" y="157"/>
                  </a:moveTo>
                  <a:lnTo>
                    <a:pt x="1069" y="163"/>
                  </a:lnTo>
                  <a:lnTo>
                    <a:pt x="1062" y="172"/>
                  </a:lnTo>
                  <a:lnTo>
                    <a:pt x="1056" y="180"/>
                  </a:lnTo>
                  <a:lnTo>
                    <a:pt x="1050" y="188"/>
                  </a:lnTo>
                  <a:lnTo>
                    <a:pt x="1086" y="180"/>
                  </a:lnTo>
                  <a:lnTo>
                    <a:pt x="1122" y="172"/>
                  </a:lnTo>
                  <a:lnTo>
                    <a:pt x="1157" y="166"/>
                  </a:lnTo>
                  <a:lnTo>
                    <a:pt x="1193" y="161"/>
                  </a:lnTo>
                  <a:lnTo>
                    <a:pt x="1163" y="159"/>
                  </a:lnTo>
                  <a:lnTo>
                    <a:pt x="1134" y="157"/>
                  </a:lnTo>
                  <a:lnTo>
                    <a:pt x="1106" y="157"/>
                  </a:lnTo>
                  <a:lnTo>
                    <a:pt x="1076" y="157"/>
                  </a:lnTo>
                  <a:close/>
                  <a:moveTo>
                    <a:pt x="1024" y="159"/>
                  </a:moveTo>
                  <a:lnTo>
                    <a:pt x="979" y="161"/>
                  </a:lnTo>
                  <a:lnTo>
                    <a:pt x="935" y="166"/>
                  </a:lnTo>
                  <a:lnTo>
                    <a:pt x="913" y="169"/>
                  </a:lnTo>
                  <a:lnTo>
                    <a:pt x="894" y="174"/>
                  </a:lnTo>
                  <a:lnTo>
                    <a:pt x="873" y="180"/>
                  </a:lnTo>
                  <a:lnTo>
                    <a:pt x="853" y="187"/>
                  </a:lnTo>
                  <a:lnTo>
                    <a:pt x="835" y="195"/>
                  </a:lnTo>
                  <a:lnTo>
                    <a:pt x="818" y="204"/>
                  </a:lnTo>
                  <a:lnTo>
                    <a:pt x="801" y="215"/>
                  </a:lnTo>
                  <a:lnTo>
                    <a:pt x="785" y="229"/>
                  </a:lnTo>
                  <a:lnTo>
                    <a:pt x="778" y="236"/>
                  </a:lnTo>
                  <a:lnTo>
                    <a:pt x="770" y="244"/>
                  </a:lnTo>
                  <a:lnTo>
                    <a:pt x="763" y="252"/>
                  </a:lnTo>
                  <a:lnTo>
                    <a:pt x="758" y="261"/>
                  </a:lnTo>
                  <a:lnTo>
                    <a:pt x="751" y="272"/>
                  </a:lnTo>
                  <a:lnTo>
                    <a:pt x="745" y="282"/>
                  </a:lnTo>
                  <a:lnTo>
                    <a:pt x="739" y="293"/>
                  </a:lnTo>
                  <a:lnTo>
                    <a:pt x="735" y="304"/>
                  </a:lnTo>
                  <a:lnTo>
                    <a:pt x="767" y="289"/>
                  </a:lnTo>
                  <a:lnTo>
                    <a:pt x="800" y="274"/>
                  </a:lnTo>
                  <a:lnTo>
                    <a:pt x="834" y="260"/>
                  </a:lnTo>
                  <a:lnTo>
                    <a:pt x="867" y="246"/>
                  </a:lnTo>
                  <a:lnTo>
                    <a:pt x="900" y="234"/>
                  </a:lnTo>
                  <a:lnTo>
                    <a:pt x="935" y="222"/>
                  </a:lnTo>
                  <a:lnTo>
                    <a:pt x="970" y="211"/>
                  </a:lnTo>
                  <a:lnTo>
                    <a:pt x="1004" y="200"/>
                  </a:lnTo>
                  <a:lnTo>
                    <a:pt x="1008" y="190"/>
                  </a:lnTo>
                  <a:lnTo>
                    <a:pt x="1012" y="178"/>
                  </a:lnTo>
                  <a:lnTo>
                    <a:pt x="1017" y="168"/>
                  </a:lnTo>
                  <a:lnTo>
                    <a:pt x="1024" y="159"/>
                  </a:lnTo>
                  <a:close/>
                  <a:moveTo>
                    <a:pt x="1040" y="231"/>
                  </a:moveTo>
                  <a:lnTo>
                    <a:pt x="1040" y="240"/>
                  </a:lnTo>
                  <a:lnTo>
                    <a:pt x="1041" y="246"/>
                  </a:lnTo>
                  <a:lnTo>
                    <a:pt x="1043" y="254"/>
                  </a:lnTo>
                  <a:lnTo>
                    <a:pt x="1047" y="261"/>
                  </a:lnTo>
                  <a:lnTo>
                    <a:pt x="1054" y="275"/>
                  </a:lnTo>
                  <a:lnTo>
                    <a:pt x="1063" y="288"/>
                  </a:lnTo>
                  <a:lnTo>
                    <a:pt x="1104" y="264"/>
                  </a:lnTo>
                  <a:lnTo>
                    <a:pt x="1148" y="241"/>
                  </a:lnTo>
                  <a:lnTo>
                    <a:pt x="1169" y="230"/>
                  </a:lnTo>
                  <a:lnTo>
                    <a:pt x="1192" y="220"/>
                  </a:lnTo>
                  <a:lnTo>
                    <a:pt x="1214" y="211"/>
                  </a:lnTo>
                  <a:lnTo>
                    <a:pt x="1237" y="203"/>
                  </a:lnTo>
                  <a:lnTo>
                    <a:pt x="1237" y="197"/>
                  </a:lnTo>
                  <a:lnTo>
                    <a:pt x="1211" y="198"/>
                  </a:lnTo>
                  <a:lnTo>
                    <a:pt x="1187" y="200"/>
                  </a:lnTo>
                  <a:lnTo>
                    <a:pt x="1162" y="204"/>
                  </a:lnTo>
                  <a:lnTo>
                    <a:pt x="1137" y="207"/>
                  </a:lnTo>
                  <a:lnTo>
                    <a:pt x="1112" y="213"/>
                  </a:lnTo>
                  <a:lnTo>
                    <a:pt x="1088" y="219"/>
                  </a:lnTo>
                  <a:lnTo>
                    <a:pt x="1063" y="225"/>
                  </a:lnTo>
                  <a:lnTo>
                    <a:pt x="1040" y="231"/>
                  </a:lnTo>
                  <a:close/>
                  <a:moveTo>
                    <a:pt x="1001" y="242"/>
                  </a:moveTo>
                  <a:lnTo>
                    <a:pt x="965" y="253"/>
                  </a:lnTo>
                  <a:lnTo>
                    <a:pt x="929" y="265"/>
                  </a:lnTo>
                  <a:lnTo>
                    <a:pt x="895" y="278"/>
                  </a:lnTo>
                  <a:lnTo>
                    <a:pt x="859" y="291"/>
                  </a:lnTo>
                  <a:lnTo>
                    <a:pt x="824" y="306"/>
                  </a:lnTo>
                  <a:lnTo>
                    <a:pt x="790" y="321"/>
                  </a:lnTo>
                  <a:lnTo>
                    <a:pt x="756" y="336"/>
                  </a:lnTo>
                  <a:lnTo>
                    <a:pt x="722" y="354"/>
                  </a:lnTo>
                  <a:lnTo>
                    <a:pt x="722" y="364"/>
                  </a:lnTo>
                  <a:lnTo>
                    <a:pt x="722" y="374"/>
                  </a:lnTo>
                  <a:lnTo>
                    <a:pt x="723" y="386"/>
                  </a:lnTo>
                  <a:lnTo>
                    <a:pt x="725" y="396"/>
                  </a:lnTo>
                  <a:lnTo>
                    <a:pt x="728" y="405"/>
                  </a:lnTo>
                  <a:lnTo>
                    <a:pt x="731" y="416"/>
                  </a:lnTo>
                  <a:lnTo>
                    <a:pt x="736" y="425"/>
                  </a:lnTo>
                  <a:lnTo>
                    <a:pt x="740" y="434"/>
                  </a:lnTo>
                  <a:lnTo>
                    <a:pt x="751" y="453"/>
                  </a:lnTo>
                  <a:lnTo>
                    <a:pt x="763" y="470"/>
                  </a:lnTo>
                  <a:lnTo>
                    <a:pt x="777" y="486"/>
                  </a:lnTo>
                  <a:lnTo>
                    <a:pt x="792" y="501"/>
                  </a:lnTo>
                  <a:lnTo>
                    <a:pt x="820" y="475"/>
                  </a:lnTo>
                  <a:lnTo>
                    <a:pt x="849" y="449"/>
                  </a:lnTo>
                  <a:lnTo>
                    <a:pt x="877" y="424"/>
                  </a:lnTo>
                  <a:lnTo>
                    <a:pt x="907" y="400"/>
                  </a:lnTo>
                  <a:lnTo>
                    <a:pt x="937" y="375"/>
                  </a:lnTo>
                  <a:lnTo>
                    <a:pt x="967" y="352"/>
                  </a:lnTo>
                  <a:lnTo>
                    <a:pt x="998" y="331"/>
                  </a:lnTo>
                  <a:lnTo>
                    <a:pt x="1031" y="309"/>
                  </a:lnTo>
                  <a:lnTo>
                    <a:pt x="1020" y="294"/>
                  </a:lnTo>
                  <a:lnTo>
                    <a:pt x="1011" y="278"/>
                  </a:lnTo>
                  <a:lnTo>
                    <a:pt x="1008" y="269"/>
                  </a:lnTo>
                  <a:lnTo>
                    <a:pt x="1005" y="260"/>
                  </a:lnTo>
                  <a:lnTo>
                    <a:pt x="1003" y="251"/>
                  </a:lnTo>
                  <a:lnTo>
                    <a:pt x="1001" y="242"/>
                  </a:lnTo>
                  <a:close/>
                  <a:moveTo>
                    <a:pt x="683" y="374"/>
                  </a:moveTo>
                  <a:lnTo>
                    <a:pt x="656" y="389"/>
                  </a:lnTo>
                  <a:lnTo>
                    <a:pt x="629" y="404"/>
                  </a:lnTo>
                  <a:lnTo>
                    <a:pt x="602" y="422"/>
                  </a:lnTo>
                  <a:lnTo>
                    <a:pt x="576" y="438"/>
                  </a:lnTo>
                  <a:lnTo>
                    <a:pt x="549" y="455"/>
                  </a:lnTo>
                  <a:lnTo>
                    <a:pt x="524" y="473"/>
                  </a:lnTo>
                  <a:lnTo>
                    <a:pt x="498" y="492"/>
                  </a:lnTo>
                  <a:lnTo>
                    <a:pt x="473" y="511"/>
                  </a:lnTo>
                  <a:lnTo>
                    <a:pt x="472" y="528"/>
                  </a:lnTo>
                  <a:lnTo>
                    <a:pt x="473" y="545"/>
                  </a:lnTo>
                  <a:lnTo>
                    <a:pt x="474" y="561"/>
                  </a:lnTo>
                  <a:lnTo>
                    <a:pt x="477" y="577"/>
                  </a:lnTo>
                  <a:lnTo>
                    <a:pt x="480" y="592"/>
                  </a:lnTo>
                  <a:lnTo>
                    <a:pt x="485" y="607"/>
                  </a:lnTo>
                  <a:lnTo>
                    <a:pt x="490" y="622"/>
                  </a:lnTo>
                  <a:lnTo>
                    <a:pt x="496" y="637"/>
                  </a:lnTo>
                  <a:lnTo>
                    <a:pt x="503" y="652"/>
                  </a:lnTo>
                  <a:lnTo>
                    <a:pt x="511" y="666"/>
                  </a:lnTo>
                  <a:lnTo>
                    <a:pt x="520" y="678"/>
                  </a:lnTo>
                  <a:lnTo>
                    <a:pt x="530" y="692"/>
                  </a:lnTo>
                  <a:lnTo>
                    <a:pt x="540" y="705"/>
                  </a:lnTo>
                  <a:lnTo>
                    <a:pt x="550" y="718"/>
                  </a:lnTo>
                  <a:lnTo>
                    <a:pt x="562" y="729"/>
                  </a:lnTo>
                  <a:lnTo>
                    <a:pt x="573" y="741"/>
                  </a:lnTo>
                  <a:lnTo>
                    <a:pt x="596" y="713"/>
                  </a:lnTo>
                  <a:lnTo>
                    <a:pt x="618" y="685"/>
                  </a:lnTo>
                  <a:lnTo>
                    <a:pt x="642" y="659"/>
                  </a:lnTo>
                  <a:lnTo>
                    <a:pt x="665" y="631"/>
                  </a:lnTo>
                  <a:lnTo>
                    <a:pt x="690" y="605"/>
                  </a:lnTo>
                  <a:lnTo>
                    <a:pt x="714" y="579"/>
                  </a:lnTo>
                  <a:lnTo>
                    <a:pt x="739" y="554"/>
                  </a:lnTo>
                  <a:lnTo>
                    <a:pt x="765" y="529"/>
                  </a:lnTo>
                  <a:lnTo>
                    <a:pt x="748" y="513"/>
                  </a:lnTo>
                  <a:lnTo>
                    <a:pt x="733" y="495"/>
                  </a:lnTo>
                  <a:lnTo>
                    <a:pt x="721" y="478"/>
                  </a:lnTo>
                  <a:lnTo>
                    <a:pt x="709" y="458"/>
                  </a:lnTo>
                  <a:lnTo>
                    <a:pt x="699" y="439"/>
                  </a:lnTo>
                  <a:lnTo>
                    <a:pt x="691" y="418"/>
                  </a:lnTo>
                  <a:lnTo>
                    <a:pt x="688" y="407"/>
                  </a:lnTo>
                  <a:lnTo>
                    <a:pt x="686" y="396"/>
                  </a:lnTo>
                  <a:lnTo>
                    <a:pt x="684" y="385"/>
                  </a:lnTo>
                  <a:lnTo>
                    <a:pt x="683" y="374"/>
                  </a:lnTo>
                  <a:close/>
                  <a:moveTo>
                    <a:pt x="427" y="549"/>
                  </a:moveTo>
                  <a:lnTo>
                    <a:pt x="389" y="583"/>
                  </a:lnTo>
                  <a:lnTo>
                    <a:pt x="353" y="619"/>
                  </a:lnTo>
                  <a:lnTo>
                    <a:pt x="318" y="655"/>
                  </a:lnTo>
                  <a:lnTo>
                    <a:pt x="285" y="695"/>
                  </a:lnTo>
                  <a:lnTo>
                    <a:pt x="269" y="714"/>
                  </a:lnTo>
                  <a:lnTo>
                    <a:pt x="253" y="735"/>
                  </a:lnTo>
                  <a:lnTo>
                    <a:pt x="238" y="756"/>
                  </a:lnTo>
                  <a:lnTo>
                    <a:pt x="224" y="776"/>
                  </a:lnTo>
                  <a:lnTo>
                    <a:pt x="210" y="797"/>
                  </a:lnTo>
                  <a:lnTo>
                    <a:pt x="197" y="819"/>
                  </a:lnTo>
                  <a:lnTo>
                    <a:pt x="184" y="841"/>
                  </a:lnTo>
                  <a:lnTo>
                    <a:pt x="171" y="864"/>
                  </a:lnTo>
                  <a:lnTo>
                    <a:pt x="172" y="886"/>
                  </a:lnTo>
                  <a:lnTo>
                    <a:pt x="174" y="908"/>
                  </a:lnTo>
                  <a:lnTo>
                    <a:pt x="177" y="928"/>
                  </a:lnTo>
                  <a:lnTo>
                    <a:pt x="180" y="950"/>
                  </a:lnTo>
                  <a:lnTo>
                    <a:pt x="185" y="971"/>
                  </a:lnTo>
                  <a:lnTo>
                    <a:pt x="192" y="992"/>
                  </a:lnTo>
                  <a:lnTo>
                    <a:pt x="199" y="1011"/>
                  </a:lnTo>
                  <a:lnTo>
                    <a:pt x="207" y="1031"/>
                  </a:lnTo>
                  <a:lnTo>
                    <a:pt x="216" y="1051"/>
                  </a:lnTo>
                  <a:lnTo>
                    <a:pt x="227" y="1070"/>
                  </a:lnTo>
                  <a:lnTo>
                    <a:pt x="237" y="1089"/>
                  </a:lnTo>
                  <a:lnTo>
                    <a:pt x="250" y="1106"/>
                  </a:lnTo>
                  <a:lnTo>
                    <a:pt x="262" y="1123"/>
                  </a:lnTo>
                  <a:lnTo>
                    <a:pt x="275" y="1140"/>
                  </a:lnTo>
                  <a:lnTo>
                    <a:pt x="290" y="1157"/>
                  </a:lnTo>
                  <a:lnTo>
                    <a:pt x="305" y="1173"/>
                  </a:lnTo>
                  <a:lnTo>
                    <a:pt x="329" y="1121"/>
                  </a:lnTo>
                  <a:lnTo>
                    <a:pt x="357" y="1069"/>
                  </a:lnTo>
                  <a:lnTo>
                    <a:pt x="384" y="1018"/>
                  </a:lnTo>
                  <a:lnTo>
                    <a:pt x="414" y="969"/>
                  </a:lnTo>
                  <a:lnTo>
                    <a:pt x="445" y="919"/>
                  </a:lnTo>
                  <a:lnTo>
                    <a:pt x="478" y="871"/>
                  </a:lnTo>
                  <a:lnTo>
                    <a:pt x="511" y="824"/>
                  </a:lnTo>
                  <a:lnTo>
                    <a:pt x="546" y="776"/>
                  </a:lnTo>
                  <a:lnTo>
                    <a:pt x="534" y="766"/>
                  </a:lnTo>
                  <a:lnTo>
                    <a:pt x="523" y="753"/>
                  </a:lnTo>
                  <a:lnTo>
                    <a:pt x="511" y="742"/>
                  </a:lnTo>
                  <a:lnTo>
                    <a:pt x="501" y="729"/>
                  </a:lnTo>
                  <a:lnTo>
                    <a:pt x="490" y="715"/>
                  </a:lnTo>
                  <a:lnTo>
                    <a:pt x="481" y="703"/>
                  </a:lnTo>
                  <a:lnTo>
                    <a:pt x="472" y="689"/>
                  </a:lnTo>
                  <a:lnTo>
                    <a:pt x="464" y="674"/>
                  </a:lnTo>
                  <a:lnTo>
                    <a:pt x="456" y="660"/>
                  </a:lnTo>
                  <a:lnTo>
                    <a:pt x="450" y="645"/>
                  </a:lnTo>
                  <a:lnTo>
                    <a:pt x="443" y="630"/>
                  </a:lnTo>
                  <a:lnTo>
                    <a:pt x="439" y="614"/>
                  </a:lnTo>
                  <a:lnTo>
                    <a:pt x="434" y="598"/>
                  </a:lnTo>
                  <a:lnTo>
                    <a:pt x="430" y="582"/>
                  </a:lnTo>
                  <a:lnTo>
                    <a:pt x="428" y="566"/>
                  </a:lnTo>
                  <a:lnTo>
                    <a:pt x="427" y="549"/>
                  </a:lnTo>
                  <a:close/>
                  <a:moveTo>
                    <a:pt x="1093" y="316"/>
                  </a:moveTo>
                  <a:lnTo>
                    <a:pt x="1112" y="329"/>
                  </a:lnTo>
                  <a:lnTo>
                    <a:pt x="1134" y="341"/>
                  </a:lnTo>
                  <a:lnTo>
                    <a:pt x="1156" y="351"/>
                  </a:lnTo>
                  <a:lnTo>
                    <a:pt x="1179" y="360"/>
                  </a:lnTo>
                  <a:lnTo>
                    <a:pt x="1199" y="334"/>
                  </a:lnTo>
                  <a:lnTo>
                    <a:pt x="1218" y="309"/>
                  </a:lnTo>
                  <a:lnTo>
                    <a:pt x="1240" y="283"/>
                  </a:lnTo>
                  <a:lnTo>
                    <a:pt x="1262" y="258"/>
                  </a:lnTo>
                  <a:lnTo>
                    <a:pt x="1253" y="250"/>
                  </a:lnTo>
                  <a:lnTo>
                    <a:pt x="1246" y="241"/>
                  </a:lnTo>
                  <a:lnTo>
                    <a:pt x="1226" y="248"/>
                  </a:lnTo>
                  <a:lnTo>
                    <a:pt x="1207" y="256"/>
                  </a:lnTo>
                  <a:lnTo>
                    <a:pt x="1187" y="265"/>
                  </a:lnTo>
                  <a:lnTo>
                    <a:pt x="1168" y="274"/>
                  </a:lnTo>
                  <a:lnTo>
                    <a:pt x="1130" y="294"/>
                  </a:lnTo>
                  <a:lnTo>
                    <a:pt x="1093" y="316"/>
                  </a:lnTo>
                  <a:close/>
                  <a:moveTo>
                    <a:pt x="1058" y="337"/>
                  </a:moveTo>
                  <a:lnTo>
                    <a:pt x="1027" y="358"/>
                  </a:lnTo>
                  <a:lnTo>
                    <a:pt x="996" y="380"/>
                  </a:lnTo>
                  <a:lnTo>
                    <a:pt x="965" y="403"/>
                  </a:lnTo>
                  <a:lnTo>
                    <a:pt x="936" y="426"/>
                  </a:lnTo>
                  <a:lnTo>
                    <a:pt x="906" y="450"/>
                  </a:lnTo>
                  <a:lnTo>
                    <a:pt x="877" y="476"/>
                  </a:lnTo>
                  <a:lnTo>
                    <a:pt x="850" y="501"/>
                  </a:lnTo>
                  <a:lnTo>
                    <a:pt x="822" y="526"/>
                  </a:lnTo>
                  <a:lnTo>
                    <a:pt x="844" y="543"/>
                  </a:lnTo>
                  <a:lnTo>
                    <a:pt x="868" y="557"/>
                  </a:lnTo>
                  <a:lnTo>
                    <a:pt x="892" y="570"/>
                  </a:lnTo>
                  <a:lnTo>
                    <a:pt x="918" y="583"/>
                  </a:lnTo>
                  <a:lnTo>
                    <a:pt x="943" y="594"/>
                  </a:lnTo>
                  <a:lnTo>
                    <a:pt x="968" y="605"/>
                  </a:lnTo>
                  <a:lnTo>
                    <a:pt x="995" y="614"/>
                  </a:lnTo>
                  <a:lnTo>
                    <a:pt x="1021" y="623"/>
                  </a:lnTo>
                  <a:lnTo>
                    <a:pt x="1036" y="593"/>
                  </a:lnTo>
                  <a:lnTo>
                    <a:pt x="1053" y="564"/>
                  </a:lnTo>
                  <a:lnTo>
                    <a:pt x="1069" y="534"/>
                  </a:lnTo>
                  <a:lnTo>
                    <a:pt x="1085" y="506"/>
                  </a:lnTo>
                  <a:lnTo>
                    <a:pt x="1102" y="477"/>
                  </a:lnTo>
                  <a:lnTo>
                    <a:pt x="1119" y="449"/>
                  </a:lnTo>
                  <a:lnTo>
                    <a:pt x="1138" y="422"/>
                  </a:lnTo>
                  <a:lnTo>
                    <a:pt x="1156" y="393"/>
                  </a:lnTo>
                  <a:lnTo>
                    <a:pt x="1130" y="382"/>
                  </a:lnTo>
                  <a:lnTo>
                    <a:pt x="1104" y="370"/>
                  </a:lnTo>
                  <a:lnTo>
                    <a:pt x="1093" y="363"/>
                  </a:lnTo>
                  <a:lnTo>
                    <a:pt x="1080" y="355"/>
                  </a:lnTo>
                  <a:lnTo>
                    <a:pt x="1069" y="347"/>
                  </a:lnTo>
                  <a:lnTo>
                    <a:pt x="1058" y="337"/>
                  </a:lnTo>
                  <a:close/>
                  <a:moveTo>
                    <a:pt x="793" y="554"/>
                  </a:moveTo>
                  <a:lnTo>
                    <a:pt x="768" y="579"/>
                  </a:lnTo>
                  <a:lnTo>
                    <a:pt x="744" y="605"/>
                  </a:lnTo>
                  <a:lnTo>
                    <a:pt x="720" y="631"/>
                  </a:lnTo>
                  <a:lnTo>
                    <a:pt x="695" y="658"/>
                  </a:lnTo>
                  <a:lnTo>
                    <a:pt x="671" y="684"/>
                  </a:lnTo>
                  <a:lnTo>
                    <a:pt x="648" y="711"/>
                  </a:lnTo>
                  <a:lnTo>
                    <a:pt x="625" y="738"/>
                  </a:lnTo>
                  <a:lnTo>
                    <a:pt x="603" y="766"/>
                  </a:lnTo>
                  <a:lnTo>
                    <a:pt x="618" y="779"/>
                  </a:lnTo>
                  <a:lnTo>
                    <a:pt x="635" y="791"/>
                  </a:lnTo>
                  <a:lnTo>
                    <a:pt x="652" y="803"/>
                  </a:lnTo>
                  <a:lnTo>
                    <a:pt x="669" y="813"/>
                  </a:lnTo>
                  <a:lnTo>
                    <a:pt x="703" y="834"/>
                  </a:lnTo>
                  <a:lnTo>
                    <a:pt x="740" y="854"/>
                  </a:lnTo>
                  <a:lnTo>
                    <a:pt x="777" y="871"/>
                  </a:lnTo>
                  <a:lnTo>
                    <a:pt x="814" y="886"/>
                  </a:lnTo>
                  <a:lnTo>
                    <a:pt x="852" y="900"/>
                  </a:lnTo>
                  <a:lnTo>
                    <a:pt x="891" y="912"/>
                  </a:lnTo>
                  <a:lnTo>
                    <a:pt x="904" y="880"/>
                  </a:lnTo>
                  <a:lnTo>
                    <a:pt x="917" y="848"/>
                  </a:lnTo>
                  <a:lnTo>
                    <a:pt x="930" y="817"/>
                  </a:lnTo>
                  <a:lnTo>
                    <a:pt x="944" y="784"/>
                  </a:lnTo>
                  <a:lnTo>
                    <a:pt x="959" y="752"/>
                  </a:lnTo>
                  <a:lnTo>
                    <a:pt x="973" y="721"/>
                  </a:lnTo>
                  <a:lnTo>
                    <a:pt x="988" y="689"/>
                  </a:lnTo>
                  <a:lnTo>
                    <a:pt x="1003" y="658"/>
                  </a:lnTo>
                  <a:lnTo>
                    <a:pt x="975" y="649"/>
                  </a:lnTo>
                  <a:lnTo>
                    <a:pt x="948" y="638"/>
                  </a:lnTo>
                  <a:lnTo>
                    <a:pt x="921" y="628"/>
                  </a:lnTo>
                  <a:lnTo>
                    <a:pt x="894" y="615"/>
                  </a:lnTo>
                  <a:lnTo>
                    <a:pt x="868" y="601"/>
                  </a:lnTo>
                  <a:lnTo>
                    <a:pt x="842" y="586"/>
                  </a:lnTo>
                  <a:lnTo>
                    <a:pt x="818" y="571"/>
                  </a:lnTo>
                  <a:lnTo>
                    <a:pt x="793" y="554"/>
                  </a:lnTo>
                  <a:close/>
                  <a:moveTo>
                    <a:pt x="576" y="803"/>
                  </a:moveTo>
                  <a:lnTo>
                    <a:pt x="540" y="849"/>
                  </a:lnTo>
                  <a:lnTo>
                    <a:pt x="506" y="897"/>
                  </a:lnTo>
                  <a:lnTo>
                    <a:pt x="474" y="946"/>
                  </a:lnTo>
                  <a:lnTo>
                    <a:pt x="443" y="995"/>
                  </a:lnTo>
                  <a:lnTo>
                    <a:pt x="414" y="1046"/>
                  </a:lnTo>
                  <a:lnTo>
                    <a:pt x="386" y="1097"/>
                  </a:lnTo>
                  <a:lnTo>
                    <a:pt x="359" y="1149"/>
                  </a:lnTo>
                  <a:lnTo>
                    <a:pt x="334" y="1202"/>
                  </a:lnTo>
                  <a:lnTo>
                    <a:pt x="356" y="1220"/>
                  </a:lnTo>
                  <a:lnTo>
                    <a:pt x="377" y="1237"/>
                  </a:lnTo>
                  <a:lnTo>
                    <a:pt x="400" y="1255"/>
                  </a:lnTo>
                  <a:lnTo>
                    <a:pt x="424" y="1271"/>
                  </a:lnTo>
                  <a:lnTo>
                    <a:pt x="448" y="1286"/>
                  </a:lnTo>
                  <a:lnTo>
                    <a:pt x="473" y="1301"/>
                  </a:lnTo>
                  <a:lnTo>
                    <a:pt x="497" y="1314"/>
                  </a:lnTo>
                  <a:lnTo>
                    <a:pt x="523" y="1327"/>
                  </a:lnTo>
                  <a:lnTo>
                    <a:pt x="549" y="1340"/>
                  </a:lnTo>
                  <a:lnTo>
                    <a:pt x="574" y="1351"/>
                  </a:lnTo>
                  <a:lnTo>
                    <a:pt x="601" y="1363"/>
                  </a:lnTo>
                  <a:lnTo>
                    <a:pt x="627" y="1373"/>
                  </a:lnTo>
                  <a:lnTo>
                    <a:pt x="680" y="1393"/>
                  </a:lnTo>
                  <a:lnTo>
                    <a:pt x="735" y="1410"/>
                  </a:lnTo>
                  <a:lnTo>
                    <a:pt x="748" y="1352"/>
                  </a:lnTo>
                  <a:lnTo>
                    <a:pt x="765" y="1295"/>
                  </a:lnTo>
                  <a:lnTo>
                    <a:pt x="781" y="1237"/>
                  </a:lnTo>
                  <a:lnTo>
                    <a:pt x="797" y="1181"/>
                  </a:lnTo>
                  <a:lnTo>
                    <a:pt x="815" y="1124"/>
                  </a:lnTo>
                  <a:lnTo>
                    <a:pt x="834" y="1068"/>
                  </a:lnTo>
                  <a:lnTo>
                    <a:pt x="853" y="1011"/>
                  </a:lnTo>
                  <a:lnTo>
                    <a:pt x="874" y="956"/>
                  </a:lnTo>
                  <a:lnTo>
                    <a:pt x="835" y="942"/>
                  </a:lnTo>
                  <a:lnTo>
                    <a:pt x="794" y="927"/>
                  </a:lnTo>
                  <a:lnTo>
                    <a:pt x="755" y="911"/>
                  </a:lnTo>
                  <a:lnTo>
                    <a:pt x="717" y="893"/>
                  </a:lnTo>
                  <a:lnTo>
                    <a:pt x="680" y="873"/>
                  </a:lnTo>
                  <a:lnTo>
                    <a:pt x="644" y="851"/>
                  </a:lnTo>
                  <a:lnTo>
                    <a:pt x="626" y="840"/>
                  </a:lnTo>
                  <a:lnTo>
                    <a:pt x="609" y="828"/>
                  </a:lnTo>
                  <a:lnTo>
                    <a:pt x="592" y="816"/>
                  </a:lnTo>
                  <a:lnTo>
                    <a:pt x="576" y="803"/>
                  </a:lnTo>
                  <a:close/>
                  <a:moveTo>
                    <a:pt x="318" y="1238"/>
                  </a:moveTo>
                  <a:lnTo>
                    <a:pt x="296" y="1293"/>
                  </a:lnTo>
                  <a:lnTo>
                    <a:pt x="276" y="1347"/>
                  </a:lnTo>
                  <a:lnTo>
                    <a:pt x="258" y="1401"/>
                  </a:lnTo>
                  <a:lnTo>
                    <a:pt x="242" y="1457"/>
                  </a:lnTo>
                  <a:lnTo>
                    <a:pt x="235" y="1485"/>
                  </a:lnTo>
                  <a:lnTo>
                    <a:pt x="229" y="1513"/>
                  </a:lnTo>
                  <a:lnTo>
                    <a:pt x="223" y="1541"/>
                  </a:lnTo>
                  <a:lnTo>
                    <a:pt x="217" y="1570"/>
                  </a:lnTo>
                  <a:lnTo>
                    <a:pt x="213" y="1598"/>
                  </a:lnTo>
                  <a:lnTo>
                    <a:pt x="209" y="1627"/>
                  </a:lnTo>
                  <a:lnTo>
                    <a:pt x="207" y="1655"/>
                  </a:lnTo>
                  <a:lnTo>
                    <a:pt x="205" y="1684"/>
                  </a:lnTo>
                  <a:lnTo>
                    <a:pt x="229" y="1706"/>
                  </a:lnTo>
                  <a:lnTo>
                    <a:pt x="254" y="1726"/>
                  </a:lnTo>
                  <a:lnTo>
                    <a:pt x="280" y="1745"/>
                  </a:lnTo>
                  <a:lnTo>
                    <a:pt x="306" y="1763"/>
                  </a:lnTo>
                  <a:lnTo>
                    <a:pt x="334" y="1780"/>
                  </a:lnTo>
                  <a:lnTo>
                    <a:pt x="361" y="1796"/>
                  </a:lnTo>
                  <a:lnTo>
                    <a:pt x="390" y="1812"/>
                  </a:lnTo>
                  <a:lnTo>
                    <a:pt x="419" y="1826"/>
                  </a:lnTo>
                  <a:lnTo>
                    <a:pt x="449" y="1840"/>
                  </a:lnTo>
                  <a:lnTo>
                    <a:pt x="479" y="1852"/>
                  </a:lnTo>
                  <a:lnTo>
                    <a:pt x="509" y="1865"/>
                  </a:lnTo>
                  <a:lnTo>
                    <a:pt x="539" y="1877"/>
                  </a:lnTo>
                  <a:lnTo>
                    <a:pt x="600" y="1897"/>
                  </a:lnTo>
                  <a:lnTo>
                    <a:pt x="661" y="1916"/>
                  </a:lnTo>
                  <a:lnTo>
                    <a:pt x="664" y="1857"/>
                  </a:lnTo>
                  <a:lnTo>
                    <a:pt x="669" y="1798"/>
                  </a:lnTo>
                  <a:lnTo>
                    <a:pt x="675" y="1740"/>
                  </a:lnTo>
                  <a:lnTo>
                    <a:pt x="683" y="1681"/>
                  </a:lnTo>
                  <a:lnTo>
                    <a:pt x="692" y="1622"/>
                  </a:lnTo>
                  <a:lnTo>
                    <a:pt x="702" y="1563"/>
                  </a:lnTo>
                  <a:lnTo>
                    <a:pt x="714" y="1506"/>
                  </a:lnTo>
                  <a:lnTo>
                    <a:pt x="727" y="1448"/>
                  </a:lnTo>
                  <a:lnTo>
                    <a:pt x="671" y="1431"/>
                  </a:lnTo>
                  <a:lnTo>
                    <a:pt x="617" y="1411"/>
                  </a:lnTo>
                  <a:lnTo>
                    <a:pt x="591" y="1400"/>
                  </a:lnTo>
                  <a:lnTo>
                    <a:pt x="563" y="1389"/>
                  </a:lnTo>
                  <a:lnTo>
                    <a:pt x="536" y="1377"/>
                  </a:lnTo>
                  <a:lnTo>
                    <a:pt x="511" y="1364"/>
                  </a:lnTo>
                  <a:lnTo>
                    <a:pt x="485" y="1351"/>
                  </a:lnTo>
                  <a:lnTo>
                    <a:pt x="459" y="1337"/>
                  </a:lnTo>
                  <a:lnTo>
                    <a:pt x="434" y="1322"/>
                  </a:lnTo>
                  <a:lnTo>
                    <a:pt x="410" y="1308"/>
                  </a:lnTo>
                  <a:lnTo>
                    <a:pt x="386" y="1291"/>
                  </a:lnTo>
                  <a:lnTo>
                    <a:pt x="362" y="1275"/>
                  </a:lnTo>
                  <a:lnTo>
                    <a:pt x="339" y="1257"/>
                  </a:lnTo>
                  <a:lnTo>
                    <a:pt x="318" y="1238"/>
                  </a:lnTo>
                  <a:close/>
                  <a:moveTo>
                    <a:pt x="202" y="1736"/>
                  </a:moveTo>
                  <a:lnTo>
                    <a:pt x="203" y="1761"/>
                  </a:lnTo>
                  <a:lnTo>
                    <a:pt x="203" y="1787"/>
                  </a:lnTo>
                  <a:lnTo>
                    <a:pt x="206" y="1812"/>
                  </a:lnTo>
                  <a:lnTo>
                    <a:pt x="208" y="1837"/>
                  </a:lnTo>
                  <a:lnTo>
                    <a:pt x="212" y="1863"/>
                  </a:lnTo>
                  <a:lnTo>
                    <a:pt x="215" y="1887"/>
                  </a:lnTo>
                  <a:lnTo>
                    <a:pt x="220" y="1912"/>
                  </a:lnTo>
                  <a:lnTo>
                    <a:pt x="225" y="1937"/>
                  </a:lnTo>
                  <a:lnTo>
                    <a:pt x="231" y="1962"/>
                  </a:lnTo>
                  <a:lnTo>
                    <a:pt x="238" y="1986"/>
                  </a:lnTo>
                  <a:lnTo>
                    <a:pt x="246" y="2010"/>
                  </a:lnTo>
                  <a:lnTo>
                    <a:pt x="254" y="2033"/>
                  </a:lnTo>
                  <a:lnTo>
                    <a:pt x="265" y="2058"/>
                  </a:lnTo>
                  <a:lnTo>
                    <a:pt x="275" y="2081"/>
                  </a:lnTo>
                  <a:lnTo>
                    <a:pt x="285" y="2104"/>
                  </a:lnTo>
                  <a:lnTo>
                    <a:pt x="297" y="2126"/>
                  </a:lnTo>
                  <a:lnTo>
                    <a:pt x="320" y="2145"/>
                  </a:lnTo>
                  <a:lnTo>
                    <a:pt x="342" y="2162"/>
                  </a:lnTo>
                  <a:lnTo>
                    <a:pt x="365" y="2181"/>
                  </a:lnTo>
                  <a:lnTo>
                    <a:pt x="389" y="2197"/>
                  </a:lnTo>
                  <a:lnTo>
                    <a:pt x="413" y="2213"/>
                  </a:lnTo>
                  <a:lnTo>
                    <a:pt x="439" y="2228"/>
                  </a:lnTo>
                  <a:lnTo>
                    <a:pt x="464" y="2243"/>
                  </a:lnTo>
                  <a:lnTo>
                    <a:pt x="489" y="2257"/>
                  </a:lnTo>
                  <a:lnTo>
                    <a:pt x="516" y="2270"/>
                  </a:lnTo>
                  <a:lnTo>
                    <a:pt x="542" y="2282"/>
                  </a:lnTo>
                  <a:lnTo>
                    <a:pt x="569" y="2294"/>
                  </a:lnTo>
                  <a:lnTo>
                    <a:pt x="595" y="2305"/>
                  </a:lnTo>
                  <a:lnTo>
                    <a:pt x="649" y="2326"/>
                  </a:lnTo>
                  <a:lnTo>
                    <a:pt x="705" y="2346"/>
                  </a:lnTo>
                  <a:lnTo>
                    <a:pt x="698" y="2321"/>
                  </a:lnTo>
                  <a:lnTo>
                    <a:pt x="692" y="2298"/>
                  </a:lnTo>
                  <a:lnTo>
                    <a:pt x="686" y="2274"/>
                  </a:lnTo>
                  <a:lnTo>
                    <a:pt x="682" y="2250"/>
                  </a:lnTo>
                  <a:lnTo>
                    <a:pt x="674" y="2202"/>
                  </a:lnTo>
                  <a:lnTo>
                    <a:pt x="667" y="2152"/>
                  </a:lnTo>
                  <a:lnTo>
                    <a:pt x="663" y="2104"/>
                  </a:lnTo>
                  <a:lnTo>
                    <a:pt x="661" y="2054"/>
                  </a:lnTo>
                  <a:lnTo>
                    <a:pt x="660" y="2006"/>
                  </a:lnTo>
                  <a:lnTo>
                    <a:pt x="660" y="1956"/>
                  </a:lnTo>
                  <a:lnTo>
                    <a:pt x="599" y="1938"/>
                  </a:lnTo>
                  <a:lnTo>
                    <a:pt x="539" y="1918"/>
                  </a:lnTo>
                  <a:lnTo>
                    <a:pt x="509" y="1907"/>
                  </a:lnTo>
                  <a:lnTo>
                    <a:pt x="479" y="1895"/>
                  </a:lnTo>
                  <a:lnTo>
                    <a:pt x="449" y="1882"/>
                  </a:lnTo>
                  <a:lnTo>
                    <a:pt x="419" y="1870"/>
                  </a:lnTo>
                  <a:lnTo>
                    <a:pt x="390" y="1856"/>
                  </a:lnTo>
                  <a:lnTo>
                    <a:pt x="362" y="1841"/>
                  </a:lnTo>
                  <a:lnTo>
                    <a:pt x="334" y="1826"/>
                  </a:lnTo>
                  <a:lnTo>
                    <a:pt x="306" y="1810"/>
                  </a:lnTo>
                  <a:lnTo>
                    <a:pt x="280" y="1793"/>
                  </a:lnTo>
                  <a:lnTo>
                    <a:pt x="253" y="1774"/>
                  </a:lnTo>
                  <a:lnTo>
                    <a:pt x="228" y="1756"/>
                  </a:lnTo>
                  <a:lnTo>
                    <a:pt x="202" y="1736"/>
                  </a:lnTo>
                  <a:close/>
                  <a:moveTo>
                    <a:pt x="377" y="2236"/>
                  </a:moveTo>
                  <a:lnTo>
                    <a:pt x="399" y="2259"/>
                  </a:lnTo>
                  <a:lnTo>
                    <a:pt x="422" y="2281"/>
                  </a:lnTo>
                  <a:lnTo>
                    <a:pt x="445" y="2303"/>
                  </a:lnTo>
                  <a:lnTo>
                    <a:pt x="470" y="2324"/>
                  </a:lnTo>
                  <a:lnTo>
                    <a:pt x="494" y="2344"/>
                  </a:lnTo>
                  <a:lnTo>
                    <a:pt x="518" y="2365"/>
                  </a:lnTo>
                  <a:lnTo>
                    <a:pt x="543" y="2384"/>
                  </a:lnTo>
                  <a:lnTo>
                    <a:pt x="570" y="2403"/>
                  </a:lnTo>
                  <a:lnTo>
                    <a:pt x="595" y="2420"/>
                  </a:lnTo>
                  <a:lnTo>
                    <a:pt x="622" y="2439"/>
                  </a:lnTo>
                  <a:lnTo>
                    <a:pt x="648" y="2455"/>
                  </a:lnTo>
                  <a:lnTo>
                    <a:pt x="676" y="2471"/>
                  </a:lnTo>
                  <a:lnTo>
                    <a:pt x="703" y="2487"/>
                  </a:lnTo>
                  <a:lnTo>
                    <a:pt x="732" y="2502"/>
                  </a:lnTo>
                  <a:lnTo>
                    <a:pt x="760" y="2516"/>
                  </a:lnTo>
                  <a:lnTo>
                    <a:pt x="789" y="2530"/>
                  </a:lnTo>
                  <a:lnTo>
                    <a:pt x="778" y="2514"/>
                  </a:lnTo>
                  <a:lnTo>
                    <a:pt x="768" y="2498"/>
                  </a:lnTo>
                  <a:lnTo>
                    <a:pt x="759" y="2480"/>
                  </a:lnTo>
                  <a:lnTo>
                    <a:pt x="750" y="2463"/>
                  </a:lnTo>
                  <a:lnTo>
                    <a:pt x="733" y="2427"/>
                  </a:lnTo>
                  <a:lnTo>
                    <a:pt x="720" y="2390"/>
                  </a:lnTo>
                  <a:lnTo>
                    <a:pt x="675" y="2377"/>
                  </a:lnTo>
                  <a:lnTo>
                    <a:pt x="631" y="2361"/>
                  </a:lnTo>
                  <a:lnTo>
                    <a:pt x="586" y="2344"/>
                  </a:lnTo>
                  <a:lnTo>
                    <a:pt x="543" y="2326"/>
                  </a:lnTo>
                  <a:lnTo>
                    <a:pt x="501" y="2305"/>
                  </a:lnTo>
                  <a:lnTo>
                    <a:pt x="458" y="2284"/>
                  </a:lnTo>
                  <a:lnTo>
                    <a:pt x="418" y="2261"/>
                  </a:lnTo>
                  <a:lnTo>
                    <a:pt x="377" y="2236"/>
                  </a:lnTo>
                  <a:close/>
                  <a:moveTo>
                    <a:pt x="1218" y="373"/>
                  </a:moveTo>
                  <a:lnTo>
                    <a:pt x="1238" y="378"/>
                  </a:lnTo>
                  <a:lnTo>
                    <a:pt x="1256" y="381"/>
                  </a:lnTo>
                  <a:lnTo>
                    <a:pt x="1276" y="385"/>
                  </a:lnTo>
                  <a:lnTo>
                    <a:pt x="1296" y="388"/>
                  </a:lnTo>
                  <a:lnTo>
                    <a:pt x="1316" y="389"/>
                  </a:lnTo>
                  <a:lnTo>
                    <a:pt x="1336" y="392"/>
                  </a:lnTo>
                  <a:lnTo>
                    <a:pt x="1355" y="393"/>
                  </a:lnTo>
                  <a:lnTo>
                    <a:pt x="1375" y="393"/>
                  </a:lnTo>
                  <a:lnTo>
                    <a:pt x="1375" y="296"/>
                  </a:lnTo>
                  <a:lnTo>
                    <a:pt x="1354" y="295"/>
                  </a:lnTo>
                  <a:lnTo>
                    <a:pt x="1335" y="291"/>
                  </a:lnTo>
                  <a:lnTo>
                    <a:pt x="1314" y="287"/>
                  </a:lnTo>
                  <a:lnTo>
                    <a:pt x="1296" y="280"/>
                  </a:lnTo>
                  <a:lnTo>
                    <a:pt x="1275" y="302"/>
                  </a:lnTo>
                  <a:lnTo>
                    <a:pt x="1255" y="325"/>
                  </a:lnTo>
                  <a:lnTo>
                    <a:pt x="1237" y="349"/>
                  </a:lnTo>
                  <a:lnTo>
                    <a:pt x="1218" y="373"/>
                  </a:lnTo>
                  <a:close/>
                  <a:moveTo>
                    <a:pt x="1194" y="407"/>
                  </a:moveTo>
                  <a:lnTo>
                    <a:pt x="1176" y="433"/>
                  </a:lnTo>
                  <a:lnTo>
                    <a:pt x="1157" y="462"/>
                  </a:lnTo>
                  <a:lnTo>
                    <a:pt x="1140" y="490"/>
                  </a:lnTo>
                  <a:lnTo>
                    <a:pt x="1123" y="518"/>
                  </a:lnTo>
                  <a:lnTo>
                    <a:pt x="1107" y="546"/>
                  </a:lnTo>
                  <a:lnTo>
                    <a:pt x="1091" y="575"/>
                  </a:lnTo>
                  <a:lnTo>
                    <a:pt x="1074" y="605"/>
                  </a:lnTo>
                  <a:lnTo>
                    <a:pt x="1059" y="634"/>
                  </a:lnTo>
                  <a:lnTo>
                    <a:pt x="1099" y="643"/>
                  </a:lnTo>
                  <a:lnTo>
                    <a:pt x="1138" y="652"/>
                  </a:lnTo>
                  <a:lnTo>
                    <a:pt x="1177" y="658"/>
                  </a:lnTo>
                  <a:lnTo>
                    <a:pt x="1216" y="663"/>
                  </a:lnTo>
                  <a:lnTo>
                    <a:pt x="1255" y="668"/>
                  </a:lnTo>
                  <a:lnTo>
                    <a:pt x="1296" y="670"/>
                  </a:lnTo>
                  <a:lnTo>
                    <a:pt x="1336" y="673"/>
                  </a:lnTo>
                  <a:lnTo>
                    <a:pt x="1375" y="674"/>
                  </a:lnTo>
                  <a:lnTo>
                    <a:pt x="1375" y="432"/>
                  </a:lnTo>
                  <a:lnTo>
                    <a:pt x="1352" y="431"/>
                  </a:lnTo>
                  <a:lnTo>
                    <a:pt x="1329" y="430"/>
                  </a:lnTo>
                  <a:lnTo>
                    <a:pt x="1307" y="428"/>
                  </a:lnTo>
                  <a:lnTo>
                    <a:pt x="1284" y="425"/>
                  </a:lnTo>
                  <a:lnTo>
                    <a:pt x="1261" y="422"/>
                  </a:lnTo>
                  <a:lnTo>
                    <a:pt x="1239" y="417"/>
                  </a:lnTo>
                  <a:lnTo>
                    <a:pt x="1216" y="412"/>
                  </a:lnTo>
                  <a:lnTo>
                    <a:pt x="1194" y="407"/>
                  </a:lnTo>
                  <a:close/>
                  <a:moveTo>
                    <a:pt x="1041" y="669"/>
                  </a:moveTo>
                  <a:lnTo>
                    <a:pt x="1026" y="700"/>
                  </a:lnTo>
                  <a:lnTo>
                    <a:pt x="1011" y="731"/>
                  </a:lnTo>
                  <a:lnTo>
                    <a:pt x="996" y="764"/>
                  </a:lnTo>
                  <a:lnTo>
                    <a:pt x="982" y="796"/>
                  </a:lnTo>
                  <a:lnTo>
                    <a:pt x="968" y="827"/>
                  </a:lnTo>
                  <a:lnTo>
                    <a:pt x="955" y="859"/>
                  </a:lnTo>
                  <a:lnTo>
                    <a:pt x="941" y="892"/>
                  </a:lnTo>
                  <a:lnTo>
                    <a:pt x="928" y="924"/>
                  </a:lnTo>
                  <a:lnTo>
                    <a:pt x="983" y="939"/>
                  </a:lnTo>
                  <a:lnTo>
                    <a:pt x="1039" y="950"/>
                  </a:lnTo>
                  <a:lnTo>
                    <a:pt x="1094" y="961"/>
                  </a:lnTo>
                  <a:lnTo>
                    <a:pt x="1149" y="969"/>
                  </a:lnTo>
                  <a:lnTo>
                    <a:pt x="1206" y="976"/>
                  </a:lnTo>
                  <a:lnTo>
                    <a:pt x="1262" y="980"/>
                  </a:lnTo>
                  <a:lnTo>
                    <a:pt x="1319" y="983"/>
                  </a:lnTo>
                  <a:lnTo>
                    <a:pt x="1375" y="984"/>
                  </a:lnTo>
                  <a:lnTo>
                    <a:pt x="1375" y="712"/>
                  </a:lnTo>
                  <a:lnTo>
                    <a:pt x="1335" y="712"/>
                  </a:lnTo>
                  <a:lnTo>
                    <a:pt x="1293" y="710"/>
                  </a:lnTo>
                  <a:lnTo>
                    <a:pt x="1253" y="706"/>
                  </a:lnTo>
                  <a:lnTo>
                    <a:pt x="1211" y="703"/>
                  </a:lnTo>
                  <a:lnTo>
                    <a:pt x="1168" y="696"/>
                  </a:lnTo>
                  <a:lnTo>
                    <a:pt x="1124" y="688"/>
                  </a:lnTo>
                  <a:lnTo>
                    <a:pt x="1081" y="678"/>
                  </a:lnTo>
                  <a:lnTo>
                    <a:pt x="1041" y="669"/>
                  </a:lnTo>
                  <a:close/>
                  <a:moveTo>
                    <a:pt x="912" y="968"/>
                  </a:moveTo>
                  <a:lnTo>
                    <a:pt x="891" y="1023"/>
                  </a:lnTo>
                  <a:lnTo>
                    <a:pt x="872" y="1079"/>
                  </a:lnTo>
                  <a:lnTo>
                    <a:pt x="852" y="1135"/>
                  </a:lnTo>
                  <a:lnTo>
                    <a:pt x="835" y="1192"/>
                  </a:lnTo>
                  <a:lnTo>
                    <a:pt x="818" y="1249"/>
                  </a:lnTo>
                  <a:lnTo>
                    <a:pt x="801" y="1306"/>
                  </a:lnTo>
                  <a:lnTo>
                    <a:pt x="786" y="1363"/>
                  </a:lnTo>
                  <a:lnTo>
                    <a:pt x="773" y="1422"/>
                  </a:lnTo>
                  <a:lnTo>
                    <a:pt x="808" y="1431"/>
                  </a:lnTo>
                  <a:lnTo>
                    <a:pt x="845" y="1440"/>
                  </a:lnTo>
                  <a:lnTo>
                    <a:pt x="883" y="1449"/>
                  </a:lnTo>
                  <a:lnTo>
                    <a:pt x="920" y="1456"/>
                  </a:lnTo>
                  <a:lnTo>
                    <a:pt x="958" y="1464"/>
                  </a:lnTo>
                  <a:lnTo>
                    <a:pt x="995" y="1470"/>
                  </a:lnTo>
                  <a:lnTo>
                    <a:pt x="1033" y="1476"/>
                  </a:lnTo>
                  <a:lnTo>
                    <a:pt x="1071" y="1481"/>
                  </a:lnTo>
                  <a:lnTo>
                    <a:pt x="1109" y="1486"/>
                  </a:lnTo>
                  <a:lnTo>
                    <a:pt x="1147" y="1490"/>
                  </a:lnTo>
                  <a:lnTo>
                    <a:pt x="1185" y="1493"/>
                  </a:lnTo>
                  <a:lnTo>
                    <a:pt x="1223" y="1495"/>
                  </a:lnTo>
                  <a:lnTo>
                    <a:pt x="1261" y="1498"/>
                  </a:lnTo>
                  <a:lnTo>
                    <a:pt x="1299" y="1500"/>
                  </a:lnTo>
                  <a:lnTo>
                    <a:pt x="1337" y="1500"/>
                  </a:lnTo>
                  <a:lnTo>
                    <a:pt x="1375" y="1501"/>
                  </a:lnTo>
                  <a:lnTo>
                    <a:pt x="1375" y="1030"/>
                  </a:lnTo>
                  <a:lnTo>
                    <a:pt x="1316" y="1029"/>
                  </a:lnTo>
                  <a:lnTo>
                    <a:pt x="1258" y="1026"/>
                  </a:lnTo>
                  <a:lnTo>
                    <a:pt x="1200" y="1022"/>
                  </a:lnTo>
                  <a:lnTo>
                    <a:pt x="1141" y="1015"/>
                  </a:lnTo>
                  <a:lnTo>
                    <a:pt x="1084" y="1006"/>
                  </a:lnTo>
                  <a:lnTo>
                    <a:pt x="1026" y="995"/>
                  </a:lnTo>
                  <a:lnTo>
                    <a:pt x="968" y="983"/>
                  </a:lnTo>
                  <a:lnTo>
                    <a:pt x="912" y="968"/>
                  </a:lnTo>
                  <a:close/>
                  <a:moveTo>
                    <a:pt x="763" y="1458"/>
                  </a:moveTo>
                  <a:lnTo>
                    <a:pt x="751" y="1517"/>
                  </a:lnTo>
                  <a:lnTo>
                    <a:pt x="740" y="1575"/>
                  </a:lnTo>
                  <a:lnTo>
                    <a:pt x="730" y="1632"/>
                  </a:lnTo>
                  <a:lnTo>
                    <a:pt x="721" y="1691"/>
                  </a:lnTo>
                  <a:lnTo>
                    <a:pt x="713" y="1750"/>
                  </a:lnTo>
                  <a:lnTo>
                    <a:pt x="707" y="1809"/>
                  </a:lnTo>
                  <a:lnTo>
                    <a:pt x="702" y="1867"/>
                  </a:lnTo>
                  <a:lnTo>
                    <a:pt x="700" y="1926"/>
                  </a:lnTo>
                  <a:lnTo>
                    <a:pt x="740" y="1937"/>
                  </a:lnTo>
                  <a:lnTo>
                    <a:pt x="782" y="1947"/>
                  </a:lnTo>
                  <a:lnTo>
                    <a:pt x="823" y="1955"/>
                  </a:lnTo>
                  <a:lnTo>
                    <a:pt x="866" y="1963"/>
                  </a:lnTo>
                  <a:lnTo>
                    <a:pt x="907" y="1971"/>
                  </a:lnTo>
                  <a:lnTo>
                    <a:pt x="950" y="1978"/>
                  </a:lnTo>
                  <a:lnTo>
                    <a:pt x="993" y="1984"/>
                  </a:lnTo>
                  <a:lnTo>
                    <a:pt x="1035" y="1988"/>
                  </a:lnTo>
                  <a:lnTo>
                    <a:pt x="1078" y="1993"/>
                  </a:lnTo>
                  <a:lnTo>
                    <a:pt x="1119" y="1996"/>
                  </a:lnTo>
                  <a:lnTo>
                    <a:pt x="1163" y="2000"/>
                  </a:lnTo>
                  <a:lnTo>
                    <a:pt x="1206" y="2002"/>
                  </a:lnTo>
                  <a:lnTo>
                    <a:pt x="1248" y="2005"/>
                  </a:lnTo>
                  <a:lnTo>
                    <a:pt x="1290" y="2006"/>
                  </a:lnTo>
                  <a:lnTo>
                    <a:pt x="1332" y="2007"/>
                  </a:lnTo>
                  <a:lnTo>
                    <a:pt x="1375" y="2007"/>
                  </a:lnTo>
                  <a:lnTo>
                    <a:pt x="1375" y="1539"/>
                  </a:lnTo>
                  <a:lnTo>
                    <a:pt x="1337" y="1539"/>
                  </a:lnTo>
                  <a:lnTo>
                    <a:pt x="1298" y="1538"/>
                  </a:lnTo>
                  <a:lnTo>
                    <a:pt x="1259" y="1537"/>
                  </a:lnTo>
                  <a:lnTo>
                    <a:pt x="1221" y="1534"/>
                  </a:lnTo>
                  <a:lnTo>
                    <a:pt x="1182" y="1531"/>
                  </a:lnTo>
                  <a:lnTo>
                    <a:pt x="1144" y="1528"/>
                  </a:lnTo>
                  <a:lnTo>
                    <a:pt x="1106" y="1524"/>
                  </a:lnTo>
                  <a:lnTo>
                    <a:pt x="1066" y="1518"/>
                  </a:lnTo>
                  <a:lnTo>
                    <a:pt x="1028" y="1514"/>
                  </a:lnTo>
                  <a:lnTo>
                    <a:pt x="990" y="1508"/>
                  </a:lnTo>
                  <a:lnTo>
                    <a:pt x="952" y="1501"/>
                  </a:lnTo>
                  <a:lnTo>
                    <a:pt x="914" y="1494"/>
                  </a:lnTo>
                  <a:lnTo>
                    <a:pt x="876" y="1486"/>
                  </a:lnTo>
                  <a:lnTo>
                    <a:pt x="838" y="1478"/>
                  </a:lnTo>
                  <a:lnTo>
                    <a:pt x="801" y="1469"/>
                  </a:lnTo>
                  <a:lnTo>
                    <a:pt x="763" y="1458"/>
                  </a:lnTo>
                  <a:close/>
                  <a:moveTo>
                    <a:pt x="699" y="1967"/>
                  </a:moveTo>
                  <a:lnTo>
                    <a:pt x="699" y="2016"/>
                  </a:lnTo>
                  <a:lnTo>
                    <a:pt x="700" y="2066"/>
                  </a:lnTo>
                  <a:lnTo>
                    <a:pt x="702" y="2115"/>
                  </a:lnTo>
                  <a:lnTo>
                    <a:pt x="708" y="2165"/>
                  </a:lnTo>
                  <a:lnTo>
                    <a:pt x="715" y="2214"/>
                  </a:lnTo>
                  <a:lnTo>
                    <a:pt x="724" y="2264"/>
                  </a:lnTo>
                  <a:lnTo>
                    <a:pt x="729" y="2288"/>
                  </a:lnTo>
                  <a:lnTo>
                    <a:pt x="736" y="2312"/>
                  </a:lnTo>
                  <a:lnTo>
                    <a:pt x="741" y="2335"/>
                  </a:lnTo>
                  <a:lnTo>
                    <a:pt x="750" y="2359"/>
                  </a:lnTo>
                  <a:lnTo>
                    <a:pt x="788" y="2370"/>
                  </a:lnTo>
                  <a:lnTo>
                    <a:pt x="826" y="2380"/>
                  </a:lnTo>
                  <a:lnTo>
                    <a:pt x="865" y="2389"/>
                  </a:lnTo>
                  <a:lnTo>
                    <a:pt x="903" y="2397"/>
                  </a:lnTo>
                  <a:lnTo>
                    <a:pt x="942" y="2405"/>
                  </a:lnTo>
                  <a:lnTo>
                    <a:pt x="981" y="2412"/>
                  </a:lnTo>
                  <a:lnTo>
                    <a:pt x="1020" y="2418"/>
                  </a:lnTo>
                  <a:lnTo>
                    <a:pt x="1059" y="2424"/>
                  </a:lnTo>
                  <a:lnTo>
                    <a:pt x="1099" y="2429"/>
                  </a:lnTo>
                  <a:lnTo>
                    <a:pt x="1138" y="2433"/>
                  </a:lnTo>
                  <a:lnTo>
                    <a:pt x="1178" y="2437"/>
                  </a:lnTo>
                  <a:lnTo>
                    <a:pt x="1217" y="2439"/>
                  </a:lnTo>
                  <a:lnTo>
                    <a:pt x="1256" y="2441"/>
                  </a:lnTo>
                  <a:lnTo>
                    <a:pt x="1297" y="2442"/>
                  </a:lnTo>
                  <a:lnTo>
                    <a:pt x="1336" y="2443"/>
                  </a:lnTo>
                  <a:lnTo>
                    <a:pt x="1375" y="2445"/>
                  </a:lnTo>
                  <a:lnTo>
                    <a:pt x="1375" y="2045"/>
                  </a:lnTo>
                  <a:lnTo>
                    <a:pt x="1332" y="2045"/>
                  </a:lnTo>
                  <a:lnTo>
                    <a:pt x="1290" y="2045"/>
                  </a:lnTo>
                  <a:lnTo>
                    <a:pt x="1247" y="2044"/>
                  </a:lnTo>
                  <a:lnTo>
                    <a:pt x="1205" y="2041"/>
                  </a:lnTo>
                  <a:lnTo>
                    <a:pt x="1162" y="2039"/>
                  </a:lnTo>
                  <a:lnTo>
                    <a:pt x="1119" y="2036"/>
                  </a:lnTo>
                  <a:lnTo>
                    <a:pt x="1077" y="2032"/>
                  </a:lnTo>
                  <a:lnTo>
                    <a:pt x="1034" y="2028"/>
                  </a:lnTo>
                  <a:lnTo>
                    <a:pt x="991" y="2023"/>
                  </a:lnTo>
                  <a:lnTo>
                    <a:pt x="950" y="2017"/>
                  </a:lnTo>
                  <a:lnTo>
                    <a:pt x="907" y="2010"/>
                  </a:lnTo>
                  <a:lnTo>
                    <a:pt x="865" y="2003"/>
                  </a:lnTo>
                  <a:lnTo>
                    <a:pt x="823" y="1995"/>
                  </a:lnTo>
                  <a:lnTo>
                    <a:pt x="782" y="1986"/>
                  </a:lnTo>
                  <a:lnTo>
                    <a:pt x="740" y="1977"/>
                  </a:lnTo>
                  <a:lnTo>
                    <a:pt x="699" y="1967"/>
                  </a:lnTo>
                  <a:close/>
                  <a:moveTo>
                    <a:pt x="767" y="2404"/>
                  </a:moveTo>
                  <a:lnTo>
                    <a:pt x="776" y="2426"/>
                  </a:lnTo>
                  <a:lnTo>
                    <a:pt x="785" y="2447"/>
                  </a:lnTo>
                  <a:lnTo>
                    <a:pt x="796" y="2468"/>
                  </a:lnTo>
                  <a:lnTo>
                    <a:pt x="807" y="2487"/>
                  </a:lnTo>
                  <a:lnTo>
                    <a:pt x="820" y="2507"/>
                  </a:lnTo>
                  <a:lnTo>
                    <a:pt x="832" y="2525"/>
                  </a:lnTo>
                  <a:lnTo>
                    <a:pt x="847" y="2544"/>
                  </a:lnTo>
                  <a:lnTo>
                    <a:pt x="862" y="2562"/>
                  </a:lnTo>
                  <a:lnTo>
                    <a:pt x="892" y="2574"/>
                  </a:lnTo>
                  <a:lnTo>
                    <a:pt x="923" y="2584"/>
                  </a:lnTo>
                  <a:lnTo>
                    <a:pt x="955" y="2594"/>
                  </a:lnTo>
                  <a:lnTo>
                    <a:pt x="987" y="2605"/>
                  </a:lnTo>
                  <a:lnTo>
                    <a:pt x="1018" y="2613"/>
                  </a:lnTo>
                  <a:lnTo>
                    <a:pt x="1050" y="2622"/>
                  </a:lnTo>
                  <a:lnTo>
                    <a:pt x="1081" y="2629"/>
                  </a:lnTo>
                  <a:lnTo>
                    <a:pt x="1114" y="2636"/>
                  </a:lnTo>
                  <a:lnTo>
                    <a:pt x="1146" y="2642"/>
                  </a:lnTo>
                  <a:lnTo>
                    <a:pt x="1179" y="2647"/>
                  </a:lnTo>
                  <a:lnTo>
                    <a:pt x="1211" y="2652"/>
                  </a:lnTo>
                  <a:lnTo>
                    <a:pt x="1244" y="2655"/>
                  </a:lnTo>
                  <a:lnTo>
                    <a:pt x="1277" y="2659"/>
                  </a:lnTo>
                  <a:lnTo>
                    <a:pt x="1309" y="2661"/>
                  </a:lnTo>
                  <a:lnTo>
                    <a:pt x="1343" y="2662"/>
                  </a:lnTo>
                  <a:lnTo>
                    <a:pt x="1375" y="2664"/>
                  </a:lnTo>
                  <a:lnTo>
                    <a:pt x="1375" y="2483"/>
                  </a:lnTo>
                  <a:lnTo>
                    <a:pt x="1299" y="2482"/>
                  </a:lnTo>
                  <a:lnTo>
                    <a:pt x="1222" y="2478"/>
                  </a:lnTo>
                  <a:lnTo>
                    <a:pt x="1183" y="2476"/>
                  </a:lnTo>
                  <a:lnTo>
                    <a:pt x="1145" y="2472"/>
                  </a:lnTo>
                  <a:lnTo>
                    <a:pt x="1107" y="2469"/>
                  </a:lnTo>
                  <a:lnTo>
                    <a:pt x="1069" y="2464"/>
                  </a:lnTo>
                  <a:lnTo>
                    <a:pt x="1029" y="2460"/>
                  </a:lnTo>
                  <a:lnTo>
                    <a:pt x="991" y="2454"/>
                  </a:lnTo>
                  <a:lnTo>
                    <a:pt x="953" y="2447"/>
                  </a:lnTo>
                  <a:lnTo>
                    <a:pt x="917" y="2440"/>
                  </a:lnTo>
                  <a:lnTo>
                    <a:pt x="879" y="2432"/>
                  </a:lnTo>
                  <a:lnTo>
                    <a:pt x="841" y="2424"/>
                  </a:lnTo>
                  <a:lnTo>
                    <a:pt x="804" y="2415"/>
                  </a:lnTo>
                  <a:lnTo>
                    <a:pt x="767" y="2404"/>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38" name="TextBox 337"/>
            <p:cNvSpPr txBox="1"/>
            <p:nvPr>
              <p:custDataLst>
                <p:tags r:id="rId14"/>
              </p:custDataLst>
            </p:nvPr>
          </p:nvSpPr>
          <p:spPr>
            <a:xfrm>
              <a:off x="2454533" y="4927004"/>
              <a:ext cx="1672596" cy="153888"/>
            </a:xfrm>
            <a:prstGeom prst="rect">
              <a:avLst/>
            </a:prstGeom>
            <a:noFill/>
          </p:spPr>
          <p:txBody>
            <a:bodyPr wrap="square" lIns="0" tIns="0" rIns="0" bIns="0" rtlCol="0" anchor="b">
              <a:spAutoFit/>
            </a:bodyPr>
            <a:lstStyle/>
            <a:p>
              <a:r>
                <a:rPr lang="en-US" sz="1000" b="1" dirty="0" smtClean="0">
                  <a:solidFill>
                    <a:schemeClr val="tx1">
                      <a:lumMod val="75000"/>
                      <a:lumOff val="25000"/>
                    </a:schemeClr>
                  </a:solidFill>
                </a:rPr>
                <a:t>www..jainuniversity.ac.in</a:t>
              </a:r>
              <a:endParaRPr lang="en-US" sz="1000" b="1" dirty="0">
                <a:solidFill>
                  <a:schemeClr val="tx1">
                    <a:lumMod val="75000"/>
                    <a:lumOff val="25000"/>
                  </a:schemeClr>
                </a:solidFill>
              </a:endParaRPr>
            </a:p>
          </p:txBody>
        </p:sp>
      </p:grpSp>
      <p:grpSp>
        <p:nvGrpSpPr>
          <p:cNvPr id="348" name="Group 347"/>
          <p:cNvGrpSpPr/>
          <p:nvPr/>
        </p:nvGrpSpPr>
        <p:grpSpPr>
          <a:xfrm>
            <a:off x="1980852" y="4135564"/>
            <a:ext cx="2009969" cy="221450"/>
            <a:chOff x="2117160" y="5201648"/>
            <a:chExt cx="2009969" cy="221450"/>
          </a:xfrm>
        </p:grpSpPr>
        <p:sp>
          <p:nvSpPr>
            <p:cNvPr id="311" name="Freeform 209"/>
            <p:cNvSpPr>
              <a:spLocks noEditPoints="1"/>
            </p:cNvSpPr>
            <p:nvPr>
              <p:custDataLst>
                <p:tags r:id="rId11"/>
              </p:custDataLst>
            </p:nvPr>
          </p:nvSpPr>
          <p:spPr bwMode="auto">
            <a:xfrm>
              <a:off x="2117160" y="5201648"/>
              <a:ext cx="210377" cy="221450"/>
            </a:xfrm>
            <a:custGeom>
              <a:avLst/>
              <a:gdLst>
                <a:gd name="T0" fmla="*/ 269 w 285"/>
                <a:gd name="T1" fmla="*/ 124 h 300"/>
                <a:gd name="T2" fmla="*/ 252 w 285"/>
                <a:gd name="T3" fmla="*/ 168 h 300"/>
                <a:gd name="T4" fmla="*/ 210 w 285"/>
                <a:gd name="T5" fmla="*/ 213 h 300"/>
                <a:gd name="T6" fmla="*/ 164 w 285"/>
                <a:gd name="T7" fmla="*/ 221 h 300"/>
                <a:gd name="T8" fmla="*/ 143 w 285"/>
                <a:gd name="T9" fmla="*/ 211 h 300"/>
                <a:gd name="T10" fmla="*/ 115 w 285"/>
                <a:gd name="T11" fmla="*/ 224 h 300"/>
                <a:gd name="T12" fmla="*/ 92 w 285"/>
                <a:gd name="T13" fmla="*/ 231 h 300"/>
                <a:gd name="T14" fmla="*/ 58 w 285"/>
                <a:gd name="T15" fmla="*/ 220 h 300"/>
                <a:gd name="T16" fmla="*/ 44 w 285"/>
                <a:gd name="T17" fmla="*/ 186 h 300"/>
                <a:gd name="T18" fmla="*/ 55 w 285"/>
                <a:gd name="T19" fmla="*/ 120 h 300"/>
                <a:gd name="T20" fmla="*/ 80 w 285"/>
                <a:gd name="T21" fmla="*/ 79 h 300"/>
                <a:gd name="T22" fmla="*/ 116 w 285"/>
                <a:gd name="T23" fmla="*/ 58 h 300"/>
                <a:gd name="T24" fmla="*/ 144 w 285"/>
                <a:gd name="T25" fmla="*/ 59 h 300"/>
                <a:gd name="T26" fmla="*/ 158 w 285"/>
                <a:gd name="T27" fmla="*/ 60 h 300"/>
                <a:gd name="T28" fmla="*/ 184 w 285"/>
                <a:gd name="T29" fmla="*/ 44 h 300"/>
                <a:gd name="T30" fmla="*/ 196 w 285"/>
                <a:gd name="T31" fmla="*/ 51 h 300"/>
                <a:gd name="T32" fmla="*/ 176 w 285"/>
                <a:gd name="T33" fmla="*/ 160 h 300"/>
                <a:gd name="T34" fmla="*/ 174 w 285"/>
                <a:gd name="T35" fmla="*/ 194 h 300"/>
                <a:gd name="T36" fmla="*/ 195 w 285"/>
                <a:gd name="T37" fmla="*/ 191 h 300"/>
                <a:gd name="T38" fmla="*/ 227 w 285"/>
                <a:gd name="T39" fmla="*/ 151 h 300"/>
                <a:gd name="T40" fmla="*/ 235 w 285"/>
                <a:gd name="T41" fmla="*/ 89 h 300"/>
                <a:gd name="T42" fmla="*/ 219 w 285"/>
                <a:gd name="T43" fmla="*/ 51 h 300"/>
                <a:gd name="T44" fmla="*/ 191 w 285"/>
                <a:gd name="T45" fmla="*/ 28 h 300"/>
                <a:gd name="T46" fmla="*/ 136 w 285"/>
                <a:gd name="T47" fmla="*/ 22 h 300"/>
                <a:gd name="T48" fmla="*/ 97 w 285"/>
                <a:gd name="T49" fmla="*/ 33 h 300"/>
                <a:gd name="T50" fmla="*/ 49 w 285"/>
                <a:gd name="T51" fmla="*/ 73 h 300"/>
                <a:gd name="T52" fmla="*/ 29 w 285"/>
                <a:gd name="T53" fmla="*/ 110 h 300"/>
                <a:gd name="T54" fmla="*/ 22 w 285"/>
                <a:gd name="T55" fmla="*/ 152 h 300"/>
                <a:gd name="T56" fmla="*/ 37 w 285"/>
                <a:gd name="T57" fmla="*/ 217 h 300"/>
                <a:gd name="T58" fmla="*/ 67 w 285"/>
                <a:gd name="T59" fmla="*/ 251 h 300"/>
                <a:gd name="T60" fmla="*/ 137 w 285"/>
                <a:gd name="T61" fmla="*/ 269 h 300"/>
                <a:gd name="T62" fmla="*/ 190 w 285"/>
                <a:gd name="T63" fmla="*/ 256 h 300"/>
                <a:gd name="T64" fmla="*/ 232 w 285"/>
                <a:gd name="T65" fmla="*/ 224 h 300"/>
                <a:gd name="T66" fmla="*/ 261 w 285"/>
                <a:gd name="T67" fmla="*/ 192 h 300"/>
                <a:gd name="T68" fmla="*/ 283 w 285"/>
                <a:gd name="T69" fmla="*/ 194 h 300"/>
                <a:gd name="T70" fmla="*/ 284 w 285"/>
                <a:gd name="T71" fmla="*/ 203 h 300"/>
                <a:gd name="T72" fmla="*/ 251 w 285"/>
                <a:gd name="T73" fmla="*/ 253 h 300"/>
                <a:gd name="T74" fmla="*/ 195 w 285"/>
                <a:gd name="T75" fmla="*/ 289 h 300"/>
                <a:gd name="T76" fmla="*/ 136 w 285"/>
                <a:gd name="T77" fmla="*/ 300 h 300"/>
                <a:gd name="T78" fmla="*/ 76 w 285"/>
                <a:gd name="T79" fmla="*/ 288 h 300"/>
                <a:gd name="T80" fmla="*/ 32 w 285"/>
                <a:gd name="T81" fmla="*/ 254 h 300"/>
                <a:gd name="T82" fmla="*/ 4 w 285"/>
                <a:gd name="T83" fmla="*/ 197 h 300"/>
                <a:gd name="T84" fmla="*/ 1 w 285"/>
                <a:gd name="T85" fmla="*/ 145 h 300"/>
                <a:gd name="T86" fmla="*/ 26 w 285"/>
                <a:gd name="T87" fmla="*/ 75 h 300"/>
                <a:gd name="T88" fmla="*/ 60 w 285"/>
                <a:gd name="T89" fmla="*/ 36 h 300"/>
                <a:gd name="T90" fmla="*/ 116 w 285"/>
                <a:gd name="T91" fmla="*/ 7 h 300"/>
                <a:gd name="T92" fmla="*/ 173 w 285"/>
                <a:gd name="T93" fmla="*/ 0 h 300"/>
                <a:gd name="T94" fmla="*/ 218 w 285"/>
                <a:gd name="T95" fmla="*/ 14 h 300"/>
                <a:gd name="T96" fmla="*/ 265 w 285"/>
                <a:gd name="T97" fmla="*/ 66 h 300"/>
                <a:gd name="T98" fmla="*/ 117 w 285"/>
                <a:gd name="T99" fmla="*/ 76 h 300"/>
                <a:gd name="T100" fmla="*/ 90 w 285"/>
                <a:gd name="T101" fmla="*/ 117 h 300"/>
                <a:gd name="T102" fmla="*/ 77 w 285"/>
                <a:gd name="T103" fmla="*/ 180 h 300"/>
                <a:gd name="T104" fmla="*/ 88 w 285"/>
                <a:gd name="T105" fmla="*/ 208 h 300"/>
                <a:gd name="T106" fmla="*/ 105 w 285"/>
                <a:gd name="T107" fmla="*/ 207 h 300"/>
                <a:gd name="T108" fmla="*/ 130 w 285"/>
                <a:gd name="T109" fmla="*/ 175 h 300"/>
                <a:gd name="T110" fmla="*/ 145 w 285"/>
                <a:gd name="T111" fmla="*/ 126 h 300"/>
                <a:gd name="T112" fmla="*/ 144 w 285"/>
                <a:gd name="T113" fmla="*/ 77 h 300"/>
                <a:gd name="T114" fmla="*/ 127 w 285"/>
                <a:gd name="T115" fmla="*/ 7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 h="300">
                  <a:moveTo>
                    <a:pt x="268" y="79"/>
                  </a:moveTo>
                  <a:lnTo>
                    <a:pt x="268" y="79"/>
                  </a:lnTo>
                  <a:lnTo>
                    <a:pt x="270" y="90"/>
                  </a:lnTo>
                  <a:lnTo>
                    <a:pt x="271" y="101"/>
                  </a:lnTo>
                  <a:lnTo>
                    <a:pt x="270" y="112"/>
                  </a:lnTo>
                  <a:lnTo>
                    <a:pt x="269" y="124"/>
                  </a:lnTo>
                  <a:lnTo>
                    <a:pt x="267" y="134"/>
                  </a:lnTo>
                  <a:lnTo>
                    <a:pt x="263" y="145"/>
                  </a:lnTo>
                  <a:lnTo>
                    <a:pt x="258" y="157"/>
                  </a:lnTo>
                  <a:lnTo>
                    <a:pt x="252" y="168"/>
                  </a:lnTo>
                  <a:lnTo>
                    <a:pt x="252" y="168"/>
                  </a:lnTo>
                  <a:lnTo>
                    <a:pt x="252" y="168"/>
                  </a:lnTo>
                  <a:lnTo>
                    <a:pt x="245" y="179"/>
                  </a:lnTo>
                  <a:lnTo>
                    <a:pt x="238" y="188"/>
                  </a:lnTo>
                  <a:lnTo>
                    <a:pt x="233" y="196"/>
                  </a:lnTo>
                  <a:lnTo>
                    <a:pt x="226" y="203"/>
                  </a:lnTo>
                  <a:lnTo>
                    <a:pt x="218" y="209"/>
                  </a:lnTo>
                  <a:lnTo>
                    <a:pt x="210" y="213"/>
                  </a:lnTo>
                  <a:lnTo>
                    <a:pt x="200" y="217"/>
                  </a:lnTo>
                  <a:lnTo>
                    <a:pt x="189" y="221"/>
                  </a:lnTo>
                  <a:lnTo>
                    <a:pt x="175" y="221"/>
                  </a:lnTo>
                  <a:lnTo>
                    <a:pt x="175" y="221"/>
                  </a:lnTo>
                  <a:lnTo>
                    <a:pt x="169" y="222"/>
                  </a:lnTo>
                  <a:lnTo>
                    <a:pt x="164" y="221"/>
                  </a:lnTo>
                  <a:lnTo>
                    <a:pt x="158" y="220"/>
                  </a:lnTo>
                  <a:lnTo>
                    <a:pt x="152" y="218"/>
                  </a:lnTo>
                  <a:lnTo>
                    <a:pt x="152" y="218"/>
                  </a:lnTo>
                  <a:lnTo>
                    <a:pt x="152" y="218"/>
                  </a:lnTo>
                  <a:lnTo>
                    <a:pt x="148" y="214"/>
                  </a:lnTo>
                  <a:lnTo>
                    <a:pt x="143" y="211"/>
                  </a:lnTo>
                  <a:lnTo>
                    <a:pt x="140" y="207"/>
                  </a:lnTo>
                  <a:lnTo>
                    <a:pt x="136" y="202"/>
                  </a:lnTo>
                  <a:lnTo>
                    <a:pt x="136" y="202"/>
                  </a:lnTo>
                  <a:lnTo>
                    <a:pt x="136" y="202"/>
                  </a:lnTo>
                  <a:lnTo>
                    <a:pt x="126" y="214"/>
                  </a:lnTo>
                  <a:lnTo>
                    <a:pt x="115" y="224"/>
                  </a:lnTo>
                  <a:lnTo>
                    <a:pt x="109" y="226"/>
                  </a:lnTo>
                  <a:lnTo>
                    <a:pt x="103" y="229"/>
                  </a:lnTo>
                  <a:lnTo>
                    <a:pt x="98" y="230"/>
                  </a:lnTo>
                  <a:lnTo>
                    <a:pt x="92" y="231"/>
                  </a:lnTo>
                  <a:lnTo>
                    <a:pt x="92" y="231"/>
                  </a:lnTo>
                  <a:lnTo>
                    <a:pt x="92" y="231"/>
                  </a:lnTo>
                  <a:lnTo>
                    <a:pt x="81" y="231"/>
                  </a:lnTo>
                  <a:lnTo>
                    <a:pt x="75" y="230"/>
                  </a:lnTo>
                  <a:lnTo>
                    <a:pt x="71" y="228"/>
                  </a:lnTo>
                  <a:lnTo>
                    <a:pt x="66" y="226"/>
                  </a:lnTo>
                  <a:lnTo>
                    <a:pt x="61" y="224"/>
                  </a:lnTo>
                  <a:lnTo>
                    <a:pt x="58" y="220"/>
                  </a:lnTo>
                  <a:lnTo>
                    <a:pt x="55" y="216"/>
                  </a:lnTo>
                  <a:lnTo>
                    <a:pt x="55" y="216"/>
                  </a:lnTo>
                  <a:lnTo>
                    <a:pt x="55" y="216"/>
                  </a:lnTo>
                  <a:lnTo>
                    <a:pt x="50" y="208"/>
                  </a:lnTo>
                  <a:lnTo>
                    <a:pt x="47" y="197"/>
                  </a:lnTo>
                  <a:lnTo>
                    <a:pt x="44" y="186"/>
                  </a:lnTo>
                  <a:lnTo>
                    <a:pt x="44" y="174"/>
                  </a:lnTo>
                  <a:lnTo>
                    <a:pt x="44" y="174"/>
                  </a:lnTo>
                  <a:lnTo>
                    <a:pt x="44" y="174"/>
                  </a:lnTo>
                  <a:lnTo>
                    <a:pt x="46" y="155"/>
                  </a:lnTo>
                  <a:lnTo>
                    <a:pt x="49" y="138"/>
                  </a:lnTo>
                  <a:lnTo>
                    <a:pt x="55" y="120"/>
                  </a:lnTo>
                  <a:lnTo>
                    <a:pt x="63" y="103"/>
                  </a:lnTo>
                  <a:lnTo>
                    <a:pt x="63" y="103"/>
                  </a:lnTo>
                  <a:lnTo>
                    <a:pt x="63" y="103"/>
                  </a:lnTo>
                  <a:lnTo>
                    <a:pt x="68" y="94"/>
                  </a:lnTo>
                  <a:lnTo>
                    <a:pt x="74" y="86"/>
                  </a:lnTo>
                  <a:lnTo>
                    <a:pt x="80" y="79"/>
                  </a:lnTo>
                  <a:lnTo>
                    <a:pt x="86" y="74"/>
                  </a:lnTo>
                  <a:lnTo>
                    <a:pt x="93" y="68"/>
                  </a:lnTo>
                  <a:lnTo>
                    <a:pt x="101" y="64"/>
                  </a:lnTo>
                  <a:lnTo>
                    <a:pt x="108" y="60"/>
                  </a:lnTo>
                  <a:lnTo>
                    <a:pt x="116" y="58"/>
                  </a:lnTo>
                  <a:lnTo>
                    <a:pt x="116" y="58"/>
                  </a:lnTo>
                  <a:lnTo>
                    <a:pt x="116" y="58"/>
                  </a:lnTo>
                  <a:lnTo>
                    <a:pt x="123" y="57"/>
                  </a:lnTo>
                  <a:lnTo>
                    <a:pt x="130" y="56"/>
                  </a:lnTo>
                  <a:lnTo>
                    <a:pt x="135" y="56"/>
                  </a:lnTo>
                  <a:lnTo>
                    <a:pt x="140" y="57"/>
                  </a:lnTo>
                  <a:lnTo>
                    <a:pt x="144" y="59"/>
                  </a:lnTo>
                  <a:lnTo>
                    <a:pt x="149" y="61"/>
                  </a:lnTo>
                  <a:lnTo>
                    <a:pt x="152" y="65"/>
                  </a:lnTo>
                  <a:lnTo>
                    <a:pt x="156" y="68"/>
                  </a:lnTo>
                  <a:lnTo>
                    <a:pt x="156" y="68"/>
                  </a:lnTo>
                  <a:lnTo>
                    <a:pt x="156" y="68"/>
                  </a:lnTo>
                  <a:lnTo>
                    <a:pt x="158" y="60"/>
                  </a:lnTo>
                  <a:lnTo>
                    <a:pt x="161" y="53"/>
                  </a:lnTo>
                  <a:lnTo>
                    <a:pt x="167" y="49"/>
                  </a:lnTo>
                  <a:lnTo>
                    <a:pt x="175" y="45"/>
                  </a:lnTo>
                  <a:lnTo>
                    <a:pt x="175" y="45"/>
                  </a:lnTo>
                  <a:lnTo>
                    <a:pt x="175" y="45"/>
                  </a:lnTo>
                  <a:lnTo>
                    <a:pt x="184" y="44"/>
                  </a:lnTo>
                  <a:lnTo>
                    <a:pt x="191" y="44"/>
                  </a:lnTo>
                  <a:lnTo>
                    <a:pt x="194" y="47"/>
                  </a:lnTo>
                  <a:lnTo>
                    <a:pt x="195" y="49"/>
                  </a:lnTo>
                  <a:lnTo>
                    <a:pt x="196" y="51"/>
                  </a:lnTo>
                  <a:lnTo>
                    <a:pt x="196" y="51"/>
                  </a:lnTo>
                  <a:lnTo>
                    <a:pt x="196" y="51"/>
                  </a:lnTo>
                  <a:lnTo>
                    <a:pt x="196" y="53"/>
                  </a:lnTo>
                  <a:lnTo>
                    <a:pt x="196" y="53"/>
                  </a:lnTo>
                  <a:lnTo>
                    <a:pt x="196" y="53"/>
                  </a:lnTo>
                  <a:lnTo>
                    <a:pt x="186" y="107"/>
                  </a:lnTo>
                  <a:lnTo>
                    <a:pt x="179" y="148"/>
                  </a:lnTo>
                  <a:lnTo>
                    <a:pt x="176" y="160"/>
                  </a:lnTo>
                  <a:lnTo>
                    <a:pt x="176" y="160"/>
                  </a:lnTo>
                  <a:lnTo>
                    <a:pt x="170" y="187"/>
                  </a:lnTo>
                  <a:lnTo>
                    <a:pt x="170" y="187"/>
                  </a:lnTo>
                  <a:lnTo>
                    <a:pt x="170" y="187"/>
                  </a:lnTo>
                  <a:lnTo>
                    <a:pt x="172" y="191"/>
                  </a:lnTo>
                  <a:lnTo>
                    <a:pt x="174" y="194"/>
                  </a:lnTo>
                  <a:lnTo>
                    <a:pt x="177" y="195"/>
                  </a:lnTo>
                  <a:lnTo>
                    <a:pt x="182" y="195"/>
                  </a:lnTo>
                  <a:lnTo>
                    <a:pt x="182" y="195"/>
                  </a:lnTo>
                  <a:lnTo>
                    <a:pt x="182" y="195"/>
                  </a:lnTo>
                  <a:lnTo>
                    <a:pt x="190" y="194"/>
                  </a:lnTo>
                  <a:lnTo>
                    <a:pt x="195" y="191"/>
                  </a:lnTo>
                  <a:lnTo>
                    <a:pt x="202" y="187"/>
                  </a:lnTo>
                  <a:lnTo>
                    <a:pt x="208" y="183"/>
                  </a:lnTo>
                  <a:lnTo>
                    <a:pt x="213" y="177"/>
                  </a:lnTo>
                  <a:lnTo>
                    <a:pt x="218" y="169"/>
                  </a:lnTo>
                  <a:lnTo>
                    <a:pt x="223" y="161"/>
                  </a:lnTo>
                  <a:lnTo>
                    <a:pt x="227" y="151"/>
                  </a:lnTo>
                  <a:lnTo>
                    <a:pt x="227" y="151"/>
                  </a:lnTo>
                  <a:lnTo>
                    <a:pt x="227" y="151"/>
                  </a:lnTo>
                  <a:lnTo>
                    <a:pt x="233" y="135"/>
                  </a:lnTo>
                  <a:lnTo>
                    <a:pt x="235" y="119"/>
                  </a:lnTo>
                  <a:lnTo>
                    <a:pt x="236" y="103"/>
                  </a:lnTo>
                  <a:lnTo>
                    <a:pt x="235" y="89"/>
                  </a:lnTo>
                  <a:lnTo>
                    <a:pt x="235" y="89"/>
                  </a:lnTo>
                  <a:lnTo>
                    <a:pt x="235" y="89"/>
                  </a:lnTo>
                  <a:lnTo>
                    <a:pt x="233" y="78"/>
                  </a:lnTo>
                  <a:lnTo>
                    <a:pt x="229" y="68"/>
                  </a:lnTo>
                  <a:lnTo>
                    <a:pt x="225" y="59"/>
                  </a:lnTo>
                  <a:lnTo>
                    <a:pt x="219" y="51"/>
                  </a:lnTo>
                  <a:lnTo>
                    <a:pt x="213" y="44"/>
                  </a:lnTo>
                  <a:lnTo>
                    <a:pt x="207" y="39"/>
                  </a:lnTo>
                  <a:lnTo>
                    <a:pt x="199" y="33"/>
                  </a:lnTo>
                  <a:lnTo>
                    <a:pt x="191" y="28"/>
                  </a:lnTo>
                  <a:lnTo>
                    <a:pt x="191" y="28"/>
                  </a:lnTo>
                  <a:lnTo>
                    <a:pt x="191" y="28"/>
                  </a:lnTo>
                  <a:lnTo>
                    <a:pt x="182" y="25"/>
                  </a:lnTo>
                  <a:lnTo>
                    <a:pt x="174" y="23"/>
                  </a:lnTo>
                  <a:lnTo>
                    <a:pt x="165" y="22"/>
                  </a:lnTo>
                  <a:lnTo>
                    <a:pt x="156" y="20"/>
                  </a:lnTo>
                  <a:lnTo>
                    <a:pt x="147" y="20"/>
                  </a:lnTo>
                  <a:lnTo>
                    <a:pt x="136" y="22"/>
                  </a:lnTo>
                  <a:lnTo>
                    <a:pt x="127" y="23"/>
                  </a:lnTo>
                  <a:lnTo>
                    <a:pt x="117" y="26"/>
                  </a:lnTo>
                  <a:lnTo>
                    <a:pt x="117" y="26"/>
                  </a:lnTo>
                  <a:lnTo>
                    <a:pt x="117" y="26"/>
                  </a:lnTo>
                  <a:lnTo>
                    <a:pt x="107" y="30"/>
                  </a:lnTo>
                  <a:lnTo>
                    <a:pt x="97" y="33"/>
                  </a:lnTo>
                  <a:lnTo>
                    <a:pt x="88" y="39"/>
                  </a:lnTo>
                  <a:lnTo>
                    <a:pt x="79" y="44"/>
                  </a:lnTo>
                  <a:lnTo>
                    <a:pt x="71" y="50"/>
                  </a:lnTo>
                  <a:lnTo>
                    <a:pt x="63" y="57"/>
                  </a:lnTo>
                  <a:lnTo>
                    <a:pt x="55" y="65"/>
                  </a:lnTo>
                  <a:lnTo>
                    <a:pt x="49" y="73"/>
                  </a:lnTo>
                  <a:lnTo>
                    <a:pt x="49" y="73"/>
                  </a:lnTo>
                  <a:lnTo>
                    <a:pt x="49" y="73"/>
                  </a:lnTo>
                  <a:lnTo>
                    <a:pt x="42" y="82"/>
                  </a:lnTo>
                  <a:lnTo>
                    <a:pt x="37" y="91"/>
                  </a:lnTo>
                  <a:lnTo>
                    <a:pt x="32" y="100"/>
                  </a:lnTo>
                  <a:lnTo>
                    <a:pt x="29" y="110"/>
                  </a:lnTo>
                  <a:lnTo>
                    <a:pt x="26" y="120"/>
                  </a:lnTo>
                  <a:lnTo>
                    <a:pt x="24" y="131"/>
                  </a:lnTo>
                  <a:lnTo>
                    <a:pt x="22" y="141"/>
                  </a:lnTo>
                  <a:lnTo>
                    <a:pt x="22" y="152"/>
                  </a:lnTo>
                  <a:lnTo>
                    <a:pt x="22" y="152"/>
                  </a:lnTo>
                  <a:lnTo>
                    <a:pt x="22" y="152"/>
                  </a:lnTo>
                  <a:lnTo>
                    <a:pt x="22" y="163"/>
                  </a:lnTo>
                  <a:lnTo>
                    <a:pt x="23" y="176"/>
                  </a:lnTo>
                  <a:lnTo>
                    <a:pt x="25" y="186"/>
                  </a:lnTo>
                  <a:lnTo>
                    <a:pt x="27" y="196"/>
                  </a:lnTo>
                  <a:lnTo>
                    <a:pt x="32" y="207"/>
                  </a:lnTo>
                  <a:lnTo>
                    <a:pt x="37" y="217"/>
                  </a:lnTo>
                  <a:lnTo>
                    <a:pt x="42" y="226"/>
                  </a:lnTo>
                  <a:lnTo>
                    <a:pt x="49" y="234"/>
                  </a:lnTo>
                  <a:lnTo>
                    <a:pt x="49" y="234"/>
                  </a:lnTo>
                  <a:lnTo>
                    <a:pt x="49" y="234"/>
                  </a:lnTo>
                  <a:lnTo>
                    <a:pt x="58" y="243"/>
                  </a:lnTo>
                  <a:lnTo>
                    <a:pt x="67" y="251"/>
                  </a:lnTo>
                  <a:lnTo>
                    <a:pt x="76" y="256"/>
                  </a:lnTo>
                  <a:lnTo>
                    <a:pt x="88" y="261"/>
                  </a:lnTo>
                  <a:lnTo>
                    <a:pt x="99" y="266"/>
                  </a:lnTo>
                  <a:lnTo>
                    <a:pt x="110" y="268"/>
                  </a:lnTo>
                  <a:lnTo>
                    <a:pt x="124" y="269"/>
                  </a:lnTo>
                  <a:lnTo>
                    <a:pt x="137" y="269"/>
                  </a:lnTo>
                  <a:lnTo>
                    <a:pt x="137" y="269"/>
                  </a:lnTo>
                  <a:lnTo>
                    <a:pt x="137" y="269"/>
                  </a:lnTo>
                  <a:lnTo>
                    <a:pt x="151" y="268"/>
                  </a:lnTo>
                  <a:lnTo>
                    <a:pt x="165" y="266"/>
                  </a:lnTo>
                  <a:lnTo>
                    <a:pt x="177" y="261"/>
                  </a:lnTo>
                  <a:lnTo>
                    <a:pt x="190" y="256"/>
                  </a:lnTo>
                  <a:lnTo>
                    <a:pt x="201" y="250"/>
                  </a:lnTo>
                  <a:lnTo>
                    <a:pt x="212" y="242"/>
                  </a:lnTo>
                  <a:lnTo>
                    <a:pt x="223" y="234"/>
                  </a:lnTo>
                  <a:lnTo>
                    <a:pt x="232" y="224"/>
                  </a:lnTo>
                  <a:lnTo>
                    <a:pt x="232" y="224"/>
                  </a:lnTo>
                  <a:lnTo>
                    <a:pt x="232" y="224"/>
                  </a:lnTo>
                  <a:lnTo>
                    <a:pt x="248" y="203"/>
                  </a:lnTo>
                  <a:lnTo>
                    <a:pt x="248" y="203"/>
                  </a:lnTo>
                  <a:lnTo>
                    <a:pt x="248" y="203"/>
                  </a:lnTo>
                  <a:lnTo>
                    <a:pt x="251" y="199"/>
                  </a:lnTo>
                  <a:lnTo>
                    <a:pt x="257" y="194"/>
                  </a:lnTo>
                  <a:lnTo>
                    <a:pt x="261" y="192"/>
                  </a:lnTo>
                  <a:lnTo>
                    <a:pt x="267" y="191"/>
                  </a:lnTo>
                  <a:lnTo>
                    <a:pt x="267" y="191"/>
                  </a:lnTo>
                  <a:lnTo>
                    <a:pt x="267" y="191"/>
                  </a:lnTo>
                  <a:lnTo>
                    <a:pt x="274" y="191"/>
                  </a:lnTo>
                  <a:lnTo>
                    <a:pt x="279" y="192"/>
                  </a:lnTo>
                  <a:lnTo>
                    <a:pt x="283" y="194"/>
                  </a:lnTo>
                  <a:lnTo>
                    <a:pt x="285" y="197"/>
                  </a:lnTo>
                  <a:lnTo>
                    <a:pt x="285" y="197"/>
                  </a:lnTo>
                  <a:lnTo>
                    <a:pt x="285" y="197"/>
                  </a:lnTo>
                  <a:lnTo>
                    <a:pt x="285" y="200"/>
                  </a:lnTo>
                  <a:lnTo>
                    <a:pt x="284" y="203"/>
                  </a:lnTo>
                  <a:lnTo>
                    <a:pt x="284" y="203"/>
                  </a:lnTo>
                  <a:lnTo>
                    <a:pt x="284" y="203"/>
                  </a:lnTo>
                  <a:lnTo>
                    <a:pt x="278" y="214"/>
                  </a:lnTo>
                  <a:lnTo>
                    <a:pt x="272" y="225"/>
                  </a:lnTo>
                  <a:lnTo>
                    <a:pt x="266" y="235"/>
                  </a:lnTo>
                  <a:lnTo>
                    <a:pt x="259" y="244"/>
                  </a:lnTo>
                  <a:lnTo>
                    <a:pt x="251" y="253"/>
                  </a:lnTo>
                  <a:lnTo>
                    <a:pt x="243" y="260"/>
                  </a:lnTo>
                  <a:lnTo>
                    <a:pt x="234" y="268"/>
                  </a:lnTo>
                  <a:lnTo>
                    <a:pt x="225" y="273"/>
                  </a:lnTo>
                  <a:lnTo>
                    <a:pt x="216" y="279"/>
                  </a:lnTo>
                  <a:lnTo>
                    <a:pt x="206" y="285"/>
                  </a:lnTo>
                  <a:lnTo>
                    <a:pt x="195" y="289"/>
                  </a:lnTo>
                  <a:lnTo>
                    <a:pt x="184" y="293"/>
                  </a:lnTo>
                  <a:lnTo>
                    <a:pt x="173" y="295"/>
                  </a:lnTo>
                  <a:lnTo>
                    <a:pt x="161" y="297"/>
                  </a:lnTo>
                  <a:lnTo>
                    <a:pt x="149" y="298"/>
                  </a:lnTo>
                  <a:lnTo>
                    <a:pt x="136" y="300"/>
                  </a:lnTo>
                  <a:lnTo>
                    <a:pt x="136" y="300"/>
                  </a:lnTo>
                  <a:lnTo>
                    <a:pt x="136" y="300"/>
                  </a:lnTo>
                  <a:lnTo>
                    <a:pt x="120" y="298"/>
                  </a:lnTo>
                  <a:lnTo>
                    <a:pt x="105" y="297"/>
                  </a:lnTo>
                  <a:lnTo>
                    <a:pt x="90" y="293"/>
                  </a:lnTo>
                  <a:lnTo>
                    <a:pt x="76" y="288"/>
                  </a:lnTo>
                  <a:lnTo>
                    <a:pt x="76" y="288"/>
                  </a:lnTo>
                  <a:lnTo>
                    <a:pt x="76" y="288"/>
                  </a:lnTo>
                  <a:lnTo>
                    <a:pt x="64" y="281"/>
                  </a:lnTo>
                  <a:lnTo>
                    <a:pt x="52" y="273"/>
                  </a:lnTo>
                  <a:lnTo>
                    <a:pt x="42" y="264"/>
                  </a:lnTo>
                  <a:lnTo>
                    <a:pt x="32" y="254"/>
                  </a:lnTo>
                  <a:lnTo>
                    <a:pt x="32" y="254"/>
                  </a:lnTo>
                  <a:lnTo>
                    <a:pt x="32" y="254"/>
                  </a:lnTo>
                  <a:lnTo>
                    <a:pt x="24" y="244"/>
                  </a:lnTo>
                  <a:lnTo>
                    <a:pt x="17" y="234"/>
                  </a:lnTo>
                  <a:lnTo>
                    <a:pt x="12" y="222"/>
                  </a:lnTo>
                  <a:lnTo>
                    <a:pt x="7" y="210"/>
                  </a:lnTo>
                  <a:lnTo>
                    <a:pt x="4" y="197"/>
                  </a:lnTo>
                  <a:lnTo>
                    <a:pt x="1" y="185"/>
                  </a:lnTo>
                  <a:lnTo>
                    <a:pt x="0" y="171"/>
                  </a:lnTo>
                  <a:lnTo>
                    <a:pt x="0" y="158"/>
                  </a:lnTo>
                  <a:lnTo>
                    <a:pt x="0" y="158"/>
                  </a:lnTo>
                  <a:lnTo>
                    <a:pt x="0" y="158"/>
                  </a:lnTo>
                  <a:lnTo>
                    <a:pt x="1" y="145"/>
                  </a:lnTo>
                  <a:lnTo>
                    <a:pt x="4" y="132"/>
                  </a:lnTo>
                  <a:lnTo>
                    <a:pt x="6" y="120"/>
                  </a:lnTo>
                  <a:lnTo>
                    <a:pt x="9" y="108"/>
                  </a:lnTo>
                  <a:lnTo>
                    <a:pt x="15" y="96"/>
                  </a:lnTo>
                  <a:lnTo>
                    <a:pt x="20" y="85"/>
                  </a:lnTo>
                  <a:lnTo>
                    <a:pt x="26" y="75"/>
                  </a:lnTo>
                  <a:lnTo>
                    <a:pt x="34" y="65"/>
                  </a:lnTo>
                  <a:lnTo>
                    <a:pt x="34" y="65"/>
                  </a:lnTo>
                  <a:lnTo>
                    <a:pt x="34" y="65"/>
                  </a:lnTo>
                  <a:lnTo>
                    <a:pt x="42" y="55"/>
                  </a:lnTo>
                  <a:lnTo>
                    <a:pt x="51" y="45"/>
                  </a:lnTo>
                  <a:lnTo>
                    <a:pt x="60" y="36"/>
                  </a:lnTo>
                  <a:lnTo>
                    <a:pt x="71" y="30"/>
                  </a:lnTo>
                  <a:lnTo>
                    <a:pt x="81" y="23"/>
                  </a:lnTo>
                  <a:lnTo>
                    <a:pt x="92" y="17"/>
                  </a:lnTo>
                  <a:lnTo>
                    <a:pt x="103" y="11"/>
                  </a:lnTo>
                  <a:lnTo>
                    <a:pt x="116" y="7"/>
                  </a:lnTo>
                  <a:lnTo>
                    <a:pt x="116" y="7"/>
                  </a:lnTo>
                  <a:lnTo>
                    <a:pt x="116" y="7"/>
                  </a:lnTo>
                  <a:lnTo>
                    <a:pt x="127" y="3"/>
                  </a:lnTo>
                  <a:lnTo>
                    <a:pt x="139" y="1"/>
                  </a:lnTo>
                  <a:lnTo>
                    <a:pt x="150" y="0"/>
                  </a:lnTo>
                  <a:lnTo>
                    <a:pt x="161" y="0"/>
                  </a:lnTo>
                  <a:lnTo>
                    <a:pt x="173" y="0"/>
                  </a:lnTo>
                  <a:lnTo>
                    <a:pt x="184" y="2"/>
                  </a:lnTo>
                  <a:lnTo>
                    <a:pt x="195" y="5"/>
                  </a:lnTo>
                  <a:lnTo>
                    <a:pt x="206" y="8"/>
                  </a:lnTo>
                  <a:lnTo>
                    <a:pt x="206" y="8"/>
                  </a:lnTo>
                  <a:lnTo>
                    <a:pt x="206" y="8"/>
                  </a:lnTo>
                  <a:lnTo>
                    <a:pt x="218" y="14"/>
                  </a:lnTo>
                  <a:lnTo>
                    <a:pt x="228" y="19"/>
                  </a:lnTo>
                  <a:lnTo>
                    <a:pt x="238" y="26"/>
                  </a:lnTo>
                  <a:lnTo>
                    <a:pt x="246" y="35"/>
                  </a:lnTo>
                  <a:lnTo>
                    <a:pt x="253" y="44"/>
                  </a:lnTo>
                  <a:lnTo>
                    <a:pt x="260" y="55"/>
                  </a:lnTo>
                  <a:lnTo>
                    <a:pt x="265" y="66"/>
                  </a:lnTo>
                  <a:lnTo>
                    <a:pt x="268" y="79"/>
                  </a:lnTo>
                  <a:lnTo>
                    <a:pt x="268" y="79"/>
                  </a:lnTo>
                  <a:close/>
                  <a:moveTo>
                    <a:pt x="127" y="72"/>
                  </a:moveTo>
                  <a:lnTo>
                    <a:pt x="127" y="72"/>
                  </a:lnTo>
                  <a:lnTo>
                    <a:pt x="122" y="73"/>
                  </a:lnTo>
                  <a:lnTo>
                    <a:pt x="117" y="76"/>
                  </a:lnTo>
                  <a:lnTo>
                    <a:pt x="111" y="81"/>
                  </a:lnTo>
                  <a:lnTo>
                    <a:pt x="107" y="85"/>
                  </a:lnTo>
                  <a:lnTo>
                    <a:pt x="102" y="92"/>
                  </a:lnTo>
                  <a:lnTo>
                    <a:pt x="98" y="99"/>
                  </a:lnTo>
                  <a:lnTo>
                    <a:pt x="90" y="117"/>
                  </a:lnTo>
                  <a:lnTo>
                    <a:pt x="90" y="117"/>
                  </a:lnTo>
                  <a:lnTo>
                    <a:pt x="90" y="117"/>
                  </a:lnTo>
                  <a:lnTo>
                    <a:pt x="84" y="134"/>
                  </a:lnTo>
                  <a:lnTo>
                    <a:pt x="80" y="151"/>
                  </a:lnTo>
                  <a:lnTo>
                    <a:pt x="77" y="166"/>
                  </a:lnTo>
                  <a:lnTo>
                    <a:pt x="77" y="180"/>
                  </a:lnTo>
                  <a:lnTo>
                    <a:pt x="77" y="180"/>
                  </a:lnTo>
                  <a:lnTo>
                    <a:pt x="77" y="180"/>
                  </a:lnTo>
                  <a:lnTo>
                    <a:pt x="79" y="194"/>
                  </a:lnTo>
                  <a:lnTo>
                    <a:pt x="81" y="199"/>
                  </a:lnTo>
                  <a:lnTo>
                    <a:pt x="82" y="203"/>
                  </a:lnTo>
                  <a:lnTo>
                    <a:pt x="85" y="205"/>
                  </a:lnTo>
                  <a:lnTo>
                    <a:pt x="88" y="208"/>
                  </a:lnTo>
                  <a:lnTo>
                    <a:pt x="92" y="209"/>
                  </a:lnTo>
                  <a:lnTo>
                    <a:pt x="96" y="209"/>
                  </a:lnTo>
                  <a:lnTo>
                    <a:pt x="96" y="209"/>
                  </a:lnTo>
                  <a:lnTo>
                    <a:pt x="96" y="209"/>
                  </a:lnTo>
                  <a:lnTo>
                    <a:pt x="100" y="208"/>
                  </a:lnTo>
                  <a:lnTo>
                    <a:pt x="105" y="207"/>
                  </a:lnTo>
                  <a:lnTo>
                    <a:pt x="109" y="203"/>
                  </a:lnTo>
                  <a:lnTo>
                    <a:pt x="114" y="200"/>
                  </a:lnTo>
                  <a:lnTo>
                    <a:pt x="122" y="190"/>
                  </a:lnTo>
                  <a:lnTo>
                    <a:pt x="130" y="175"/>
                  </a:lnTo>
                  <a:lnTo>
                    <a:pt x="130" y="175"/>
                  </a:lnTo>
                  <a:lnTo>
                    <a:pt x="130" y="175"/>
                  </a:lnTo>
                  <a:lnTo>
                    <a:pt x="135" y="163"/>
                  </a:lnTo>
                  <a:lnTo>
                    <a:pt x="140" y="151"/>
                  </a:lnTo>
                  <a:lnTo>
                    <a:pt x="143" y="138"/>
                  </a:lnTo>
                  <a:lnTo>
                    <a:pt x="145" y="126"/>
                  </a:lnTo>
                  <a:lnTo>
                    <a:pt x="145" y="126"/>
                  </a:lnTo>
                  <a:lnTo>
                    <a:pt x="145" y="126"/>
                  </a:lnTo>
                  <a:lnTo>
                    <a:pt x="149" y="108"/>
                  </a:lnTo>
                  <a:lnTo>
                    <a:pt x="149" y="92"/>
                  </a:lnTo>
                  <a:lnTo>
                    <a:pt x="149" y="92"/>
                  </a:lnTo>
                  <a:lnTo>
                    <a:pt x="149" y="92"/>
                  </a:lnTo>
                  <a:lnTo>
                    <a:pt x="147" y="82"/>
                  </a:lnTo>
                  <a:lnTo>
                    <a:pt x="144" y="77"/>
                  </a:lnTo>
                  <a:lnTo>
                    <a:pt x="142" y="74"/>
                  </a:lnTo>
                  <a:lnTo>
                    <a:pt x="139" y="72"/>
                  </a:lnTo>
                  <a:lnTo>
                    <a:pt x="135" y="70"/>
                  </a:lnTo>
                  <a:lnTo>
                    <a:pt x="132" y="70"/>
                  </a:lnTo>
                  <a:lnTo>
                    <a:pt x="127" y="72"/>
                  </a:lnTo>
                  <a:lnTo>
                    <a:pt x="127" y="72"/>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39" name="TextBox 338"/>
            <p:cNvSpPr txBox="1"/>
            <p:nvPr>
              <p:custDataLst>
                <p:tags r:id="rId12"/>
              </p:custDataLst>
            </p:nvPr>
          </p:nvSpPr>
          <p:spPr>
            <a:xfrm>
              <a:off x="2454533" y="5235429"/>
              <a:ext cx="1672596" cy="153888"/>
            </a:xfrm>
            <a:prstGeom prst="rect">
              <a:avLst/>
            </a:prstGeom>
            <a:noFill/>
          </p:spPr>
          <p:txBody>
            <a:bodyPr wrap="square" lIns="0" tIns="0" rIns="0" bIns="0" rtlCol="0" anchor="b">
              <a:spAutoFit/>
            </a:bodyPr>
            <a:lstStyle/>
            <a:p>
              <a:r>
                <a:rPr lang="en-US" sz="1000" b="1" dirty="0" smtClean="0">
                  <a:solidFill>
                    <a:schemeClr val="tx1">
                      <a:lumMod val="75000"/>
                      <a:lumOff val="25000"/>
                    </a:schemeClr>
                  </a:solidFill>
                </a:rPr>
                <a:t>m.manish@gmail.com</a:t>
              </a:r>
              <a:endParaRPr lang="en-US" sz="1000" b="1" dirty="0">
                <a:solidFill>
                  <a:schemeClr val="tx1">
                    <a:lumMod val="75000"/>
                    <a:lumOff val="25000"/>
                  </a:schemeClr>
                </a:solidFill>
              </a:endParaRPr>
            </a:p>
          </p:txBody>
        </p:sp>
      </p:grpSp>
      <p:grpSp>
        <p:nvGrpSpPr>
          <p:cNvPr id="347" name="Group 346"/>
          <p:cNvGrpSpPr/>
          <p:nvPr/>
        </p:nvGrpSpPr>
        <p:grpSpPr>
          <a:xfrm>
            <a:off x="4324468" y="3654820"/>
            <a:ext cx="2086601" cy="239221"/>
            <a:chOff x="4198218" y="4862941"/>
            <a:chExt cx="2086601" cy="239221"/>
          </a:xfrm>
        </p:grpSpPr>
        <p:sp>
          <p:nvSpPr>
            <p:cNvPr id="310" name="Freeform 55"/>
            <p:cNvSpPr>
              <a:spLocks/>
            </p:cNvSpPr>
            <p:nvPr>
              <p:custDataLst>
                <p:tags r:id="rId9"/>
              </p:custDataLst>
            </p:nvPr>
          </p:nvSpPr>
          <p:spPr bwMode="auto">
            <a:xfrm>
              <a:off x="4198218" y="4862941"/>
              <a:ext cx="297745" cy="239221"/>
            </a:xfrm>
            <a:custGeom>
              <a:avLst/>
              <a:gdLst/>
              <a:ahLst/>
              <a:cxnLst/>
              <a:rect l="l" t="t" r="r" b="b"/>
              <a:pathLst>
                <a:path w="646113" h="519113">
                  <a:moveTo>
                    <a:pt x="322263" y="68263"/>
                  </a:moveTo>
                  <a:lnTo>
                    <a:pt x="336550" y="71438"/>
                  </a:lnTo>
                  <a:lnTo>
                    <a:pt x="352425" y="76201"/>
                  </a:lnTo>
                  <a:lnTo>
                    <a:pt x="365125" y="84138"/>
                  </a:lnTo>
                  <a:lnTo>
                    <a:pt x="377825" y="92076"/>
                  </a:lnTo>
                  <a:lnTo>
                    <a:pt x="557213" y="271463"/>
                  </a:lnTo>
                  <a:lnTo>
                    <a:pt x="557213" y="479426"/>
                  </a:lnTo>
                  <a:lnTo>
                    <a:pt x="557213" y="485776"/>
                  </a:lnTo>
                  <a:lnTo>
                    <a:pt x="552451" y="495301"/>
                  </a:lnTo>
                  <a:lnTo>
                    <a:pt x="549276" y="500063"/>
                  </a:lnTo>
                  <a:lnTo>
                    <a:pt x="544513" y="508001"/>
                  </a:lnTo>
                  <a:lnTo>
                    <a:pt x="538163" y="512763"/>
                  </a:lnTo>
                  <a:lnTo>
                    <a:pt x="531813" y="517526"/>
                  </a:lnTo>
                  <a:lnTo>
                    <a:pt x="523876" y="519113"/>
                  </a:lnTo>
                  <a:lnTo>
                    <a:pt x="514351" y="519113"/>
                  </a:lnTo>
                  <a:lnTo>
                    <a:pt x="415925" y="519113"/>
                  </a:lnTo>
                  <a:lnTo>
                    <a:pt x="415925" y="396876"/>
                  </a:lnTo>
                  <a:lnTo>
                    <a:pt x="415925" y="392113"/>
                  </a:lnTo>
                  <a:lnTo>
                    <a:pt x="412750" y="385763"/>
                  </a:lnTo>
                  <a:lnTo>
                    <a:pt x="407988" y="379413"/>
                  </a:lnTo>
                  <a:lnTo>
                    <a:pt x="398463" y="371476"/>
                  </a:lnTo>
                  <a:lnTo>
                    <a:pt x="395288" y="369888"/>
                  </a:lnTo>
                  <a:lnTo>
                    <a:pt x="390525" y="369888"/>
                  </a:lnTo>
                  <a:lnTo>
                    <a:pt x="255588" y="369888"/>
                  </a:lnTo>
                  <a:lnTo>
                    <a:pt x="250825" y="369888"/>
                  </a:lnTo>
                  <a:lnTo>
                    <a:pt x="246063" y="371476"/>
                  </a:lnTo>
                  <a:lnTo>
                    <a:pt x="238125" y="379413"/>
                  </a:lnTo>
                  <a:lnTo>
                    <a:pt x="231775" y="385763"/>
                  </a:lnTo>
                  <a:lnTo>
                    <a:pt x="230188" y="392113"/>
                  </a:lnTo>
                  <a:lnTo>
                    <a:pt x="230188" y="396876"/>
                  </a:lnTo>
                  <a:lnTo>
                    <a:pt x="230188" y="519113"/>
                  </a:lnTo>
                  <a:lnTo>
                    <a:pt x="130175" y="519113"/>
                  </a:lnTo>
                  <a:lnTo>
                    <a:pt x="122238" y="519113"/>
                  </a:lnTo>
                  <a:lnTo>
                    <a:pt x="114300" y="517526"/>
                  </a:lnTo>
                  <a:lnTo>
                    <a:pt x="106363" y="512763"/>
                  </a:lnTo>
                  <a:lnTo>
                    <a:pt x="101600" y="508001"/>
                  </a:lnTo>
                  <a:lnTo>
                    <a:pt x="96838" y="500063"/>
                  </a:lnTo>
                  <a:lnTo>
                    <a:pt x="92075" y="495301"/>
                  </a:lnTo>
                  <a:lnTo>
                    <a:pt x="88900" y="485776"/>
                  </a:lnTo>
                  <a:lnTo>
                    <a:pt x="88900" y="479426"/>
                  </a:lnTo>
                  <a:lnTo>
                    <a:pt x="88900" y="271463"/>
                  </a:lnTo>
                  <a:lnTo>
                    <a:pt x="268288" y="92076"/>
                  </a:lnTo>
                  <a:lnTo>
                    <a:pt x="280988" y="84138"/>
                  </a:lnTo>
                  <a:lnTo>
                    <a:pt x="293688" y="76201"/>
                  </a:lnTo>
                  <a:lnTo>
                    <a:pt x="307975" y="71438"/>
                  </a:lnTo>
                  <a:close/>
                  <a:moveTo>
                    <a:pt x="309563" y="0"/>
                  </a:moveTo>
                  <a:lnTo>
                    <a:pt x="322263" y="0"/>
                  </a:lnTo>
                  <a:lnTo>
                    <a:pt x="334963" y="0"/>
                  </a:lnTo>
                  <a:lnTo>
                    <a:pt x="346075" y="1588"/>
                  </a:lnTo>
                  <a:lnTo>
                    <a:pt x="358775" y="4763"/>
                  </a:lnTo>
                  <a:lnTo>
                    <a:pt x="369888" y="9525"/>
                  </a:lnTo>
                  <a:lnTo>
                    <a:pt x="381000" y="14288"/>
                  </a:lnTo>
                  <a:lnTo>
                    <a:pt x="392113" y="20638"/>
                  </a:lnTo>
                  <a:lnTo>
                    <a:pt x="400050" y="26988"/>
                  </a:lnTo>
                  <a:lnTo>
                    <a:pt x="409575" y="36513"/>
                  </a:lnTo>
                  <a:lnTo>
                    <a:pt x="639763" y="266700"/>
                  </a:lnTo>
                  <a:lnTo>
                    <a:pt x="642938" y="271463"/>
                  </a:lnTo>
                  <a:lnTo>
                    <a:pt x="646113" y="279400"/>
                  </a:lnTo>
                  <a:lnTo>
                    <a:pt x="642938" y="285750"/>
                  </a:lnTo>
                  <a:lnTo>
                    <a:pt x="639763" y="293688"/>
                  </a:lnTo>
                  <a:lnTo>
                    <a:pt x="635001" y="296863"/>
                  </a:lnTo>
                  <a:lnTo>
                    <a:pt x="627063" y="298450"/>
                  </a:lnTo>
                  <a:lnTo>
                    <a:pt x="620713" y="296863"/>
                  </a:lnTo>
                  <a:lnTo>
                    <a:pt x="612776" y="293688"/>
                  </a:lnTo>
                  <a:lnTo>
                    <a:pt x="382588" y="63500"/>
                  </a:lnTo>
                  <a:lnTo>
                    <a:pt x="369888" y="52388"/>
                  </a:lnTo>
                  <a:lnTo>
                    <a:pt x="355600" y="46038"/>
                  </a:lnTo>
                  <a:lnTo>
                    <a:pt x="339725" y="39688"/>
                  </a:lnTo>
                  <a:lnTo>
                    <a:pt x="322263" y="38100"/>
                  </a:lnTo>
                  <a:lnTo>
                    <a:pt x="306388" y="39688"/>
                  </a:lnTo>
                  <a:lnTo>
                    <a:pt x="290513" y="46038"/>
                  </a:lnTo>
                  <a:lnTo>
                    <a:pt x="276225" y="52388"/>
                  </a:lnTo>
                  <a:lnTo>
                    <a:pt x="263525" y="63500"/>
                  </a:lnTo>
                  <a:lnTo>
                    <a:pt x="33338" y="293688"/>
                  </a:lnTo>
                  <a:lnTo>
                    <a:pt x="25400" y="296863"/>
                  </a:lnTo>
                  <a:lnTo>
                    <a:pt x="17463" y="298450"/>
                  </a:lnTo>
                  <a:lnTo>
                    <a:pt x="11113" y="296863"/>
                  </a:lnTo>
                  <a:lnTo>
                    <a:pt x="4763" y="293688"/>
                  </a:lnTo>
                  <a:lnTo>
                    <a:pt x="1588" y="285750"/>
                  </a:lnTo>
                  <a:lnTo>
                    <a:pt x="0" y="279400"/>
                  </a:lnTo>
                  <a:lnTo>
                    <a:pt x="1588" y="271463"/>
                  </a:lnTo>
                  <a:lnTo>
                    <a:pt x="4763" y="266700"/>
                  </a:lnTo>
                  <a:lnTo>
                    <a:pt x="234950" y="36513"/>
                  </a:lnTo>
                  <a:lnTo>
                    <a:pt x="244475" y="26988"/>
                  </a:lnTo>
                  <a:lnTo>
                    <a:pt x="254000" y="20638"/>
                  </a:lnTo>
                  <a:lnTo>
                    <a:pt x="265113" y="14288"/>
                  </a:lnTo>
                  <a:lnTo>
                    <a:pt x="276225" y="9525"/>
                  </a:lnTo>
                  <a:lnTo>
                    <a:pt x="285750" y="4763"/>
                  </a:lnTo>
                  <a:lnTo>
                    <a:pt x="298450" y="1588"/>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40" name="TextBox 339"/>
            <p:cNvSpPr txBox="1"/>
            <p:nvPr>
              <p:custDataLst>
                <p:tags r:id="rId10"/>
              </p:custDataLst>
            </p:nvPr>
          </p:nvSpPr>
          <p:spPr>
            <a:xfrm>
              <a:off x="4612223" y="4927004"/>
              <a:ext cx="1672596" cy="153888"/>
            </a:xfrm>
            <a:prstGeom prst="rect">
              <a:avLst/>
            </a:prstGeom>
            <a:noFill/>
          </p:spPr>
          <p:txBody>
            <a:bodyPr wrap="square" lIns="0" tIns="0" rIns="0" bIns="0" rtlCol="0" anchor="b">
              <a:spAutoFit/>
            </a:bodyPr>
            <a:lstStyle/>
            <a:p>
              <a:r>
                <a:rPr lang="en-US" sz="1000" b="1" dirty="0" smtClean="0">
                  <a:solidFill>
                    <a:schemeClr val="tx1">
                      <a:lumMod val="75000"/>
                      <a:lumOff val="25000"/>
                    </a:schemeClr>
                  </a:solidFill>
                </a:rPr>
                <a:t>52, Bellary Road, Bangalore</a:t>
              </a:r>
              <a:endParaRPr lang="en-US" sz="1000" b="1" dirty="0">
                <a:solidFill>
                  <a:schemeClr val="tx1">
                    <a:lumMod val="75000"/>
                    <a:lumOff val="25000"/>
                  </a:schemeClr>
                </a:solidFill>
              </a:endParaRPr>
            </a:p>
          </p:txBody>
        </p:sp>
      </p:grpSp>
      <p:grpSp>
        <p:nvGrpSpPr>
          <p:cNvPr id="346" name="Group 345"/>
          <p:cNvGrpSpPr/>
          <p:nvPr/>
        </p:nvGrpSpPr>
        <p:grpSpPr>
          <a:xfrm>
            <a:off x="4338614" y="4107755"/>
            <a:ext cx="2011452" cy="265487"/>
            <a:chOff x="4273367" y="5173839"/>
            <a:chExt cx="2011452" cy="265487"/>
          </a:xfrm>
        </p:grpSpPr>
        <p:grpSp>
          <p:nvGrpSpPr>
            <p:cNvPr id="27" name="Group 26"/>
            <p:cNvGrpSpPr/>
            <p:nvPr>
              <p:custDataLst>
                <p:tags r:id="rId7"/>
              </p:custDataLst>
            </p:nvPr>
          </p:nvGrpSpPr>
          <p:grpSpPr>
            <a:xfrm>
              <a:off x="4273367" y="5173839"/>
              <a:ext cx="133788" cy="265487"/>
              <a:chOff x="495297" y="2027765"/>
              <a:chExt cx="1484464" cy="2945752"/>
            </a:xfrm>
            <a:solidFill>
              <a:schemeClr val="tx1">
                <a:lumMod val="75000"/>
                <a:lumOff val="25000"/>
              </a:schemeClr>
            </a:solidFill>
          </p:grpSpPr>
          <p:sp>
            <p:nvSpPr>
              <p:cNvPr id="313" name="Freeform 197"/>
              <p:cNvSpPr>
                <a:spLocks noEditPoints="1"/>
              </p:cNvSpPr>
              <p:nvPr/>
            </p:nvSpPr>
            <p:spPr bwMode="auto">
              <a:xfrm>
                <a:off x="495297" y="2027765"/>
                <a:ext cx="1484464" cy="2945752"/>
              </a:xfrm>
              <a:custGeom>
                <a:avLst/>
                <a:gdLst>
                  <a:gd name="T0" fmla="*/ 845 w 964"/>
                  <a:gd name="T1" fmla="*/ 3 h 1906"/>
                  <a:gd name="T2" fmla="*/ 898 w 964"/>
                  <a:gd name="T3" fmla="*/ 26 h 1906"/>
                  <a:gd name="T4" fmla="*/ 939 w 964"/>
                  <a:gd name="T5" fmla="*/ 65 h 1906"/>
                  <a:gd name="T6" fmla="*/ 961 w 964"/>
                  <a:gd name="T7" fmla="*/ 118 h 1906"/>
                  <a:gd name="T8" fmla="*/ 964 w 964"/>
                  <a:gd name="T9" fmla="*/ 1773 h 1906"/>
                  <a:gd name="T10" fmla="*/ 947 w 964"/>
                  <a:gd name="T11" fmla="*/ 1829 h 1906"/>
                  <a:gd name="T12" fmla="*/ 909 w 964"/>
                  <a:gd name="T13" fmla="*/ 1872 h 1906"/>
                  <a:gd name="T14" fmla="*/ 860 w 964"/>
                  <a:gd name="T15" fmla="*/ 1901 h 1906"/>
                  <a:gd name="T16" fmla="*/ 149 w 964"/>
                  <a:gd name="T17" fmla="*/ 1906 h 1906"/>
                  <a:gd name="T18" fmla="*/ 92 w 964"/>
                  <a:gd name="T19" fmla="*/ 1895 h 1906"/>
                  <a:gd name="T20" fmla="*/ 44 w 964"/>
                  <a:gd name="T21" fmla="*/ 1863 h 1906"/>
                  <a:gd name="T22" fmla="*/ 13 w 964"/>
                  <a:gd name="T23" fmla="*/ 1816 h 1906"/>
                  <a:gd name="T24" fmla="*/ 0 w 964"/>
                  <a:gd name="T25" fmla="*/ 1758 h 1906"/>
                  <a:gd name="T26" fmla="*/ 7 w 964"/>
                  <a:gd name="T27" fmla="*/ 105 h 1906"/>
                  <a:gd name="T28" fmla="*/ 34 w 964"/>
                  <a:gd name="T29" fmla="*/ 54 h 1906"/>
                  <a:gd name="T30" fmla="*/ 78 w 964"/>
                  <a:gd name="T31" fmla="*/ 18 h 1906"/>
                  <a:gd name="T32" fmla="*/ 134 w 964"/>
                  <a:gd name="T33" fmla="*/ 1 h 1906"/>
                  <a:gd name="T34" fmla="*/ 510 w 964"/>
                  <a:gd name="T35" fmla="*/ 1646 h 1906"/>
                  <a:gd name="T36" fmla="*/ 545 w 964"/>
                  <a:gd name="T37" fmla="*/ 1661 h 1906"/>
                  <a:gd name="T38" fmla="*/ 572 w 964"/>
                  <a:gd name="T39" fmla="*/ 1687 h 1906"/>
                  <a:gd name="T40" fmla="*/ 586 w 964"/>
                  <a:gd name="T41" fmla="*/ 1723 h 1906"/>
                  <a:gd name="T42" fmla="*/ 586 w 964"/>
                  <a:gd name="T43" fmla="*/ 1763 h 1906"/>
                  <a:gd name="T44" fmla="*/ 572 w 964"/>
                  <a:gd name="T45" fmla="*/ 1798 h 1906"/>
                  <a:gd name="T46" fmla="*/ 545 w 964"/>
                  <a:gd name="T47" fmla="*/ 1824 h 1906"/>
                  <a:gd name="T48" fmla="*/ 510 w 964"/>
                  <a:gd name="T49" fmla="*/ 1838 h 1906"/>
                  <a:gd name="T50" fmla="*/ 470 w 964"/>
                  <a:gd name="T51" fmla="*/ 1838 h 1906"/>
                  <a:gd name="T52" fmla="*/ 435 w 964"/>
                  <a:gd name="T53" fmla="*/ 1824 h 1906"/>
                  <a:gd name="T54" fmla="*/ 408 w 964"/>
                  <a:gd name="T55" fmla="*/ 1798 h 1906"/>
                  <a:gd name="T56" fmla="*/ 393 w 964"/>
                  <a:gd name="T57" fmla="*/ 1763 h 1906"/>
                  <a:gd name="T58" fmla="*/ 393 w 964"/>
                  <a:gd name="T59" fmla="*/ 1723 h 1906"/>
                  <a:gd name="T60" fmla="*/ 408 w 964"/>
                  <a:gd name="T61" fmla="*/ 1687 h 1906"/>
                  <a:gd name="T62" fmla="*/ 435 w 964"/>
                  <a:gd name="T63" fmla="*/ 1661 h 1906"/>
                  <a:gd name="T64" fmla="*/ 470 w 964"/>
                  <a:gd name="T65" fmla="*/ 1646 h 1906"/>
                  <a:gd name="T66" fmla="*/ 900 w 964"/>
                  <a:gd name="T67" fmla="*/ 317 h 1906"/>
                  <a:gd name="T68" fmla="*/ 415 w 964"/>
                  <a:gd name="T69" fmla="*/ 135 h 1906"/>
                  <a:gd name="T70" fmla="*/ 565 w 964"/>
                  <a:gd name="T71" fmla="*/ 139 h 1906"/>
                  <a:gd name="T72" fmla="*/ 574 w 964"/>
                  <a:gd name="T73" fmla="*/ 152 h 1906"/>
                  <a:gd name="T74" fmla="*/ 573 w 964"/>
                  <a:gd name="T75" fmla="*/ 166 h 1906"/>
                  <a:gd name="T76" fmla="*/ 560 w 964"/>
                  <a:gd name="T77" fmla="*/ 177 h 1906"/>
                  <a:gd name="T78" fmla="*/ 410 w 964"/>
                  <a:gd name="T79" fmla="*/ 178 h 1906"/>
                  <a:gd name="T80" fmla="*/ 397 w 964"/>
                  <a:gd name="T81" fmla="*/ 169 h 1906"/>
                  <a:gd name="T82" fmla="*/ 392 w 964"/>
                  <a:gd name="T83" fmla="*/ 157 h 1906"/>
                  <a:gd name="T84" fmla="*/ 399 w 964"/>
                  <a:gd name="T85" fmla="*/ 142 h 1906"/>
                  <a:gd name="T86" fmla="*/ 415 w 964"/>
                  <a:gd name="T87" fmla="*/ 135 h 1906"/>
                  <a:gd name="T88" fmla="*/ 334 w 964"/>
                  <a:gd name="T89" fmla="*/ 138 h 1906"/>
                  <a:gd name="T90" fmla="*/ 343 w 964"/>
                  <a:gd name="T91" fmla="*/ 151 h 1906"/>
                  <a:gd name="T92" fmla="*/ 339 w 964"/>
                  <a:gd name="T93" fmla="*/ 169 h 1906"/>
                  <a:gd name="T94" fmla="*/ 324 w 964"/>
                  <a:gd name="T95" fmla="*/ 178 h 1906"/>
                  <a:gd name="T96" fmla="*/ 308 w 964"/>
                  <a:gd name="T97" fmla="*/ 175 h 1906"/>
                  <a:gd name="T98" fmla="*/ 299 w 964"/>
                  <a:gd name="T99" fmla="*/ 160 h 1906"/>
                  <a:gd name="T100" fmla="*/ 302 w 964"/>
                  <a:gd name="T101" fmla="*/ 143 h 1906"/>
                  <a:gd name="T102" fmla="*/ 315 w 964"/>
                  <a:gd name="T103" fmla="*/ 134 h 1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4" h="1906">
                    <a:moveTo>
                      <a:pt x="149" y="0"/>
                    </a:moveTo>
                    <a:lnTo>
                      <a:pt x="816" y="0"/>
                    </a:lnTo>
                    <a:lnTo>
                      <a:pt x="830" y="1"/>
                    </a:lnTo>
                    <a:lnTo>
                      <a:pt x="845" y="3"/>
                    </a:lnTo>
                    <a:lnTo>
                      <a:pt x="860" y="7"/>
                    </a:lnTo>
                    <a:lnTo>
                      <a:pt x="873" y="11"/>
                    </a:lnTo>
                    <a:lnTo>
                      <a:pt x="886" y="18"/>
                    </a:lnTo>
                    <a:lnTo>
                      <a:pt x="898" y="26"/>
                    </a:lnTo>
                    <a:lnTo>
                      <a:pt x="909" y="34"/>
                    </a:lnTo>
                    <a:lnTo>
                      <a:pt x="921" y="44"/>
                    </a:lnTo>
                    <a:lnTo>
                      <a:pt x="930" y="54"/>
                    </a:lnTo>
                    <a:lnTo>
                      <a:pt x="939" y="65"/>
                    </a:lnTo>
                    <a:lnTo>
                      <a:pt x="947" y="78"/>
                    </a:lnTo>
                    <a:lnTo>
                      <a:pt x="952" y="90"/>
                    </a:lnTo>
                    <a:lnTo>
                      <a:pt x="958" y="105"/>
                    </a:lnTo>
                    <a:lnTo>
                      <a:pt x="961" y="118"/>
                    </a:lnTo>
                    <a:lnTo>
                      <a:pt x="964" y="133"/>
                    </a:lnTo>
                    <a:lnTo>
                      <a:pt x="964" y="149"/>
                    </a:lnTo>
                    <a:lnTo>
                      <a:pt x="964" y="1758"/>
                    </a:lnTo>
                    <a:lnTo>
                      <a:pt x="964" y="1773"/>
                    </a:lnTo>
                    <a:lnTo>
                      <a:pt x="961" y="1788"/>
                    </a:lnTo>
                    <a:lnTo>
                      <a:pt x="958" y="1802"/>
                    </a:lnTo>
                    <a:lnTo>
                      <a:pt x="952" y="1816"/>
                    </a:lnTo>
                    <a:lnTo>
                      <a:pt x="947" y="1829"/>
                    </a:lnTo>
                    <a:lnTo>
                      <a:pt x="939" y="1841"/>
                    </a:lnTo>
                    <a:lnTo>
                      <a:pt x="930" y="1852"/>
                    </a:lnTo>
                    <a:lnTo>
                      <a:pt x="921" y="1863"/>
                    </a:lnTo>
                    <a:lnTo>
                      <a:pt x="909" y="1872"/>
                    </a:lnTo>
                    <a:lnTo>
                      <a:pt x="898" y="1881"/>
                    </a:lnTo>
                    <a:lnTo>
                      <a:pt x="886" y="1889"/>
                    </a:lnTo>
                    <a:lnTo>
                      <a:pt x="873" y="1895"/>
                    </a:lnTo>
                    <a:lnTo>
                      <a:pt x="860" y="1901"/>
                    </a:lnTo>
                    <a:lnTo>
                      <a:pt x="845" y="1904"/>
                    </a:lnTo>
                    <a:lnTo>
                      <a:pt x="830" y="1906"/>
                    </a:lnTo>
                    <a:lnTo>
                      <a:pt x="816" y="1906"/>
                    </a:lnTo>
                    <a:lnTo>
                      <a:pt x="149" y="1906"/>
                    </a:lnTo>
                    <a:lnTo>
                      <a:pt x="134" y="1906"/>
                    </a:lnTo>
                    <a:lnTo>
                      <a:pt x="119" y="1904"/>
                    </a:lnTo>
                    <a:lnTo>
                      <a:pt x="105" y="1901"/>
                    </a:lnTo>
                    <a:lnTo>
                      <a:pt x="92" y="1895"/>
                    </a:lnTo>
                    <a:lnTo>
                      <a:pt x="78" y="1889"/>
                    </a:lnTo>
                    <a:lnTo>
                      <a:pt x="66" y="1881"/>
                    </a:lnTo>
                    <a:lnTo>
                      <a:pt x="55" y="1872"/>
                    </a:lnTo>
                    <a:lnTo>
                      <a:pt x="44" y="1863"/>
                    </a:lnTo>
                    <a:lnTo>
                      <a:pt x="34" y="1852"/>
                    </a:lnTo>
                    <a:lnTo>
                      <a:pt x="26" y="1841"/>
                    </a:lnTo>
                    <a:lnTo>
                      <a:pt x="18" y="1829"/>
                    </a:lnTo>
                    <a:lnTo>
                      <a:pt x="13" y="1816"/>
                    </a:lnTo>
                    <a:lnTo>
                      <a:pt x="7" y="1802"/>
                    </a:lnTo>
                    <a:lnTo>
                      <a:pt x="4" y="1788"/>
                    </a:lnTo>
                    <a:lnTo>
                      <a:pt x="2" y="1773"/>
                    </a:lnTo>
                    <a:lnTo>
                      <a:pt x="0" y="1758"/>
                    </a:lnTo>
                    <a:lnTo>
                      <a:pt x="0" y="149"/>
                    </a:lnTo>
                    <a:lnTo>
                      <a:pt x="2" y="133"/>
                    </a:lnTo>
                    <a:lnTo>
                      <a:pt x="4" y="118"/>
                    </a:lnTo>
                    <a:lnTo>
                      <a:pt x="7" y="105"/>
                    </a:lnTo>
                    <a:lnTo>
                      <a:pt x="13" y="90"/>
                    </a:lnTo>
                    <a:lnTo>
                      <a:pt x="18" y="78"/>
                    </a:lnTo>
                    <a:lnTo>
                      <a:pt x="26" y="65"/>
                    </a:lnTo>
                    <a:lnTo>
                      <a:pt x="34" y="54"/>
                    </a:lnTo>
                    <a:lnTo>
                      <a:pt x="44" y="44"/>
                    </a:lnTo>
                    <a:lnTo>
                      <a:pt x="55" y="34"/>
                    </a:lnTo>
                    <a:lnTo>
                      <a:pt x="66" y="26"/>
                    </a:lnTo>
                    <a:lnTo>
                      <a:pt x="78" y="18"/>
                    </a:lnTo>
                    <a:lnTo>
                      <a:pt x="92" y="11"/>
                    </a:lnTo>
                    <a:lnTo>
                      <a:pt x="105" y="7"/>
                    </a:lnTo>
                    <a:lnTo>
                      <a:pt x="119" y="3"/>
                    </a:lnTo>
                    <a:lnTo>
                      <a:pt x="134" y="1"/>
                    </a:lnTo>
                    <a:lnTo>
                      <a:pt x="149" y="0"/>
                    </a:lnTo>
                    <a:close/>
                    <a:moveTo>
                      <a:pt x="489" y="1644"/>
                    </a:moveTo>
                    <a:lnTo>
                      <a:pt x="500" y="1644"/>
                    </a:lnTo>
                    <a:lnTo>
                      <a:pt x="510" y="1646"/>
                    </a:lnTo>
                    <a:lnTo>
                      <a:pt x="519" y="1649"/>
                    </a:lnTo>
                    <a:lnTo>
                      <a:pt x="528" y="1652"/>
                    </a:lnTo>
                    <a:lnTo>
                      <a:pt x="537" y="1657"/>
                    </a:lnTo>
                    <a:lnTo>
                      <a:pt x="545" y="1661"/>
                    </a:lnTo>
                    <a:lnTo>
                      <a:pt x="553" y="1667"/>
                    </a:lnTo>
                    <a:lnTo>
                      <a:pt x="559" y="1674"/>
                    </a:lnTo>
                    <a:lnTo>
                      <a:pt x="566" y="1680"/>
                    </a:lnTo>
                    <a:lnTo>
                      <a:pt x="572" y="1687"/>
                    </a:lnTo>
                    <a:lnTo>
                      <a:pt x="576" y="1696"/>
                    </a:lnTo>
                    <a:lnTo>
                      <a:pt x="581" y="1704"/>
                    </a:lnTo>
                    <a:lnTo>
                      <a:pt x="584" y="1713"/>
                    </a:lnTo>
                    <a:lnTo>
                      <a:pt x="586" y="1723"/>
                    </a:lnTo>
                    <a:lnTo>
                      <a:pt x="588" y="1732"/>
                    </a:lnTo>
                    <a:lnTo>
                      <a:pt x="589" y="1742"/>
                    </a:lnTo>
                    <a:lnTo>
                      <a:pt x="588" y="1753"/>
                    </a:lnTo>
                    <a:lnTo>
                      <a:pt x="586" y="1763"/>
                    </a:lnTo>
                    <a:lnTo>
                      <a:pt x="584" y="1772"/>
                    </a:lnTo>
                    <a:lnTo>
                      <a:pt x="581" y="1781"/>
                    </a:lnTo>
                    <a:lnTo>
                      <a:pt x="576" y="1790"/>
                    </a:lnTo>
                    <a:lnTo>
                      <a:pt x="572" y="1798"/>
                    </a:lnTo>
                    <a:lnTo>
                      <a:pt x="566" y="1805"/>
                    </a:lnTo>
                    <a:lnTo>
                      <a:pt x="559" y="1813"/>
                    </a:lnTo>
                    <a:lnTo>
                      <a:pt x="553" y="1818"/>
                    </a:lnTo>
                    <a:lnTo>
                      <a:pt x="545" y="1824"/>
                    </a:lnTo>
                    <a:lnTo>
                      <a:pt x="537" y="1829"/>
                    </a:lnTo>
                    <a:lnTo>
                      <a:pt x="528" y="1833"/>
                    </a:lnTo>
                    <a:lnTo>
                      <a:pt x="519" y="1836"/>
                    </a:lnTo>
                    <a:lnTo>
                      <a:pt x="510" y="1838"/>
                    </a:lnTo>
                    <a:lnTo>
                      <a:pt x="500" y="1841"/>
                    </a:lnTo>
                    <a:lnTo>
                      <a:pt x="489" y="1841"/>
                    </a:lnTo>
                    <a:lnTo>
                      <a:pt x="480" y="1841"/>
                    </a:lnTo>
                    <a:lnTo>
                      <a:pt x="470" y="1838"/>
                    </a:lnTo>
                    <a:lnTo>
                      <a:pt x="461" y="1836"/>
                    </a:lnTo>
                    <a:lnTo>
                      <a:pt x="452" y="1833"/>
                    </a:lnTo>
                    <a:lnTo>
                      <a:pt x="443" y="1829"/>
                    </a:lnTo>
                    <a:lnTo>
                      <a:pt x="435" y="1824"/>
                    </a:lnTo>
                    <a:lnTo>
                      <a:pt x="427" y="1818"/>
                    </a:lnTo>
                    <a:lnTo>
                      <a:pt x="420" y="1813"/>
                    </a:lnTo>
                    <a:lnTo>
                      <a:pt x="414" y="1805"/>
                    </a:lnTo>
                    <a:lnTo>
                      <a:pt x="408" y="1798"/>
                    </a:lnTo>
                    <a:lnTo>
                      <a:pt x="404" y="1790"/>
                    </a:lnTo>
                    <a:lnTo>
                      <a:pt x="399" y="1781"/>
                    </a:lnTo>
                    <a:lnTo>
                      <a:pt x="396" y="1772"/>
                    </a:lnTo>
                    <a:lnTo>
                      <a:pt x="393" y="1763"/>
                    </a:lnTo>
                    <a:lnTo>
                      <a:pt x="392" y="1753"/>
                    </a:lnTo>
                    <a:lnTo>
                      <a:pt x="391" y="1742"/>
                    </a:lnTo>
                    <a:lnTo>
                      <a:pt x="392" y="1732"/>
                    </a:lnTo>
                    <a:lnTo>
                      <a:pt x="393" y="1723"/>
                    </a:lnTo>
                    <a:lnTo>
                      <a:pt x="396" y="1713"/>
                    </a:lnTo>
                    <a:lnTo>
                      <a:pt x="399" y="1704"/>
                    </a:lnTo>
                    <a:lnTo>
                      <a:pt x="404" y="1696"/>
                    </a:lnTo>
                    <a:lnTo>
                      <a:pt x="408" y="1687"/>
                    </a:lnTo>
                    <a:lnTo>
                      <a:pt x="414" y="1680"/>
                    </a:lnTo>
                    <a:lnTo>
                      <a:pt x="420" y="1674"/>
                    </a:lnTo>
                    <a:lnTo>
                      <a:pt x="427" y="1667"/>
                    </a:lnTo>
                    <a:lnTo>
                      <a:pt x="435" y="1661"/>
                    </a:lnTo>
                    <a:lnTo>
                      <a:pt x="443" y="1657"/>
                    </a:lnTo>
                    <a:lnTo>
                      <a:pt x="452" y="1652"/>
                    </a:lnTo>
                    <a:lnTo>
                      <a:pt x="461" y="1649"/>
                    </a:lnTo>
                    <a:lnTo>
                      <a:pt x="470" y="1646"/>
                    </a:lnTo>
                    <a:lnTo>
                      <a:pt x="480" y="1644"/>
                    </a:lnTo>
                    <a:lnTo>
                      <a:pt x="489" y="1644"/>
                    </a:lnTo>
                    <a:close/>
                    <a:moveTo>
                      <a:pt x="66" y="317"/>
                    </a:moveTo>
                    <a:lnTo>
                      <a:pt x="900" y="317"/>
                    </a:lnTo>
                    <a:lnTo>
                      <a:pt x="900" y="1566"/>
                    </a:lnTo>
                    <a:lnTo>
                      <a:pt x="66" y="1566"/>
                    </a:lnTo>
                    <a:lnTo>
                      <a:pt x="66" y="317"/>
                    </a:lnTo>
                    <a:close/>
                    <a:moveTo>
                      <a:pt x="415" y="135"/>
                    </a:moveTo>
                    <a:lnTo>
                      <a:pt x="553" y="135"/>
                    </a:lnTo>
                    <a:lnTo>
                      <a:pt x="557" y="135"/>
                    </a:lnTo>
                    <a:lnTo>
                      <a:pt x="560" y="138"/>
                    </a:lnTo>
                    <a:lnTo>
                      <a:pt x="565" y="139"/>
                    </a:lnTo>
                    <a:lnTo>
                      <a:pt x="567" y="142"/>
                    </a:lnTo>
                    <a:lnTo>
                      <a:pt x="571" y="146"/>
                    </a:lnTo>
                    <a:lnTo>
                      <a:pt x="573" y="149"/>
                    </a:lnTo>
                    <a:lnTo>
                      <a:pt x="574" y="152"/>
                    </a:lnTo>
                    <a:lnTo>
                      <a:pt x="574" y="157"/>
                    </a:lnTo>
                    <a:lnTo>
                      <a:pt x="574" y="157"/>
                    </a:lnTo>
                    <a:lnTo>
                      <a:pt x="574" y="161"/>
                    </a:lnTo>
                    <a:lnTo>
                      <a:pt x="573" y="166"/>
                    </a:lnTo>
                    <a:lnTo>
                      <a:pt x="571" y="169"/>
                    </a:lnTo>
                    <a:lnTo>
                      <a:pt x="567" y="173"/>
                    </a:lnTo>
                    <a:lnTo>
                      <a:pt x="565" y="175"/>
                    </a:lnTo>
                    <a:lnTo>
                      <a:pt x="560" y="177"/>
                    </a:lnTo>
                    <a:lnTo>
                      <a:pt x="557" y="178"/>
                    </a:lnTo>
                    <a:lnTo>
                      <a:pt x="553" y="178"/>
                    </a:lnTo>
                    <a:lnTo>
                      <a:pt x="415" y="178"/>
                    </a:lnTo>
                    <a:lnTo>
                      <a:pt x="410" y="178"/>
                    </a:lnTo>
                    <a:lnTo>
                      <a:pt x="406" y="177"/>
                    </a:lnTo>
                    <a:lnTo>
                      <a:pt x="402" y="175"/>
                    </a:lnTo>
                    <a:lnTo>
                      <a:pt x="399" y="173"/>
                    </a:lnTo>
                    <a:lnTo>
                      <a:pt x="397" y="169"/>
                    </a:lnTo>
                    <a:lnTo>
                      <a:pt x="394" y="166"/>
                    </a:lnTo>
                    <a:lnTo>
                      <a:pt x="393" y="161"/>
                    </a:lnTo>
                    <a:lnTo>
                      <a:pt x="392" y="157"/>
                    </a:lnTo>
                    <a:lnTo>
                      <a:pt x="392" y="157"/>
                    </a:lnTo>
                    <a:lnTo>
                      <a:pt x="393" y="152"/>
                    </a:lnTo>
                    <a:lnTo>
                      <a:pt x="394" y="149"/>
                    </a:lnTo>
                    <a:lnTo>
                      <a:pt x="397" y="146"/>
                    </a:lnTo>
                    <a:lnTo>
                      <a:pt x="399" y="142"/>
                    </a:lnTo>
                    <a:lnTo>
                      <a:pt x="402" y="139"/>
                    </a:lnTo>
                    <a:lnTo>
                      <a:pt x="406" y="138"/>
                    </a:lnTo>
                    <a:lnTo>
                      <a:pt x="410" y="135"/>
                    </a:lnTo>
                    <a:lnTo>
                      <a:pt x="415" y="135"/>
                    </a:lnTo>
                    <a:close/>
                    <a:moveTo>
                      <a:pt x="320" y="133"/>
                    </a:moveTo>
                    <a:lnTo>
                      <a:pt x="324" y="134"/>
                    </a:lnTo>
                    <a:lnTo>
                      <a:pt x="329" y="135"/>
                    </a:lnTo>
                    <a:lnTo>
                      <a:pt x="334" y="138"/>
                    </a:lnTo>
                    <a:lnTo>
                      <a:pt x="337" y="140"/>
                    </a:lnTo>
                    <a:lnTo>
                      <a:pt x="339" y="143"/>
                    </a:lnTo>
                    <a:lnTo>
                      <a:pt x="341" y="147"/>
                    </a:lnTo>
                    <a:lnTo>
                      <a:pt x="343" y="151"/>
                    </a:lnTo>
                    <a:lnTo>
                      <a:pt x="343" y="156"/>
                    </a:lnTo>
                    <a:lnTo>
                      <a:pt x="343" y="160"/>
                    </a:lnTo>
                    <a:lnTo>
                      <a:pt x="341" y="165"/>
                    </a:lnTo>
                    <a:lnTo>
                      <a:pt x="339" y="169"/>
                    </a:lnTo>
                    <a:lnTo>
                      <a:pt x="337" y="172"/>
                    </a:lnTo>
                    <a:lnTo>
                      <a:pt x="334" y="175"/>
                    </a:lnTo>
                    <a:lnTo>
                      <a:pt x="329" y="177"/>
                    </a:lnTo>
                    <a:lnTo>
                      <a:pt x="324" y="178"/>
                    </a:lnTo>
                    <a:lnTo>
                      <a:pt x="320" y="178"/>
                    </a:lnTo>
                    <a:lnTo>
                      <a:pt x="315" y="178"/>
                    </a:lnTo>
                    <a:lnTo>
                      <a:pt x="311" y="177"/>
                    </a:lnTo>
                    <a:lnTo>
                      <a:pt x="308" y="175"/>
                    </a:lnTo>
                    <a:lnTo>
                      <a:pt x="304" y="172"/>
                    </a:lnTo>
                    <a:lnTo>
                      <a:pt x="302" y="169"/>
                    </a:lnTo>
                    <a:lnTo>
                      <a:pt x="300" y="165"/>
                    </a:lnTo>
                    <a:lnTo>
                      <a:pt x="299" y="160"/>
                    </a:lnTo>
                    <a:lnTo>
                      <a:pt x="297" y="156"/>
                    </a:lnTo>
                    <a:lnTo>
                      <a:pt x="299" y="151"/>
                    </a:lnTo>
                    <a:lnTo>
                      <a:pt x="300" y="147"/>
                    </a:lnTo>
                    <a:lnTo>
                      <a:pt x="302" y="143"/>
                    </a:lnTo>
                    <a:lnTo>
                      <a:pt x="304" y="140"/>
                    </a:lnTo>
                    <a:lnTo>
                      <a:pt x="308" y="138"/>
                    </a:lnTo>
                    <a:lnTo>
                      <a:pt x="311" y="135"/>
                    </a:lnTo>
                    <a:lnTo>
                      <a:pt x="315" y="134"/>
                    </a:lnTo>
                    <a:lnTo>
                      <a:pt x="320" y="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15"/>
              <p:cNvSpPr>
                <a:spLocks noEditPoints="1"/>
              </p:cNvSpPr>
              <p:nvPr/>
            </p:nvSpPr>
            <p:spPr bwMode="auto">
              <a:xfrm>
                <a:off x="1191263" y="4664315"/>
                <a:ext cx="115978" cy="108243"/>
              </a:xfrm>
              <a:custGeom>
                <a:avLst/>
                <a:gdLst>
                  <a:gd name="T0" fmla="*/ 12 w 71"/>
                  <a:gd name="T1" fmla="*/ 0 h 71"/>
                  <a:gd name="T2" fmla="*/ 60 w 71"/>
                  <a:gd name="T3" fmla="*/ 0 h 71"/>
                  <a:gd name="T4" fmla="*/ 65 w 71"/>
                  <a:gd name="T5" fmla="*/ 2 h 71"/>
                  <a:gd name="T6" fmla="*/ 68 w 71"/>
                  <a:gd name="T7" fmla="*/ 4 h 71"/>
                  <a:gd name="T8" fmla="*/ 70 w 71"/>
                  <a:gd name="T9" fmla="*/ 7 h 71"/>
                  <a:gd name="T10" fmla="*/ 71 w 71"/>
                  <a:gd name="T11" fmla="*/ 12 h 71"/>
                  <a:gd name="T12" fmla="*/ 71 w 71"/>
                  <a:gd name="T13" fmla="*/ 60 h 71"/>
                  <a:gd name="T14" fmla="*/ 70 w 71"/>
                  <a:gd name="T15" fmla="*/ 64 h 71"/>
                  <a:gd name="T16" fmla="*/ 68 w 71"/>
                  <a:gd name="T17" fmla="*/ 67 h 71"/>
                  <a:gd name="T18" fmla="*/ 65 w 71"/>
                  <a:gd name="T19" fmla="*/ 69 h 71"/>
                  <a:gd name="T20" fmla="*/ 60 w 71"/>
                  <a:gd name="T21" fmla="*/ 71 h 71"/>
                  <a:gd name="T22" fmla="*/ 12 w 71"/>
                  <a:gd name="T23" fmla="*/ 71 h 71"/>
                  <a:gd name="T24" fmla="*/ 7 w 71"/>
                  <a:gd name="T25" fmla="*/ 69 h 71"/>
                  <a:gd name="T26" fmla="*/ 4 w 71"/>
                  <a:gd name="T27" fmla="*/ 67 h 71"/>
                  <a:gd name="T28" fmla="*/ 1 w 71"/>
                  <a:gd name="T29" fmla="*/ 64 h 71"/>
                  <a:gd name="T30" fmla="*/ 0 w 71"/>
                  <a:gd name="T31" fmla="*/ 60 h 71"/>
                  <a:gd name="T32" fmla="*/ 0 w 71"/>
                  <a:gd name="T33" fmla="*/ 12 h 71"/>
                  <a:gd name="T34" fmla="*/ 1 w 71"/>
                  <a:gd name="T35" fmla="*/ 7 h 71"/>
                  <a:gd name="T36" fmla="*/ 4 w 71"/>
                  <a:gd name="T37" fmla="*/ 4 h 71"/>
                  <a:gd name="T38" fmla="*/ 7 w 71"/>
                  <a:gd name="T39" fmla="*/ 2 h 71"/>
                  <a:gd name="T40" fmla="*/ 12 w 71"/>
                  <a:gd name="T41" fmla="*/ 0 h 71"/>
                  <a:gd name="T42" fmla="*/ 17 w 71"/>
                  <a:gd name="T43" fmla="*/ 8 h 71"/>
                  <a:gd name="T44" fmla="*/ 55 w 71"/>
                  <a:gd name="T45" fmla="*/ 8 h 71"/>
                  <a:gd name="T46" fmla="*/ 58 w 71"/>
                  <a:gd name="T47" fmla="*/ 10 h 71"/>
                  <a:gd name="T48" fmla="*/ 60 w 71"/>
                  <a:gd name="T49" fmla="*/ 11 h 71"/>
                  <a:gd name="T50" fmla="*/ 62 w 71"/>
                  <a:gd name="T51" fmla="*/ 14 h 71"/>
                  <a:gd name="T52" fmla="*/ 62 w 71"/>
                  <a:gd name="T53" fmla="*/ 17 h 71"/>
                  <a:gd name="T54" fmla="*/ 62 w 71"/>
                  <a:gd name="T55" fmla="*/ 55 h 71"/>
                  <a:gd name="T56" fmla="*/ 62 w 71"/>
                  <a:gd name="T57" fmla="*/ 57 h 71"/>
                  <a:gd name="T58" fmla="*/ 60 w 71"/>
                  <a:gd name="T59" fmla="*/ 60 h 71"/>
                  <a:gd name="T60" fmla="*/ 58 w 71"/>
                  <a:gd name="T61" fmla="*/ 61 h 71"/>
                  <a:gd name="T62" fmla="*/ 55 w 71"/>
                  <a:gd name="T63" fmla="*/ 63 h 71"/>
                  <a:gd name="T64" fmla="*/ 17 w 71"/>
                  <a:gd name="T65" fmla="*/ 63 h 71"/>
                  <a:gd name="T66" fmla="*/ 14 w 71"/>
                  <a:gd name="T67" fmla="*/ 61 h 71"/>
                  <a:gd name="T68" fmla="*/ 12 w 71"/>
                  <a:gd name="T69" fmla="*/ 60 h 71"/>
                  <a:gd name="T70" fmla="*/ 9 w 71"/>
                  <a:gd name="T71" fmla="*/ 57 h 71"/>
                  <a:gd name="T72" fmla="*/ 9 w 71"/>
                  <a:gd name="T73" fmla="*/ 55 h 71"/>
                  <a:gd name="T74" fmla="*/ 9 w 71"/>
                  <a:gd name="T75" fmla="*/ 17 h 71"/>
                  <a:gd name="T76" fmla="*/ 9 w 71"/>
                  <a:gd name="T77" fmla="*/ 14 h 71"/>
                  <a:gd name="T78" fmla="*/ 12 w 71"/>
                  <a:gd name="T79" fmla="*/ 11 h 71"/>
                  <a:gd name="T80" fmla="*/ 14 w 71"/>
                  <a:gd name="T81" fmla="*/ 10 h 71"/>
                  <a:gd name="T82" fmla="*/ 17 w 71"/>
                  <a:gd name="T83" fmla="*/ 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71">
                    <a:moveTo>
                      <a:pt x="12" y="0"/>
                    </a:moveTo>
                    <a:lnTo>
                      <a:pt x="60" y="0"/>
                    </a:lnTo>
                    <a:lnTo>
                      <a:pt x="65" y="2"/>
                    </a:lnTo>
                    <a:lnTo>
                      <a:pt x="68" y="4"/>
                    </a:lnTo>
                    <a:lnTo>
                      <a:pt x="70" y="7"/>
                    </a:lnTo>
                    <a:lnTo>
                      <a:pt x="71" y="12"/>
                    </a:lnTo>
                    <a:lnTo>
                      <a:pt x="71" y="60"/>
                    </a:lnTo>
                    <a:lnTo>
                      <a:pt x="70" y="64"/>
                    </a:lnTo>
                    <a:lnTo>
                      <a:pt x="68" y="67"/>
                    </a:lnTo>
                    <a:lnTo>
                      <a:pt x="65" y="69"/>
                    </a:lnTo>
                    <a:lnTo>
                      <a:pt x="60" y="71"/>
                    </a:lnTo>
                    <a:lnTo>
                      <a:pt x="12" y="71"/>
                    </a:lnTo>
                    <a:lnTo>
                      <a:pt x="7" y="69"/>
                    </a:lnTo>
                    <a:lnTo>
                      <a:pt x="4" y="67"/>
                    </a:lnTo>
                    <a:lnTo>
                      <a:pt x="1" y="64"/>
                    </a:lnTo>
                    <a:lnTo>
                      <a:pt x="0" y="60"/>
                    </a:lnTo>
                    <a:lnTo>
                      <a:pt x="0" y="12"/>
                    </a:lnTo>
                    <a:lnTo>
                      <a:pt x="1" y="7"/>
                    </a:lnTo>
                    <a:lnTo>
                      <a:pt x="4" y="4"/>
                    </a:lnTo>
                    <a:lnTo>
                      <a:pt x="7" y="2"/>
                    </a:lnTo>
                    <a:lnTo>
                      <a:pt x="12" y="0"/>
                    </a:lnTo>
                    <a:close/>
                    <a:moveTo>
                      <a:pt x="17" y="8"/>
                    </a:moveTo>
                    <a:lnTo>
                      <a:pt x="55" y="8"/>
                    </a:lnTo>
                    <a:lnTo>
                      <a:pt x="58" y="10"/>
                    </a:lnTo>
                    <a:lnTo>
                      <a:pt x="60" y="11"/>
                    </a:lnTo>
                    <a:lnTo>
                      <a:pt x="62" y="14"/>
                    </a:lnTo>
                    <a:lnTo>
                      <a:pt x="62" y="17"/>
                    </a:lnTo>
                    <a:lnTo>
                      <a:pt x="62" y="55"/>
                    </a:lnTo>
                    <a:lnTo>
                      <a:pt x="62" y="57"/>
                    </a:lnTo>
                    <a:lnTo>
                      <a:pt x="60" y="60"/>
                    </a:lnTo>
                    <a:lnTo>
                      <a:pt x="58" y="61"/>
                    </a:lnTo>
                    <a:lnTo>
                      <a:pt x="55" y="63"/>
                    </a:lnTo>
                    <a:lnTo>
                      <a:pt x="17" y="63"/>
                    </a:lnTo>
                    <a:lnTo>
                      <a:pt x="14" y="61"/>
                    </a:lnTo>
                    <a:lnTo>
                      <a:pt x="12" y="60"/>
                    </a:lnTo>
                    <a:lnTo>
                      <a:pt x="9" y="57"/>
                    </a:lnTo>
                    <a:lnTo>
                      <a:pt x="9" y="55"/>
                    </a:lnTo>
                    <a:lnTo>
                      <a:pt x="9" y="17"/>
                    </a:lnTo>
                    <a:lnTo>
                      <a:pt x="9" y="14"/>
                    </a:lnTo>
                    <a:lnTo>
                      <a:pt x="12" y="11"/>
                    </a:lnTo>
                    <a:lnTo>
                      <a:pt x="14" y="10"/>
                    </a:lnTo>
                    <a:lnTo>
                      <a:pt x="17"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1" name="TextBox 340"/>
            <p:cNvSpPr txBox="1"/>
            <p:nvPr>
              <p:custDataLst>
                <p:tags r:id="rId8"/>
              </p:custDataLst>
            </p:nvPr>
          </p:nvSpPr>
          <p:spPr>
            <a:xfrm>
              <a:off x="4612223" y="5229200"/>
              <a:ext cx="1672596" cy="153888"/>
            </a:xfrm>
            <a:prstGeom prst="rect">
              <a:avLst/>
            </a:prstGeom>
            <a:noFill/>
          </p:spPr>
          <p:txBody>
            <a:bodyPr wrap="square" lIns="0" tIns="0" rIns="0" bIns="0" rtlCol="0" anchor="b">
              <a:spAutoFit/>
            </a:bodyPr>
            <a:lstStyle/>
            <a:p>
              <a:r>
                <a:rPr lang="en-US" sz="1000" b="1" dirty="0" smtClean="0">
                  <a:solidFill>
                    <a:schemeClr val="tx1">
                      <a:lumMod val="75000"/>
                      <a:lumOff val="25000"/>
                    </a:schemeClr>
                  </a:solidFill>
                </a:rPr>
                <a:t>91-9900695354</a:t>
              </a:r>
              <a:endParaRPr lang="en-US" sz="1000" b="1" dirty="0">
                <a:solidFill>
                  <a:schemeClr val="tx1">
                    <a:lumMod val="75000"/>
                    <a:lumOff val="25000"/>
                  </a:schemeClr>
                </a:solidFill>
              </a:endParaRPr>
            </a:p>
          </p:txBody>
        </p:sp>
      </p:grpSp>
      <p:grpSp>
        <p:nvGrpSpPr>
          <p:cNvPr id="344" name="Group 343"/>
          <p:cNvGrpSpPr/>
          <p:nvPr/>
        </p:nvGrpSpPr>
        <p:grpSpPr>
          <a:xfrm>
            <a:off x="6605015" y="3651540"/>
            <a:ext cx="1972465" cy="250483"/>
            <a:chOff x="6432371" y="4859661"/>
            <a:chExt cx="1972465" cy="250483"/>
          </a:xfrm>
        </p:grpSpPr>
        <p:sp>
          <p:nvSpPr>
            <p:cNvPr id="331" name="Freeform 8"/>
            <p:cNvSpPr>
              <a:spLocks/>
            </p:cNvSpPr>
            <p:nvPr>
              <p:custDataLst>
                <p:tags r:id="rId5"/>
              </p:custDataLst>
            </p:nvPr>
          </p:nvSpPr>
          <p:spPr bwMode="auto">
            <a:xfrm>
              <a:off x="6432371" y="4859661"/>
              <a:ext cx="120319" cy="250483"/>
            </a:xfrm>
            <a:custGeom>
              <a:avLst/>
              <a:gdLst>
                <a:gd name="T0" fmla="*/ 192 w 882"/>
                <a:gd name="T1" fmla="*/ 606 h 1830"/>
                <a:gd name="T2" fmla="*/ 192 w 882"/>
                <a:gd name="T3" fmla="*/ 388 h 1830"/>
                <a:gd name="T4" fmla="*/ 196 w 882"/>
                <a:gd name="T5" fmla="*/ 317 h 1830"/>
                <a:gd name="T6" fmla="*/ 206 w 882"/>
                <a:gd name="T7" fmla="*/ 256 h 1830"/>
                <a:gd name="T8" fmla="*/ 219 w 882"/>
                <a:gd name="T9" fmla="*/ 205 h 1830"/>
                <a:gd name="T10" fmla="*/ 237 w 882"/>
                <a:gd name="T11" fmla="*/ 163 h 1830"/>
                <a:gd name="T12" fmla="*/ 262 w 882"/>
                <a:gd name="T13" fmla="*/ 127 h 1830"/>
                <a:gd name="T14" fmla="*/ 294 w 882"/>
                <a:gd name="T15" fmla="*/ 94 h 1830"/>
                <a:gd name="T16" fmla="*/ 333 w 882"/>
                <a:gd name="T17" fmla="*/ 64 h 1830"/>
                <a:gd name="T18" fmla="*/ 380 w 882"/>
                <a:gd name="T19" fmla="*/ 39 h 1830"/>
                <a:gd name="T20" fmla="*/ 434 w 882"/>
                <a:gd name="T21" fmla="*/ 20 h 1830"/>
                <a:gd name="T22" fmla="*/ 493 w 882"/>
                <a:gd name="T23" fmla="*/ 7 h 1830"/>
                <a:gd name="T24" fmla="*/ 558 w 882"/>
                <a:gd name="T25" fmla="*/ 2 h 1830"/>
                <a:gd name="T26" fmla="*/ 630 w 882"/>
                <a:gd name="T27" fmla="*/ 0 h 1830"/>
                <a:gd name="T28" fmla="*/ 703 w 882"/>
                <a:gd name="T29" fmla="*/ 7 h 1830"/>
                <a:gd name="T30" fmla="*/ 775 w 882"/>
                <a:gd name="T31" fmla="*/ 17 h 1830"/>
                <a:gd name="T32" fmla="*/ 847 w 882"/>
                <a:gd name="T33" fmla="*/ 34 h 1830"/>
                <a:gd name="T34" fmla="*/ 835 w 882"/>
                <a:gd name="T35" fmla="*/ 318 h 1830"/>
                <a:gd name="T36" fmla="*/ 795 w 882"/>
                <a:gd name="T37" fmla="*/ 310 h 1830"/>
                <a:gd name="T38" fmla="*/ 755 w 882"/>
                <a:gd name="T39" fmla="*/ 303 h 1830"/>
                <a:gd name="T40" fmla="*/ 715 w 882"/>
                <a:gd name="T41" fmla="*/ 299 h 1830"/>
                <a:gd name="T42" fmla="*/ 677 w 882"/>
                <a:gd name="T43" fmla="*/ 298 h 1830"/>
                <a:gd name="T44" fmla="*/ 642 w 882"/>
                <a:gd name="T45" fmla="*/ 300 h 1830"/>
                <a:gd name="T46" fmla="*/ 613 w 882"/>
                <a:gd name="T47" fmla="*/ 307 h 1830"/>
                <a:gd name="T48" fmla="*/ 588 w 882"/>
                <a:gd name="T49" fmla="*/ 318 h 1830"/>
                <a:gd name="T50" fmla="*/ 569 w 882"/>
                <a:gd name="T51" fmla="*/ 333 h 1830"/>
                <a:gd name="T52" fmla="*/ 555 w 882"/>
                <a:gd name="T53" fmla="*/ 354 h 1830"/>
                <a:gd name="T54" fmla="*/ 545 w 882"/>
                <a:gd name="T55" fmla="*/ 384 h 1830"/>
                <a:gd name="T56" fmla="*/ 539 w 882"/>
                <a:gd name="T57" fmla="*/ 422 h 1830"/>
                <a:gd name="T58" fmla="*/ 537 w 882"/>
                <a:gd name="T59" fmla="*/ 468 h 1830"/>
                <a:gd name="T60" fmla="*/ 819 w 882"/>
                <a:gd name="T61" fmla="*/ 606 h 1830"/>
                <a:gd name="T62" fmla="*/ 537 w 882"/>
                <a:gd name="T63" fmla="*/ 878 h 1830"/>
                <a:gd name="T64" fmla="*/ 192 w 882"/>
                <a:gd name="T65" fmla="*/ 1830 h 1830"/>
                <a:gd name="T66" fmla="*/ 0 w 882"/>
                <a:gd name="T67" fmla="*/ 878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2" h="1830">
                  <a:moveTo>
                    <a:pt x="0" y="606"/>
                  </a:moveTo>
                  <a:lnTo>
                    <a:pt x="192" y="606"/>
                  </a:lnTo>
                  <a:lnTo>
                    <a:pt x="192" y="428"/>
                  </a:lnTo>
                  <a:lnTo>
                    <a:pt x="192" y="388"/>
                  </a:lnTo>
                  <a:lnTo>
                    <a:pt x="194" y="351"/>
                  </a:lnTo>
                  <a:lnTo>
                    <a:pt x="196" y="317"/>
                  </a:lnTo>
                  <a:lnTo>
                    <a:pt x="201" y="284"/>
                  </a:lnTo>
                  <a:lnTo>
                    <a:pt x="206" y="256"/>
                  </a:lnTo>
                  <a:lnTo>
                    <a:pt x="211" y="228"/>
                  </a:lnTo>
                  <a:lnTo>
                    <a:pt x="219" y="205"/>
                  </a:lnTo>
                  <a:lnTo>
                    <a:pt x="227" y="183"/>
                  </a:lnTo>
                  <a:lnTo>
                    <a:pt x="237" y="163"/>
                  </a:lnTo>
                  <a:lnTo>
                    <a:pt x="248" y="145"/>
                  </a:lnTo>
                  <a:lnTo>
                    <a:pt x="262" y="127"/>
                  </a:lnTo>
                  <a:lnTo>
                    <a:pt x="277" y="110"/>
                  </a:lnTo>
                  <a:lnTo>
                    <a:pt x="294" y="94"/>
                  </a:lnTo>
                  <a:lnTo>
                    <a:pt x="313" y="78"/>
                  </a:lnTo>
                  <a:lnTo>
                    <a:pt x="333" y="64"/>
                  </a:lnTo>
                  <a:lnTo>
                    <a:pt x="355" y="51"/>
                  </a:lnTo>
                  <a:lnTo>
                    <a:pt x="380" y="39"/>
                  </a:lnTo>
                  <a:lnTo>
                    <a:pt x="406" y="29"/>
                  </a:lnTo>
                  <a:lnTo>
                    <a:pt x="434" y="20"/>
                  </a:lnTo>
                  <a:lnTo>
                    <a:pt x="462" y="13"/>
                  </a:lnTo>
                  <a:lnTo>
                    <a:pt x="493" y="7"/>
                  </a:lnTo>
                  <a:lnTo>
                    <a:pt x="525" y="4"/>
                  </a:lnTo>
                  <a:lnTo>
                    <a:pt x="558" y="2"/>
                  </a:lnTo>
                  <a:lnTo>
                    <a:pt x="594" y="0"/>
                  </a:lnTo>
                  <a:lnTo>
                    <a:pt x="630" y="0"/>
                  </a:lnTo>
                  <a:lnTo>
                    <a:pt x="667" y="3"/>
                  </a:lnTo>
                  <a:lnTo>
                    <a:pt x="703" y="7"/>
                  </a:lnTo>
                  <a:lnTo>
                    <a:pt x="739" y="11"/>
                  </a:lnTo>
                  <a:lnTo>
                    <a:pt x="775" y="17"/>
                  </a:lnTo>
                  <a:lnTo>
                    <a:pt x="811" y="25"/>
                  </a:lnTo>
                  <a:lnTo>
                    <a:pt x="847" y="34"/>
                  </a:lnTo>
                  <a:lnTo>
                    <a:pt x="882" y="44"/>
                  </a:lnTo>
                  <a:lnTo>
                    <a:pt x="835" y="318"/>
                  </a:lnTo>
                  <a:lnTo>
                    <a:pt x="815" y="313"/>
                  </a:lnTo>
                  <a:lnTo>
                    <a:pt x="795" y="310"/>
                  </a:lnTo>
                  <a:lnTo>
                    <a:pt x="775" y="306"/>
                  </a:lnTo>
                  <a:lnTo>
                    <a:pt x="755" y="303"/>
                  </a:lnTo>
                  <a:lnTo>
                    <a:pt x="735" y="301"/>
                  </a:lnTo>
                  <a:lnTo>
                    <a:pt x="715" y="299"/>
                  </a:lnTo>
                  <a:lnTo>
                    <a:pt x="696" y="298"/>
                  </a:lnTo>
                  <a:lnTo>
                    <a:pt x="677" y="298"/>
                  </a:lnTo>
                  <a:lnTo>
                    <a:pt x="659" y="299"/>
                  </a:lnTo>
                  <a:lnTo>
                    <a:pt x="642" y="300"/>
                  </a:lnTo>
                  <a:lnTo>
                    <a:pt x="626" y="303"/>
                  </a:lnTo>
                  <a:lnTo>
                    <a:pt x="613" y="307"/>
                  </a:lnTo>
                  <a:lnTo>
                    <a:pt x="600" y="312"/>
                  </a:lnTo>
                  <a:lnTo>
                    <a:pt x="588" y="318"/>
                  </a:lnTo>
                  <a:lnTo>
                    <a:pt x="578" y="325"/>
                  </a:lnTo>
                  <a:lnTo>
                    <a:pt x="569" y="333"/>
                  </a:lnTo>
                  <a:lnTo>
                    <a:pt x="562" y="343"/>
                  </a:lnTo>
                  <a:lnTo>
                    <a:pt x="555" y="354"/>
                  </a:lnTo>
                  <a:lnTo>
                    <a:pt x="549" y="368"/>
                  </a:lnTo>
                  <a:lnTo>
                    <a:pt x="545" y="384"/>
                  </a:lnTo>
                  <a:lnTo>
                    <a:pt x="542" y="402"/>
                  </a:lnTo>
                  <a:lnTo>
                    <a:pt x="539" y="422"/>
                  </a:lnTo>
                  <a:lnTo>
                    <a:pt x="537" y="443"/>
                  </a:lnTo>
                  <a:lnTo>
                    <a:pt x="537" y="468"/>
                  </a:lnTo>
                  <a:lnTo>
                    <a:pt x="537" y="606"/>
                  </a:lnTo>
                  <a:lnTo>
                    <a:pt x="819" y="606"/>
                  </a:lnTo>
                  <a:lnTo>
                    <a:pt x="800" y="878"/>
                  </a:lnTo>
                  <a:lnTo>
                    <a:pt x="537" y="878"/>
                  </a:lnTo>
                  <a:lnTo>
                    <a:pt x="537" y="1830"/>
                  </a:lnTo>
                  <a:lnTo>
                    <a:pt x="192" y="1830"/>
                  </a:lnTo>
                  <a:lnTo>
                    <a:pt x="192" y="878"/>
                  </a:lnTo>
                  <a:lnTo>
                    <a:pt x="0" y="878"/>
                  </a:lnTo>
                  <a:lnTo>
                    <a:pt x="0" y="6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2" name="TextBox 341"/>
            <p:cNvSpPr txBox="1"/>
            <p:nvPr>
              <p:custDataLst>
                <p:tags r:id="rId6"/>
              </p:custDataLst>
            </p:nvPr>
          </p:nvSpPr>
          <p:spPr>
            <a:xfrm>
              <a:off x="6732240" y="4927004"/>
              <a:ext cx="1672596" cy="153888"/>
            </a:xfrm>
            <a:prstGeom prst="rect">
              <a:avLst/>
            </a:prstGeom>
            <a:noFill/>
          </p:spPr>
          <p:txBody>
            <a:bodyPr wrap="square" lIns="0" tIns="0" rIns="0" bIns="0" rtlCol="0" anchor="b">
              <a:spAutoFit/>
            </a:bodyPr>
            <a:lstStyle/>
            <a:p>
              <a:r>
                <a:rPr lang="en-US" sz="1000" b="1" dirty="0" err="1" smtClean="0">
                  <a:solidFill>
                    <a:schemeClr val="tx1">
                      <a:lumMod val="75000"/>
                      <a:lumOff val="25000"/>
                    </a:schemeClr>
                  </a:solidFill>
                </a:rPr>
                <a:t>manishamadhava</a:t>
              </a:r>
              <a:endParaRPr lang="en-US" sz="1000" b="1" dirty="0">
                <a:solidFill>
                  <a:schemeClr val="tx1">
                    <a:lumMod val="75000"/>
                    <a:lumOff val="25000"/>
                  </a:schemeClr>
                </a:solidFill>
              </a:endParaRPr>
            </a:p>
          </p:txBody>
        </p:sp>
      </p:grpSp>
      <p:grpSp>
        <p:nvGrpSpPr>
          <p:cNvPr id="345" name="Group 344"/>
          <p:cNvGrpSpPr/>
          <p:nvPr/>
        </p:nvGrpSpPr>
        <p:grpSpPr>
          <a:xfrm>
            <a:off x="6558159" y="4163116"/>
            <a:ext cx="2019321" cy="167234"/>
            <a:chOff x="6385515" y="5229200"/>
            <a:chExt cx="2019321" cy="167234"/>
          </a:xfrm>
        </p:grpSpPr>
        <p:sp>
          <p:nvSpPr>
            <p:cNvPr id="332" name="Freeform 424"/>
            <p:cNvSpPr>
              <a:spLocks/>
            </p:cNvSpPr>
            <p:nvPr>
              <p:custDataLst>
                <p:tags r:id="rId3"/>
              </p:custDataLst>
            </p:nvPr>
          </p:nvSpPr>
          <p:spPr bwMode="auto">
            <a:xfrm>
              <a:off x="6385515" y="5248319"/>
              <a:ext cx="214029" cy="148115"/>
            </a:xfrm>
            <a:custGeom>
              <a:avLst/>
              <a:gdLst>
                <a:gd name="T0" fmla="*/ 619 w 1154"/>
                <a:gd name="T1" fmla="*/ 145 h 799"/>
                <a:gd name="T2" fmla="*/ 705 w 1154"/>
                <a:gd name="T3" fmla="*/ 33 h 799"/>
                <a:gd name="T4" fmla="*/ 736 w 1154"/>
                <a:gd name="T5" fmla="*/ 11 h 799"/>
                <a:gd name="T6" fmla="*/ 736 w 1154"/>
                <a:gd name="T7" fmla="*/ 32 h 799"/>
                <a:gd name="T8" fmla="*/ 783 w 1154"/>
                <a:gd name="T9" fmla="*/ 4 h 799"/>
                <a:gd name="T10" fmla="*/ 809 w 1154"/>
                <a:gd name="T11" fmla="*/ 1 h 799"/>
                <a:gd name="T12" fmla="*/ 803 w 1154"/>
                <a:gd name="T13" fmla="*/ 16 h 799"/>
                <a:gd name="T14" fmla="*/ 831 w 1154"/>
                <a:gd name="T15" fmla="*/ 21 h 799"/>
                <a:gd name="T16" fmla="*/ 863 w 1154"/>
                <a:gd name="T17" fmla="*/ 25 h 799"/>
                <a:gd name="T18" fmla="*/ 849 w 1154"/>
                <a:gd name="T19" fmla="*/ 45 h 799"/>
                <a:gd name="T20" fmla="*/ 768 w 1154"/>
                <a:gd name="T21" fmla="*/ 73 h 799"/>
                <a:gd name="T22" fmla="*/ 862 w 1154"/>
                <a:gd name="T23" fmla="*/ 94 h 799"/>
                <a:gd name="T24" fmla="*/ 946 w 1154"/>
                <a:gd name="T25" fmla="*/ 154 h 799"/>
                <a:gd name="T26" fmla="*/ 999 w 1154"/>
                <a:gd name="T27" fmla="*/ 242 h 799"/>
                <a:gd name="T28" fmla="*/ 1012 w 1154"/>
                <a:gd name="T29" fmla="*/ 295 h 799"/>
                <a:gd name="T30" fmla="*/ 1044 w 1154"/>
                <a:gd name="T31" fmla="*/ 302 h 799"/>
                <a:gd name="T32" fmla="*/ 1119 w 1154"/>
                <a:gd name="T33" fmla="*/ 301 h 799"/>
                <a:gd name="T34" fmla="*/ 1143 w 1154"/>
                <a:gd name="T35" fmla="*/ 309 h 799"/>
                <a:gd name="T36" fmla="*/ 1118 w 1154"/>
                <a:gd name="T37" fmla="*/ 330 h 799"/>
                <a:gd name="T38" fmla="*/ 1035 w 1154"/>
                <a:gd name="T39" fmla="*/ 356 h 799"/>
                <a:gd name="T40" fmla="*/ 1098 w 1154"/>
                <a:gd name="T41" fmla="*/ 370 h 799"/>
                <a:gd name="T42" fmla="*/ 1135 w 1154"/>
                <a:gd name="T43" fmla="*/ 388 h 799"/>
                <a:gd name="T44" fmla="*/ 1060 w 1154"/>
                <a:gd name="T45" fmla="*/ 419 h 799"/>
                <a:gd name="T46" fmla="*/ 993 w 1154"/>
                <a:gd name="T47" fmla="*/ 494 h 799"/>
                <a:gd name="T48" fmla="*/ 932 w 1154"/>
                <a:gd name="T49" fmla="*/ 594 h 799"/>
                <a:gd name="T50" fmla="*/ 849 w 1154"/>
                <a:gd name="T51" fmla="*/ 674 h 799"/>
                <a:gd name="T52" fmla="*/ 744 w 1154"/>
                <a:gd name="T53" fmla="*/ 736 h 799"/>
                <a:gd name="T54" fmla="*/ 616 w 1154"/>
                <a:gd name="T55" fmla="*/ 781 h 799"/>
                <a:gd name="T56" fmla="*/ 480 w 1154"/>
                <a:gd name="T57" fmla="*/ 799 h 799"/>
                <a:gd name="T58" fmla="*/ 345 w 1154"/>
                <a:gd name="T59" fmla="*/ 788 h 799"/>
                <a:gd name="T60" fmla="*/ 215 w 1154"/>
                <a:gd name="T61" fmla="*/ 750 h 799"/>
                <a:gd name="T62" fmla="*/ 98 w 1154"/>
                <a:gd name="T63" fmla="*/ 679 h 799"/>
                <a:gd name="T64" fmla="*/ 0 w 1154"/>
                <a:gd name="T65" fmla="*/ 576 h 799"/>
                <a:gd name="T66" fmla="*/ 60 w 1154"/>
                <a:gd name="T67" fmla="*/ 615 h 799"/>
                <a:gd name="T68" fmla="*/ 125 w 1154"/>
                <a:gd name="T69" fmla="*/ 640 h 799"/>
                <a:gd name="T70" fmla="*/ 195 w 1154"/>
                <a:gd name="T71" fmla="*/ 652 h 799"/>
                <a:gd name="T72" fmla="*/ 266 w 1154"/>
                <a:gd name="T73" fmla="*/ 647 h 799"/>
                <a:gd name="T74" fmla="*/ 335 w 1154"/>
                <a:gd name="T75" fmla="*/ 624 h 799"/>
                <a:gd name="T76" fmla="*/ 402 w 1154"/>
                <a:gd name="T77" fmla="*/ 583 h 799"/>
                <a:gd name="T78" fmla="*/ 386 w 1154"/>
                <a:gd name="T79" fmla="*/ 554 h 799"/>
                <a:gd name="T80" fmla="*/ 349 w 1154"/>
                <a:gd name="T81" fmla="*/ 523 h 799"/>
                <a:gd name="T82" fmla="*/ 359 w 1154"/>
                <a:gd name="T83" fmla="*/ 483 h 799"/>
                <a:gd name="T84" fmla="*/ 343 w 1154"/>
                <a:gd name="T85" fmla="*/ 457 h 799"/>
                <a:gd name="T86" fmla="*/ 299 w 1154"/>
                <a:gd name="T87" fmla="*/ 442 h 799"/>
                <a:gd name="T88" fmla="*/ 267 w 1154"/>
                <a:gd name="T89" fmla="*/ 416 h 799"/>
                <a:gd name="T90" fmla="*/ 252 w 1154"/>
                <a:gd name="T91" fmla="*/ 392 h 799"/>
                <a:gd name="T92" fmla="*/ 263 w 1154"/>
                <a:gd name="T93" fmla="*/ 377 h 799"/>
                <a:gd name="T94" fmla="*/ 308 w 1154"/>
                <a:gd name="T95" fmla="*/ 360 h 799"/>
                <a:gd name="T96" fmla="*/ 280 w 1154"/>
                <a:gd name="T97" fmla="*/ 341 h 799"/>
                <a:gd name="T98" fmla="*/ 237 w 1154"/>
                <a:gd name="T99" fmla="*/ 312 h 799"/>
                <a:gd name="T100" fmla="*/ 210 w 1154"/>
                <a:gd name="T101" fmla="*/ 275 h 799"/>
                <a:gd name="T102" fmla="*/ 205 w 1154"/>
                <a:gd name="T103" fmla="*/ 242 h 799"/>
                <a:gd name="T104" fmla="*/ 266 w 1154"/>
                <a:gd name="T105" fmla="*/ 232 h 799"/>
                <a:gd name="T106" fmla="*/ 193 w 1154"/>
                <a:gd name="T107" fmla="*/ 165 h 799"/>
                <a:gd name="T108" fmla="*/ 175 w 1154"/>
                <a:gd name="T109" fmla="*/ 119 h 799"/>
                <a:gd name="T110" fmla="*/ 174 w 1154"/>
                <a:gd name="T111" fmla="*/ 90 h 799"/>
                <a:gd name="T112" fmla="*/ 206 w 1154"/>
                <a:gd name="T113" fmla="*/ 100 h 799"/>
                <a:gd name="T114" fmla="*/ 425 w 1154"/>
                <a:gd name="T115" fmla="*/ 195 h 799"/>
                <a:gd name="T116" fmla="*/ 525 w 1154"/>
                <a:gd name="T117" fmla="*/ 261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54" h="799">
                  <a:moveTo>
                    <a:pt x="558" y="290"/>
                  </a:moveTo>
                  <a:lnTo>
                    <a:pt x="572" y="249"/>
                  </a:lnTo>
                  <a:lnTo>
                    <a:pt x="586" y="212"/>
                  </a:lnTo>
                  <a:lnTo>
                    <a:pt x="602" y="177"/>
                  </a:lnTo>
                  <a:lnTo>
                    <a:pt x="619" y="145"/>
                  </a:lnTo>
                  <a:lnTo>
                    <a:pt x="636" y="118"/>
                  </a:lnTo>
                  <a:lnTo>
                    <a:pt x="654" y="91"/>
                  </a:lnTo>
                  <a:lnTo>
                    <a:pt x="672" y="68"/>
                  </a:lnTo>
                  <a:lnTo>
                    <a:pt x="691" y="47"/>
                  </a:lnTo>
                  <a:lnTo>
                    <a:pt x="705" y="33"/>
                  </a:lnTo>
                  <a:lnTo>
                    <a:pt x="717" y="22"/>
                  </a:lnTo>
                  <a:lnTo>
                    <a:pt x="726" y="15"/>
                  </a:lnTo>
                  <a:lnTo>
                    <a:pt x="733" y="11"/>
                  </a:lnTo>
                  <a:lnTo>
                    <a:pt x="735" y="10"/>
                  </a:lnTo>
                  <a:lnTo>
                    <a:pt x="736" y="11"/>
                  </a:lnTo>
                  <a:lnTo>
                    <a:pt x="737" y="12"/>
                  </a:lnTo>
                  <a:lnTo>
                    <a:pt x="737" y="15"/>
                  </a:lnTo>
                  <a:lnTo>
                    <a:pt x="734" y="23"/>
                  </a:lnTo>
                  <a:lnTo>
                    <a:pt x="727" y="38"/>
                  </a:lnTo>
                  <a:lnTo>
                    <a:pt x="736" y="32"/>
                  </a:lnTo>
                  <a:lnTo>
                    <a:pt x="744" y="25"/>
                  </a:lnTo>
                  <a:lnTo>
                    <a:pt x="754" y="18"/>
                  </a:lnTo>
                  <a:lnTo>
                    <a:pt x="763" y="14"/>
                  </a:lnTo>
                  <a:lnTo>
                    <a:pt x="774" y="9"/>
                  </a:lnTo>
                  <a:lnTo>
                    <a:pt x="783" y="4"/>
                  </a:lnTo>
                  <a:lnTo>
                    <a:pt x="792" y="2"/>
                  </a:lnTo>
                  <a:lnTo>
                    <a:pt x="798" y="1"/>
                  </a:lnTo>
                  <a:lnTo>
                    <a:pt x="804" y="0"/>
                  </a:lnTo>
                  <a:lnTo>
                    <a:pt x="807" y="0"/>
                  </a:lnTo>
                  <a:lnTo>
                    <a:pt x="809" y="1"/>
                  </a:lnTo>
                  <a:lnTo>
                    <a:pt x="810" y="3"/>
                  </a:lnTo>
                  <a:lnTo>
                    <a:pt x="810" y="5"/>
                  </a:lnTo>
                  <a:lnTo>
                    <a:pt x="809" y="9"/>
                  </a:lnTo>
                  <a:lnTo>
                    <a:pt x="807" y="13"/>
                  </a:lnTo>
                  <a:lnTo>
                    <a:pt x="803" y="16"/>
                  </a:lnTo>
                  <a:lnTo>
                    <a:pt x="793" y="26"/>
                  </a:lnTo>
                  <a:lnTo>
                    <a:pt x="778" y="35"/>
                  </a:lnTo>
                  <a:lnTo>
                    <a:pt x="799" y="29"/>
                  </a:lnTo>
                  <a:lnTo>
                    <a:pt x="816" y="23"/>
                  </a:lnTo>
                  <a:lnTo>
                    <a:pt x="831" y="21"/>
                  </a:lnTo>
                  <a:lnTo>
                    <a:pt x="844" y="20"/>
                  </a:lnTo>
                  <a:lnTo>
                    <a:pt x="853" y="20"/>
                  </a:lnTo>
                  <a:lnTo>
                    <a:pt x="860" y="21"/>
                  </a:lnTo>
                  <a:lnTo>
                    <a:pt x="862" y="23"/>
                  </a:lnTo>
                  <a:lnTo>
                    <a:pt x="863" y="25"/>
                  </a:lnTo>
                  <a:lnTo>
                    <a:pt x="864" y="27"/>
                  </a:lnTo>
                  <a:lnTo>
                    <a:pt x="864" y="29"/>
                  </a:lnTo>
                  <a:lnTo>
                    <a:pt x="862" y="33"/>
                  </a:lnTo>
                  <a:lnTo>
                    <a:pt x="857" y="38"/>
                  </a:lnTo>
                  <a:lnTo>
                    <a:pt x="849" y="45"/>
                  </a:lnTo>
                  <a:lnTo>
                    <a:pt x="839" y="50"/>
                  </a:lnTo>
                  <a:lnTo>
                    <a:pt x="825" y="56"/>
                  </a:lnTo>
                  <a:lnTo>
                    <a:pt x="809" y="63"/>
                  </a:lnTo>
                  <a:lnTo>
                    <a:pt x="789" y="68"/>
                  </a:lnTo>
                  <a:lnTo>
                    <a:pt x="768" y="73"/>
                  </a:lnTo>
                  <a:lnTo>
                    <a:pt x="787" y="74"/>
                  </a:lnTo>
                  <a:lnTo>
                    <a:pt x="806" y="78"/>
                  </a:lnTo>
                  <a:lnTo>
                    <a:pt x="825" y="82"/>
                  </a:lnTo>
                  <a:lnTo>
                    <a:pt x="844" y="87"/>
                  </a:lnTo>
                  <a:lnTo>
                    <a:pt x="862" y="94"/>
                  </a:lnTo>
                  <a:lnTo>
                    <a:pt x="880" y="103"/>
                  </a:lnTo>
                  <a:lnTo>
                    <a:pt x="898" y="114"/>
                  </a:lnTo>
                  <a:lnTo>
                    <a:pt x="915" y="125"/>
                  </a:lnTo>
                  <a:lnTo>
                    <a:pt x="931" y="139"/>
                  </a:lnTo>
                  <a:lnTo>
                    <a:pt x="946" y="154"/>
                  </a:lnTo>
                  <a:lnTo>
                    <a:pt x="959" y="171"/>
                  </a:lnTo>
                  <a:lnTo>
                    <a:pt x="972" y="189"/>
                  </a:lnTo>
                  <a:lnTo>
                    <a:pt x="984" y="209"/>
                  </a:lnTo>
                  <a:lnTo>
                    <a:pt x="994" y="230"/>
                  </a:lnTo>
                  <a:lnTo>
                    <a:pt x="999" y="242"/>
                  </a:lnTo>
                  <a:lnTo>
                    <a:pt x="1003" y="253"/>
                  </a:lnTo>
                  <a:lnTo>
                    <a:pt x="1006" y="266"/>
                  </a:lnTo>
                  <a:lnTo>
                    <a:pt x="1009" y="279"/>
                  </a:lnTo>
                  <a:lnTo>
                    <a:pt x="1011" y="289"/>
                  </a:lnTo>
                  <a:lnTo>
                    <a:pt x="1012" y="295"/>
                  </a:lnTo>
                  <a:lnTo>
                    <a:pt x="1014" y="297"/>
                  </a:lnTo>
                  <a:lnTo>
                    <a:pt x="1018" y="298"/>
                  </a:lnTo>
                  <a:lnTo>
                    <a:pt x="1022" y="299"/>
                  </a:lnTo>
                  <a:lnTo>
                    <a:pt x="1028" y="300"/>
                  </a:lnTo>
                  <a:lnTo>
                    <a:pt x="1044" y="302"/>
                  </a:lnTo>
                  <a:lnTo>
                    <a:pt x="1059" y="303"/>
                  </a:lnTo>
                  <a:lnTo>
                    <a:pt x="1075" y="304"/>
                  </a:lnTo>
                  <a:lnTo>
                    <a:pt x="1090" y="304"/>
                  </a:lnTo>
                  <a:lnTo>
                    <a:pt x="1105" y="303"/>
                  </a:lnTo>
                  <a:lnTo>
                    <a:pt x="1119" y="301"/>
                  </a:lnTo>
                  <a:lnTo>
                    <a:pt x="1134" y="298"/>
                  </a:lnTo>
                  <a:lnTo>
                    <a:pt x="1149" y="295"/>
                  </a:lnTo>
                  <a:lnTo>
                    <a:pt x="1148" y="300"/>
                  </a:lnTo>
                  <a:lnTo>
                    <a:pt x="1146" y="304"/>
                  </a:lnTo>
                  <a:lnTo>
                    <a:pt x="1143" y="309"/>
                  </a:lnTo>
                  <a:lnTo>
                    <a:pt x="1139" y="314"/>
                  </a:lnTo>
                  <a:lnTo>
                    <a:pt x="1135" y="318"/>
                  </a:lnTo>
                  <a:lnTo>
                    <a:pt x="1131" y="322"/>
                  </a:lnTo>
                  <a:lnTo>
                    <a:pt x="1125" y="326"/>
                  </a:lnTo>
                  <a:lnTo>
                    <a:pt x="1118" y="330"/>
                  </a:lnTo>
                  <a:lnTo>
                    <a:pt x="1105" y="337"/>
                  </a:lnTo>
                  <a:lnTo>
                    <a:pt x="1088" y="343"/>
                  </a:lnTo>
                  <a:lnTo>
                    <a:pt x="1069" y="349"/>
                  </a:lnTo>
                  <a:lnTo>
                    <a:pt x="1047" y="354"/>
                  </a:lnTo>
                  <a:lnTo>
                    <a:pt x="1035" y="356"/>
                  </a:lnTo>
                  <a:lnTo>
                    <a:pt x="1029" y="358"/>
                  </a:lnTo>
                  <a:lnTo>
                    <a:pt x="1034" y="359"/>
                  </a:lnTo>
                  <a:lnTo>
                    <a:pt x="1047" y="362"/>
                  </a:lnTo>
                  <a:lnTo>
                    <a:pt x="1073" y="368"/>
                  </a:lnTo>
                  <a:lnTo>
                    <a:pt x="1098" y="370"/>
                  </a:lnTo>
                  <a:lnTo>
                    <a:pt x="1126" y="371"/>
                  </a:lnTo>
                  <a:lnTo>
                    <a:pt x="1154" y="370"/>
                  </a:lnTo>
                  <a:lnTo>
                    <a:pt x="1148" y="376"/>
                  </a:lnTo>
                  <a:lnTo>
                    <a:pt x="1142" y="383"/>
                  </a:lnTo>
                  <a:lnTo>
                    <a:pt x="1135" y="388"/>
                  </a:lnTo>
                  <a:lnTo>
                    <a:pt x="1129" y="393"/>
                  </a:lnTo>
                  <a:lnTo>
                    <a:pt x="1114" y="402"/>
                  </a:lnTo>
                  <a:lnTo>
                    <a:pt x="1097" y="409"/>
                  </a:lnTo>
                  <a:lnTo>
                    <a:pt x="1079" y="414"/>
                  </a:lnTo>
                  <a:lnTo>
                    <a:pt x="1060" y="419"/>
                  </a:lnTo>
                  <a:lnTo>
                    <a:pt x="1040" y="422"/>
                  </a:lnTo>
                  <a:lnTo>
                    <a:pt x="1019" y="423"/>
                  </a:lnTo>
                  <a:lnTo>
                    <a:pt x="1011" y="447"/>
                  </a:lnTo>
                  <a:lnTo>
                    <a:pt x="1003" y="471"/>
                  </a:lnTo>
                  <a:lnTo>
                    <a:pt x="993" y="494"/>
                  </a:lnTo>
                  <a:lnTo>
                    <a:pt x="983" y="516"/>
                  </a:lnTo>
                  <a:lnTo>
                    <a:pt x="971" y="537"/>
                  </a:lnTo>
                  <a:lnTo>
                    <a:pt x="958" y="557"/>
                  </a:lnTo>
                  <a:lnTo>
                    <a:pt x="946" y="576"/>
                  </a:lnTo>
                  <a:lnTo>
                    <a:pt x="932" y="594"/>
                  </a:lnTo>
                  <a:lnTo>
                    <a:pt x="917" y="612"/>
                  </a:lnTo>
                  <a:lnTo>
                    <a:pt x="901" y="629"/>
                  </a:lnTo>
                  <a:lnTo>
                    <a:pt x="884" y="645"/>
                  </a:lnTo>
                  <a:lnTo>
                    <a:pt x="867" y="660"/>
                  </a:lnTo>
                  <a:lnTo>
                    <a:pt x="849" y="674"/>
                  </a:lnTo>
                  <a:lnTo>
                    <a:pt x="831" y="688"/>
                  </a:lnTo>
                  <a:lnTo>
                    <a:pt x="812" y="700"/>
                  </a:lnTo>
                  <a:lnTo>
                    <a:pt x="792" y="712"/>
                  </a:lnTo>
                  <a:lnTo>
                    <a:pt x="769" y="725"/>
                  </a:lnTo>
                  <a:lnTo>
                    <a:pt x="744" y="736"/>
                  </a:lnTo>
                  <a:lnTo>
                    <a:pt x="720" y="747"/>
                  </a:lnTo>
                  <a:lnTo>
                    <a:pt x="694" y="758"/>
                  </a:lnTo>
                  <a:lnTo>
                    <a:pt x="669" y="766"/>
                  </a:lnTo>
                  <a:lnTo>
                    <a:pt x="643" y="773"/>
                  </a:lnTo>
                  <a:lnTo>
                    <a:pt x="616" y="781"/>
                  </a:lnTo>
                  <a:lnTo>
                    <a:pt x="590" y="786"/>
                  </a:lnTo>
                  <a:lnTo>
                    <a:pt x="562" y="791"/>
                  </a:lnTo>
                  <a:lnTo>
                    <a:pt x="536" y="795"/>
                  </a:lnTo>
                  <a:lnTo>
                    <a:pt x="508" y="797"/>
                  </a:lnTo>
                  <a:lnTo>
                    <a:pt x="480" y="799"/>
                  </a:lnTo>
                  <a:lnTo>
                    <a:pt x="453" y="799"/>
                  </a:lnTo>
                  <a:lnTo>
                    <a:pt x="425" y="798"/>
                  </a:lnTo>
                  <a:lnTo>
                    <a:pt x="399" y="796"/>
                  </a:lnTo>
                  <a:lnTo>
                    <a:pt x="371" y="794"/>
                  </a:lnTo>
                  <a:lnTo>
                    <a:pt x="345" y="788"/>
                  </a:lnTo>
                  <a:lnTo>
                    <a:pt x="317" y="783"/>
                  </a:lnTo>
                  <a:lnTo>
                    <a:pt x="292" y="777"/>
                  </a:lnTo>
                  <a:lnTo>
                    <a:pt x="265" y="769"/>
                  </a:lnTo>
                  <a:lnTo>
                    <a:pt x="240" y="760"/>
                  </a:lnTo>
                  <a:lnTo>
                    <a:pt x="215" y="750"/>
                  </a:lnTo>
                  <a:lnTo>
                    <a:pt x="190" y="738"/>
                  </a:lnTo>
                  <a:lnTo>
                    <a:pt x="166" y="726"/>
                  </a:lnTo>
                  <a:lnTo>
                    <a:pt x="142" y="711"/>
                  </a:lnTo>
                  <a:lnTo>
                    <a:pt x="120" y="696"/>
                  </a:lnTo>
                  <a:lnTo>
                    <a:pt x="98" y="679"/>
                  </a:lnTo>
                  <a:lnTo>
                    <a:pt x="77" y="661"/>
                  </a:lnTo>
                  <a:lnTo>
                    <a:pt x="57" y="642"/>
                  </a:lnTo>
                  <a:lnTo>
                    <a:pt x="36" y="622"/>
                  </a:lnTo>
                  <a:lnTo>
                    <a:pt x="18" y="600"/>
                  </a:lnTo>
                  <a:lnTo>
                    <a:pt x="0" y="576"/>
                  </a:lnTo>
                  <a:lnTo>
                    <a:pt x="12" y="585"/>
                  </a:lnTo>
                  <a:lnTo>
                    <a:pt x="24" y="592"/>
                  </a:lnTo>
                  <a:lnTo>
                    <a:pt x="35" y="601"/>
                  </a:lnTo>
                  <a:lnTo>
                    <a:pt x="48" y="607"/>
                  </a:lnTo>
                  <a:lnTo>
                    <a:pt x="60" y="615"/>
                  </a:lnTo>
                  <a:lnTo>
                    <a:pt x="73" y="621"/>
                  </a:lnTo>
                  <a:lnTo>
                    <a:pt x="86" y="626"/>
                  </a:lnTo>
                  <a:lnTo>
                    <a:pt x="99" y="632"/>
                  </a:lnTo>
                  <a:lnTo>
                    <a:pt x="113" y="636"/>
                  </a:lnTo>
                  <a:lnTo>
                    <a:pt x="125" y="640"/>
                  </a:lnTo>
                  <a:lnTo>
                    <a:pt x="139" y="643"/>
                  </a:lnTo>
                  <a:lnTo>
                    <a:pt x="153" y="646"/>
                  </a:lnTo>
                  <a:lnTo>
                    <a:pt x="167" y="648"/>
                  </a:lnTo>
                  <a:lnTo>
                    <a:pt x="182" y="651"/>
                  </a:lnTo>
                  <a:lnTo>
                    <a:pt x="195" y="652"/>
                  </a:lnTo>
                  <a:lnTo>
                    <a:pt x="209" y="652"/>
                  </a:lnTo>
                  <a:lnTo>
                    <a:pt x="224" y="652"/>
                  </a:lnTo>
                  <a:lnTo>
                    <a:pt x="238" y="651"/>
                  </a:lnTo>
                  <a:lnTo>
                    <a:pt x="252" y="650"/>
                  </a:lnTo>
                  <a:lnTo>
                    <a:pt x="266" y="647"/>
                  </a:lnTo>
                  <a:lnTo>
                    <a:pt x="280" y="644"/>
                  </a:lnTo>
                  <a:lnTo>
                    <a:pt x="294" y="640"/>
                  </a:lnTo>
                  <a:lnTo>
                    <a:pt x="308" y="636"/>
                  </a:lnTo>
                  <a:lnTo>
                    <a:pt x="322" y="630"/>
                  </a:lnTo>
                  <a:lnTo>
                    <a:pt x="335" y="624"/>
                  </a:lnTo>
                  <a:lnTo>
                    <a:pt x="349" y="618"/>
                  </a:lnTo>
                  <a:lnTo>
                    <a:pt x="363" y="610"/>
                  </a:lnTo>
                  <a:lnTo>
                    <a:pt x="376" y="602"/>
                  </a:lnTo>
                  <a:lnTo>
                    <a:pt x="389" y="592"/>
                  </a:lnTo>
                  <a:lnTo>
                    <a:pt x="402" y="583"/>
                  </a:lnTo>
                  <a:lnTo>
                    <a:pt x="415" y="572"/>
                  </a:lnTo>
                  <a:lnTo>
                    <a:pt x="427" y="559"/>
                  </a:lnTo>
                  <a:lnTo>
                    <a:pt x="412" y="559"/>
                  </a:lnTo>
                  <a:lnTo>
                    <a:pt x="398" y="557"/>
                  </a:lnTo>
                  <a:lnTo>
                    <a:pt x="386" y="554"/>
                  </a:lnTo>
                  <a:lnTo>
                    <a:pt x="376" y="549"/>
                  </a:lnTo>
                  <a:lnTo>
                    <a:pt x="366" y="544"/>
                  </a:lnTo>
                  <a:lnTo>
                    <a:pt x="359" y="538"/>
                  </a:lnTo>
                  <a:lnTo>
                    <a:pt x="353" y="531"/>
                  </a:lnTo>
                  <a:lnTo>
                    <a:pt x="349" y="523"/>
                  </a:lnTo>
                  <a:lnTo>
                    <a:pt x="347" y="516"/>
                  </a:lnTo>
                  <a:lnTo>
                    <a:pt x="347" y="508"/>
                  </a:lnTo>
                  <a:lnTo>
                    <a:pt x="349" y="499"/>
                  </a:lnTo>
                  <a:lnTo>
                    <a:pt x="352" y="491"/>
                  </a:lnTo>
                  <a:lnTo>
                    <a:pt x="359" y="483"/>
                  </a:lnTo>
                  <a:lnTo>
                    <a:pt x="366" y="475"/>
                  </a:lnTo>
                  <a:lnTo>
                    <a:pt x="376" y="468"/>
                  </a:lnTo>
                  <a:lnTo>
                    <a:pt x="387" y="461"/>
                  </a:lnTo>
                  <a:lnTo>
                    <a:pt x="364" y="460"/>
                  </a:lnTo>
                  <a:lnTo>
                    <a:pt x="343" y="457"/>
                  </a:lnTo>
                  <a:lnTo>
                    <a:pt x="333" y="455"/>
                  </a:lnTo>
                  <a:lnTo>
                    <a:pt x="324" y="452"/>
                  </a:lnTo>
                  <a:lnTo>
                    <a:pt x="315" y="449"/>
                  </a:lnTo>
                  <a:lnTo>
                    <a:pt x="308" y="446"/>
                  </a:lnTo>
                  <a:lnTo>
                    <a:pt x="299" y="442"/>
                  </a:lnTo>
                  <a:lnTo>
                    <a:pt x="292" y="438"/>
                  </a:lnTo>
                  <a:lnTo>
                    <a:pt x="285" y="432"/>
                  </a:lnTo>
                  <a:lnTo>
                    <a:pt x="279" y="428"/>
                  </a:lnTo>
                  <a:lnTo>
                    <a:pt x="273" y="422"/>
                  </a:lnTo>
                  <a:lnTo>
                    <a:pt x="267" y="416"/>
                  </a:lnTo>
                  <a:lnTo>
                    <a:pt x="262" y="410"/>
                  </a:lnTo>
                  <a:lnTo>
                    <a:pt x="258" y="403"/>
                  </a:lnTo>
                  <a:lnTo>
                    <a:pt x="255" y="398"/>
                  </a:lnTo>
                  <a:lnTo>
                    <a:pt x="253" y="394"/>
                  </a:lnTo>
                  <a:lnTo>
                    <a:pt x="252" y="392"/>
                  </a:lnTo>
                  <a:lnTo>
                    <a:pt x="252" y="389"/>
                  </a:lnTo>
                  <a:lnTo>
                    <a:pt x="253" y="387"/>
                  </a:lnTo>
                  <a:lnTo>
                    <a:pt x="255" y="384"/>
                  </a:lnTo>
                  <a:lnTo>
                    <a:pt x="258" y="380"/>
                  </a:lnTo>
                  <a:lnTo>
                    <a:pt x="263" y="377"/>
                  </a:lnTo>
                  <a:lnTo>
                    <a:pt x="270" y="373"/>
                  </a:lnTo>
                  <a:lnTo>
                    <a:pt x="277" y="370"/>
                  </a:lnTo>
                  <a:lnTo>
                    <a:pt x="284" y="367"/>
                  </a:lnTo>
                  <a:lnTo>
                    <a:pt x="292" y="365"/>
                  </a:lnTo>
                  <a:lnTo>
                    <a:pt x="308" y="360"/>
                  </a:lnTo>
                  <a:lnTo>
                    <a:pt x="325" y="358"/>
                  </a:lnTo>
                  <a:lnTo>
                    <a:pt x="313" y="355"/>
                  </a:lnTo>
                  <a:lnTo>
                    <a:pt x="301" y="351"/>
                  </a:lnTo>
                  <a:lnTo>
                    <a:pt x="291" y="347"/>
                  </a:lnTo>
                  <a:lnTo>
                    <a:pt x="280" y="341"/>
                  </a:lnTo>
                  <a:lnTo>
                    <a:pt x="271" y="336"/>
                  </a:lnTo>
                  <a:lnTo>
                    <a:pt x="261" y="331"/>
                  </a:lnTo>
                  <a:lnTo>
                    <a:pt x="253" y="324"/>
                  </a:lnTo>
                  <a:lnTo>
                    <a:pt x="244" y="318"/>
                  </a:lnTo>
                  <a:lnTo>
                    <a:pt x="237" y="312"/>
                  </a:lnTo>
                  <a:lnTo>
                    <a:pt x="230" y="305"/>
                  </a:lnTo>
                  <a:lnTo>
                    <a:pt x="224" y="298"/>
                  </a:lnTo>
                  <a:lnTo>
                    <a:pt x="219" y="290"/>
                  </a:lnTo>
                  <a:lnTo>
                    <a:pt x="215" y="283"/>
                  </a:lnTo>
                  <a:lnTo>
                    <a:pt x="210" y="275"/>
                  </a:lnTo>
                  <a:lnTo>
                    <a:pt x="206" y="266"/>
                  </a:lnTo>
                  <a:lnTo>
                    <a:pt x="204" y="258"/>
                  </a:lnTo>
                  <a:lnTo>
                    <a:pt x="201" y="249"/>
                  </a:lnTo>
                  <a:lnTo>
                    <a:pt x="201" y="244"/>
                  </a:lnTo>
                  <a:lnTo>
                    <a:pt x="205" y="242"/>
                  </a:lnTo>
                  <a:lnTo>
                    <a:pt x="213" y="240"/>
                  </a:lnTo>
                  <a:lnTo>
                    <a:pt x="226" y="236"/>
                  </a:lnTo>
                  <a:lnTo>
                    <a:pt x="239" y="234"/>
                  </a:lnTo>
                  <a:lnTo>
                    <a:pt x="253" y="233"/>
                  </a:lnTo>
                  <a:lnTo>
                    <a:pt x="266" y="232"/>
                  </a:lnTo>
                  <a:lnTo>
                    <a:pt x="248" y="221"/>
                  </a:lnTo>
                  <a:lnTo>
                    <a:pt x="231" y="207"/>
                  </a:lnTo>
                  <a:lnTo>
                    <a:pt x="217" y="194"/>
                  </a:lnTo>
                  <a:lnTo>
                    <a:pt x="204" y="179"/>
                  </a:lnTo>
                  <a:lnTo>
                    <a:pt x="193" y="165"/>
                  </a:lnTo>
                  <a:lnTo>
                    <a:pt x="186" y="150"/>
                  </a:lnTo>
                  <a:lnTo>
                    <a:pt x="182" y="142"/>
                  </a:lnTo>
                  <a:lnTo>
                    <a:pt x="180" y="135"/>
                  </a:lnTo>
                  <a:lnTo>
                    <a:pt x="176" y="126"/>
                  </a:lnTo>
                  <a:lnTo>
                    <a:pt x="175" y="119"/>
                  </a:lnTo>
                  <a:lnTo>
                    <a:pt x="173" y="106"/>
                  </a:lnTo>
                  <a:lnTo>
                    <a:pt x="172" y="97"/>
                  </a:lnTo>
                  <a:lnTo>
                    <a:pt x="173" y="94"/>
                  </a:lnTo>
                  <a:lnTo>
                    <a:pt x="173" y="92"/>
                  </a:lnTo>
                  <a:lnTo>
                    <a:pt x="174" y="90"/>
                  </a:lnTo>
                  <a:lnTo>
                    <a:pt x="176" y="90"/>
                  </a:lnTo>
                  <a:lnTo>
                    <a:pt x="181" y="90"/>
                  </a:lnTo>
                  <a:lnTo>
                    <a:pt x="187" y="92"/>
                  </a:lnTo>
                  <a:lnTo>
                    <a:pt x="195" y="96"/>
                  </a:lnTo>
                  <a:lnTo>
                    <a:pt x="206" y="100"/>
                  </a:lnTo>
                  <a:lnTo>
                    <a:pt x="257" y="120"/>
                  </a:lnTo>
                  <a:lnTo>
                    <a:pt x="307" y="140"/>
                  </a:lnTo>
                  <a:lnTo>
                    <a:pt x="355" y="161"/>
                  </a:lnTo>
                  <a:lnTo>
                    <a:pt x="402" y="183"/>
                  </a:lnTo>
                  <a:lnTo>
                    <a:pt x="425" y="195"/>
                  </a:lnTo>
                  <a:lnTo>
                    <a:pt x="447" y="208"/>
                  </a:lnTo>
                  <a:lnTo>
                    <a:pt x="468" y="221"/>
                  </a:lnTo>
                  <a:lnTo>
                    <a:pt x="488" y="233"/>
                  </a:lnTo>
                  <a:lnTo>
                    <a:pt x="507" y="247"/>
                  </a:lnTo>
                  <a:lnTo>
                    <a:pt x="525" y="261"/>
                  </a:lnTo>
                  <a:lnTo>
                    <a:pt x="542" y="276"/>
                  </a:lnTo>
                  <a:lnTo>
                    <a:pt x="558" y="290"/>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43" name="TextBox 342"/>
            <p:cNvSpPr txBox="1"/>
            <p:nvPr>
              <p:custDataLst>
                <p:tags r:id="rId4"/>
              </p:custDataLst>
            </p:nvPr>
          </p:nvSpPr>
          <p:spPr>
            <a:xfrm>
              <a:off x="6732240" y="5229200"/>
              <a:ext cx="1672596" cy="153888"/>
            </a:xfrm>
            <a:prstGeom prst="rect">
              <a:avLst/>
            </a:prstGeom>
            <a:noFill/>
          </p:spPr>
          <p:txBody>
            <a:bodyPr wrap="square" lIns="0" tIns="0" rIns="0" bIns="0" rtlCol="0" anchor="b">
              <a:spAutoFit/>
            </a:bodyPr>
            <a:lstStyle/>
            <a:p>
              <a:r>
                <a:rPr lang="en-US" sz="1000" b="1" dirty="0" err="1" smtClean="0">
                  <a:solidFill>
                    <a:schemeClr val="tx1">
                      <a:lumMod val="75000"/>
                      <a:lumOff val="25000"/>
                    </a:schemeClr>
                  </a:solidFill>
                </a:rPr>
                <a:t>manishamadhava</a:t>
              </a:r>
              <a:endParaRPr lang="en-US" sz="1000" b="1" dirty="0">
                <a:solidFill>
                  <a:schemeClr val="tx1">
                    <a:lumMod val="75000"/>
                    <a:lumOff val="25000"/>
                  </a:schemeClr>
                </a:solidFill>
              </a:endParaRPr>
            </a:p>
          </p:txBody>
        </p:sp>
      </p:grpSp>
      <p:cxnSp>
        <p:nvCxnSpPr>
          <p:cNvPr id="354" name="Straight Connector 353"/>
          <p:cNvCxnSpPr/>
          <p:nvPr/>
        </p:nvCxnSpPr>
        <p:spPr>
          <a:xfrm rot="16200000">
            <a:off x="5821401" y="4029023"/>
            <a:ext cx="717044" cy="0"/>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7375161" y="6397401"/>
            <a:ext cx="1484026" cy="369332"/>
          </a:xfrm>
          <a:prstGeom prst="rect">
            <a:avLst/>
          </a:prstGeom>
          <a:solidFill>
            <a:schemeClr val="bg1">
              <a:lumMod val="95000"/>
            </a:schemeClr>
          </a:solidFill>
        </p:spPr>
        <p:txBody>
          <a:bodyPr wrap="square" rtlCol="0">
            <a:spAutoFit/>
          </a:bodyPr>
          <a:lstStyle/>
          <a:p>
            <a:endParaRPr lang="en-US" dirty="0"/>
          </a:p>
        </p:txBody>
      </p:sp>
    </p:spTree>
    <p:extLst>
      <p:ext uri="{BB962C8B-B14F-4D97-AF65-F5344CB8AC3E}">
        <p14:creationId xmlns:p14="http://schemas.microsoft.com/office/powerpoint/2010/main" xmlns="" val="2521167177"/>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indefinite" fill="hold" grpId="0" nodeType="withEffect">
                                  <p:stCondLst>
                                    <p:cond delay="0"/>
                                  </p:stCondLst>
                                  <p:childTnLst>
                                    <p:animRot by="120000">
                                      <p:cBhvr>
                                        <p:cTn id="6" dur="100" fill="hold">
                                          <p:stCondLst>
                                            <p:cond delay="0"/>
                                          </p:stCondLst>
                                        </p:cTn>
                                        <p:tgtEl>
                                          <p:spTgt spid="301"/>
                                        </p:tgtEl>
                                        <p:attrNameLst>
                                          <p:attrName>r</p:attrName>
                                        </p:attrNameLst>
                                      </p:cBhvr>
                                    </p:animRot>
                                    <p:animRot by="-240000">
                                      <p:cBhvr>
                                        <p:cTn id="7" dur="200" fill="hold">
                                          <p:stCondLst>
                                            <p:cond delay="200"/>
                                          </p:stCondLst>
                                        </p:cTn>
                                        <p:tgtEl>
                                          <p:spTgt spid="301"/>
                                        </p:tgtEl>
                                        <p:attrNameLst>
                                          <p:attrName>r</p:attrName>
                                        </p:attrNameLst>
                                      </p:cBhvr>
                                    </p:animRot>
                                    <p:animRot by="240000">
                                      <p:cBhvr>
                                        <p:cTn id="8" dur="200" fill="hold">
                                          <p:stCondLst>
                                            <p:cond delay="400"/>
                                          </p:stCondLst>
                                        </p:cTn>
                                        <p:tgtEl>
                                          <p:spTgt spid="301"/>
                                        </p:tgtEl>
                                        <p:attrNameLst>
                                          <p:attrName>r</p:attrName>
                                        </p:attrNameLst>
                                      </p:cBhvr>
                                    </p:animRot>
                                    <p:animRot by="-240000">
                                      <p:cBhvr>
                                        <p:cTn id="9" dur="200" fill="hold">
                                          <p:stCondLst>
                                            <p:cond delay="600"/>
                                          </p:stCondLst>
                                        </p:cTn>
                                        <p:tgtEl>
                                          <p:spTgt spid="301"/>
                                        </p:tgtEl>
                                        <p:attrNameLst>
                                          <p:attrName>r</p:attrName>
                                        </p:attrNameLst>
                                      </p:cBhvr>
                                    </p:animRot>
                                    <p:animRot by="120000">
                                      <p:cBhvr>
                                        <p:cTn id="10" dur="200" fill="hold">
                                          <p:stCondLst>
                                            <p:cond delay="800"/>
                                          </p:stCondLst>
                                        </p:cTn>
                                        <p:tgtEl>
                                          <p:spTgt spid="30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Plug-in.jpg"/>
          <p:cNvPicPr>
            <a:picLocks noChangeAspect="1"/>
          </p:cNvPicPr>
          <p:nvPr/>
        </p:nvPicPr>
        <p:blipFill>
          <a:blip r:embed="rId4"/>
          <a:stretch>
            <a:fillRect/>
          </a:stretch>
        </p:blipFill>
        <p:spPr>
          <a:xfrm>
            <a:off x="4871292" y="1937982"/>
            <a:ext cx="4045830" cy="4449890"/>
          </a:xfrm>
          <a:prstGeom prst="rect">
            <a:avLst/>
          </a:prstGeom>
        </p:spPr>
      </p:pic>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xmlns="" val="1220212714"/>
              </p:ext>
            </p:extLst>
          </p:nvPr>
        </p:nvGraphicFramePr>
        <p:xfrm>
          <a:off x="1588" y="1588"/>
          <a:ext cx="1587" cy="1587"/>
        </p:xfrm>
        <a:graphic>
          <a:graphicData uri="http://schemas.openxmlformats.org/presentationml/2006/ole">
            <p:oleObj spid="_x0000_s15394" name="think-cell Slide" r:id="rId5" imgW="360" imgH="360" progId="">
              <p:embed/>
            </p:oleObj>
          </a:graphicData>
        </a:graphic>
      </p:graphicFrame>
      <p:sp>
        <p:nvSpPr>
          <p:cNvPr id="8" name="TextBox 7"/>
          <p:cNvSpPr txBox="1"/>
          <p:nvPr/>
        </p:nvSpPr>
        <p:spPr>
          <a:xfrm>
            <a:off x="373197" y="777922"/>
            <a:ext cx="8543925" cy="984885"/>
          </a:xfrm>
          <a:prstGeom prst="rect">
            <a:avLst/>
          </a:prstGeom>
          <a:noFill/>
        </p:spPr>
        <p:txBody>
          <a:bodyPr wrap="square" lIns="0" tIns="0" rIns="0" bIns="0" rtlCol="0">
            <a:spAutoFit/>
          </a:bodyPr>
          <a:lstStyle/>
          <a:p>
            <a:pPr algn="ctr"/>
            <a:r>
              <a:rPr lang="en-US" sz="3200" b="1" dirty="0" smtClean="0">
                <a:solidFill>
                  <a:srgbClr val="0070C0"/>
                </a:solidFill>
              </a:rPr>
              <a:t>Framework</a:t>
            </a:r>
            <a:br>
              <a:rPr lang="en-US" sz="3200" b="1" dirty="0" smtClean="0">
                <a:solidFill>
                  <a:srgbClr val="0070C0"/>
                </a:solidFill>
              </a:rPr>
            </a:br>
            <a:endParaRPr lang="en-US" sz="3200" b="1" dirty="0">
              <a:solidFill>
                <a:srgbClr val="0070C0"/>
              </a:solidFill>
              <a:latin typeface="Neo Sans Std" pitchFamily="34" charset="0"/>
            </a:endParaRPr>
          </a:p>
        </p:txBody>
      </p:sp>
      <p:cxnSp>
        <p:nvCxnSpPr>
          <p:cNvPr id="11" name="Straight Connector 10"/>
          <p:cNvCxnSpPr/>
          <p:nvPr/>
        </p:nvCxnSpPr>
        <p:spPr>
          <a:xfrm rot="5400000">
            <a:off x="4594178" y="-1902157"/>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39" name="Freeform 13"/>
          <p:cNvSpPr>
            <a:spLocks noEditPoints="1"/>
          </p:cNvSpPr>
          <p:nvPr/>
        </p:nvSpPr>
        <p:spPr bwMode="auto">
          <a:xfrm rot="10585247" flipV="1">
            <a:off x="4417312" y="3187267"/>
            <a:ext cx="437938" cy="527565"/>
          </a:xfrm>
          <a:custGeom>
            <a:avLst/>
            <a:gdLst>
              <a:gd name="T0" fmla="*/ 2022 w 2403"/>
              <a:gd name="T1" fmla="*/ 144 h 2897"/>
              <a:gd name="T2" fmla="*/ 1852 w 2403"/>
              <a:gd name="T3" fmla="*/ 57 h 2897"/>
              <a:gd name="T4" fmla="*/ 1632 w 2403"/>
              <a:gd name="T5" fmla="*/ 1 h 2897"/>
              <a:gd name="T6" fmla="*/ 1548 w 2403"/>
              <a:gd name="T7" fmla="*/ 2 h 2897"/>
              <a:gd name="T8" fmla="*/ 1491 w 2403"/>
              <a:gd name="T9" fmla="*/ 23 h 2897"/>
              <a:gd name="T10" fmla="*/ 785 w 2403"/>
              <a:gd name="T11" fmla="*/ 948 h 2897"/>
              <a:gd name="T12" fmla="*/ 48 w 2403"/>
              <a:gd name="T13" fmla="*/ 1933 h 2897"/>
              <a:gd name="T14" fmla="*/ 30 w 2403"/>
              <a:gd name="T15" fmla="*/ 1995 h 2897"/>
              <a:gd name="T16" fmla="*/ 3 w 2403"/>
              <a:gd name="T17" fmla="*/ 2340 h 2897"/>
              <a:gd name="T18" fmla="*/ 7 w 2403"/>
              <a:gd name="T19" fmla="*/ 2732 h 2897"/>
              <a:gd name="T20" fmla="*/ 27 w 2403"/>
              <a:gd name="T21" fmla="*/ 2871 h 2897"/>
              <a:gd name="T22" fmla="*/ 42 w 2403"/>
              <a:gd name="T23" fmla="*/ 2891 h 2897"/>
              <a:gd name="T24" fmla="*/ 118 w 2403"/>
              <a:gd name="T25" fmla="*/ 2896 h 2897"/>
              <a:gd name="T26" fmla="*/ 340 w 2403"/>
              <a:gd name="T27" fmla="*/ 2850 h 2897"/>
              <a:gd name="T28" fmla="*/ 724 w 2403"/>
              <a:gd name="T29" fmla="*/ 2722 h 2897"/>
              <a:gd name="T30" fmla="*/ 926 w 2403"/>
              <a:gd name="T31" fmla="*/ 2628 h 2897"/>
              <a:gd name="T32" fmla="*/ 987 w 2403"/>
              <a:gd name="T33" fmla="*/ 2578 h 2897"/>
              <a:gd name="T34" fmla="*/ 1454 w 2403"/>
              <a:gd name="T35" fmla="*/ 1961 h 2897"/>
              <a:gd name="T36" fmla="*/ 2390 w 2403"/>
              <a:gd name="T37" fmla="*/ 675 h 2897"/>
              <a:gd name="T38" fmla="*/ 2403 w 2403"/>
              <a:gd name="T39" fmla="*/ 631 h 2897"/>
              <a:gd name="T40" fmla="*/ 2392 w 2403"/>
              <a:gd name="T41" fmla="*/ 562 h 2897"/>
              <a:gd name="T42" fmla="*/ 2334 w 2403"/>
              <a:gd name="T43" fmla="*/ 447 h 2897"/>
              <a:gd name="T44" fmla="*/ 2193 w 2403"/>
              <a:gd name="T45" fmla="*/ 279 h 2897"/>
              <a:gd name="T46" fmla="*/ 1398 w 2403"/>
              <a:gd name="T47" fmla="*/ 308 h 2897"/>
              <a:gd name="T48" fmla="*/ 1421 w 2403"/>
              <a:gd name="T49" fmla="*/ 290 h 2897"/>
              <a:gd name="T50" fmla="*/ 1468 w 2403"/>
              <a:gd name="T51" fmla="*/ 287 h 2897"/>
              <a:gd name="T52" fmla="*/ 1528 w 2403"/>
              <a:gd name="T53" fmla="*/ 313 h 2897"/>
              <a:gd name="T54" fmla="*/ 1580 w 2403"/>
              <a:gd name="T55" fmla="*/ 368 h 2897"/>
              <a:gd name="T56" fmla="*/ 1587 w 2403"/>
              <a:gd name="T57" fmla="*/ 409 h 2897"/>
              <a:gd name="T58" fmla="*/ 337 w 2403"/>
              <a:gd name="T59" fmla="*/ 1902 h 2897"/>
              <a:gd name="T60" fmla="*/ 473 w 2403"/>
              <a:gd name="T61" fmla="*/ 2660 h 2897"/>
              <a:gd name="T62" fmla="*/ 364 w 2403"/>
              <a:gd name="T63" fmla="*/ 2709 h 2897"/>
              <a:gd name="T64" fmla="*/ 169 w 2403"/>
              <a:gd name="T65" fmla="*/ 2764 h 2897"/>
              <a:gd name="T66" fmla="*/ 134 w 2403"/>
              <a:gd name="T67" fmla="*/ 2763 h 2897"/>
              <a:gd name="T68" fmla="*/ 125 w 2403"/>
              <a:gd name="T69" fmla="*/ 2643 h 2897"/>
              <a:gd name="T70" fmla="*/ 137 w 2403"/>
              <a:gd name="T71" fmla="*/ 2423 h 2897"/>
              <a:gd name="T72" fmla="*/ 151 w 2403"/>
              <a:gd name="T73" fmla="*/ 2404 h 2897"/>
              <a:gd name="T74" fmla="*/ 206 w 2403"/>
              <a:gd name="T75" fmla="*/ 2409 h 2897"/>
              <a:gd name="T76" fmla="*/ 355 w 2403"/>
              <a:gd name="T77" fmla="*/ 2486 h 2897"/>
              <a:gd name="T78" fmla="*/ 454 w 2403"/>
              <a:gd name="T79" fmla="*/ 2577 h 2897"/>
              <a:gd name="T80" fmla="*/ 480 w 2403"/>
              <a:gd name="T81" fmla="*/ 2630 h 2897"/>
              <a:gd name="T82" fmla="*/ 490 w 2403"/>
              <a:gd name="T83" fmla="*/ 2117 h 2897"/>
              <a:gd name="T84" fmla="*/ 1708 w 2403"/>
              <a:gd name="T85" fmla="*/ 446 h 2897"/>
              <a:gd name="T86" fmla="*/ 1748 w 2403"/>
              <a:gd name="T87" fmla="*/ 445 h 2897"/>
              <a:gd name="T88" fmla="*/ 1821 w 2403"/>
              <a:gd name="T89" fmla="*/ 478 h 2897"/>
              <a:gd name="T90" fmla="*/ 1867 w 2403"/>
              <a:gd name="T91" fmla="*/ 520 h 2897"/>
              <a:gd name="T92" fmla="*/ 1888 w 2403"/>
              <a:gd name="T93" fmla="*/ 565 h 2897"/>
              <a:gd name="T94" fmla="*/ 624 w 2403"/>
              <a:gd name="T95" fmla="*/ 2291 h 2897"/>
              <a:gd name="T96" fmla="*/ 902 w 2403"/>
              <a:gd name="T97" fmla="*/ 2386 h 2897"/>
              <a:gd name="T98" fmla="*/ 1979 w 2403"/>
              <a:gd name="T99" fmla="*/ 672 h 2897"/>
              <a:gd name="T100" fmla="*/ 2014 w 2403"/>
              <a:gd name="T101" fmla="*/ 670 h 2897"/>
              <a:gd name="T102" fmla="*/ 2067 w 2403"/>
              <a:gd name="T103" fmla="*/ 704 h 2897"/>
              <a:gd name="T104" fmla="*/ 2108 w 2403"/>
              <a:gd name="T105" fmla="*/ 754 h 2897"/>
              <a:gd name="T106" fmla="*/ 2123 w 2403"/>
              <a:gd name="T107" fmla="*/ 801 h 2897"/>
              <a:gd name="T108" fmla="*/ 2117 w 2403"/>
              <a:gd name="T109" fmla="*/ 835 h 2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03" h="2897">
                <a:moveTo>
                  <a:pt x="2095" y="193"/>
                </a:moveTo>
                <a:lnTo>
                  <a:pt x="2095" y="193"/>
                </a:lnTo>
                <a:lnTo>
                  <a:pt x="2071" y="176"/>
                </a:lnTo>
                <a:lnTo>
                  <a:pt x="2046" y="159"/>
                </a:lnTo>
                <a:lnTo>
                  <a:pt x="2022" y="144"/>
                </a:lnTo>
                <a:lnTo>
                  <a:pt x="1998" y="129"/>
                </a:lnTo>
                <a:lnTo>
                  <a:pt x="1974" y="115"/>
                </a:lnTo>
                <a:lnTo>
                  <a:pt x="1948" y="101"/>
                </a:lnTo>
                <a:lnTo>
                  <a:pt x="1900" y="78"/>
                </a:lnTo>
                <a:lnTo>
                  <a:pt x="1852" y="57"/>
                </a:lnTo>
                <a:lnTo>
                  <a:pt x="1803" y="40"/>
                </a:lnTo>
                <a:lnTo>
                  <a:pt x="1757" y="25"/>
                </a:lnTo>
                <a:lnTo>
                  <a:pt x="1714" y="14"/>
                </a:lnTo>
                <a:lnTo>
                  <a:pt x="1671" y="6"/>
                </a:lnTo>
                <a:lnTo>
                  <a:pt x="1632" y="1"/>
                </a:lnTo>
                <a:lnTo>
                  <a:pt x="1613" y="0"/>
                </a:lnTo>
                <a:lnTo>
                  <a:pt x="1595" y="0"/>
                </a:lnTo>
                <a:lnTo>
                  <a:pt x="1580" y="0"/>
                </a:lnTo>
                <a:lnTo>
                  <a:pt x="1564" y="1"/>
                </a:lnTo>
                <a:lnTo>
                  <a:pt x="1548" y="2"/>
                </a:lnTo>
                <a:lnTo>
                  <a:pt x="1535" y="5"/>
                </a:lnTo>
                <a:lnTo>
                  <a:pt x="1521" y="8"/>
                </a:lnTo>
                <a:lnTo>
                  <a:pt x="1511" y="12"/>
                </a:lnTo>
                <a:lnTo>
                  <a:pt x="1500" y="17"/>
                </a:lnTo>
                <a:lnTo>
                  <a:pt x="1491" y="23"/>
                </a:lnTo>
                <a:lnTo>
                  <a:pt x="1484" y="29"/>
                </a:lnTo>
                <a:lnTo>
                  <a:pt x="1477" y="36"/>
                </a:lnTo>
                <a:lnTo>
                  <a:pt x="1477" y="36"/>
                </a:lnTo>
                <a:lnTo>
                  <a:pt x="1253" y="331"/>
                </a:lnTo>
                <a:lnTo>
                  <a:pt x="785" y="948"/>
                </a:lnTo>
                <a:lnTo>
                  <a:pt x="532" y="1283"/>
                </a:lnTo>
                <a:lnTo>
                  <a:pt x="304" y="1584"/>
                </a:lnTo>
                <a:lnTo>
                  <a:pt x="134" y="1813"/>
                </a:lnTo>
                <a:lnTo>
                  <a:pt x="78" y="1890"/>
                </a:lnTo>
                <a:lnTo>
                  <a:pt x="48" y="1933"/>
                </a:lnTo>
                <a:lnTo>
                  <a:pt x="48" y="1933"/>
                </a:lnTo>
                <a:lnTo>
                  <a:pt x="43" y="1943"/>
                </a:lnTo>
                <a:lnTo>
                  <a:pt x="38" y="1956"/>
                </a:lnTo>
                <a:lnTo>
                  <a:pt x="33" y="1974"/>
                </a:lnTo>
                <a:lnTo>
                  <a:pt x="30" y="1995"/>
                </a:lnTo>
                <a:lnTo>
                  <a:pt x="23" y="2047"/>
                </a:lnTo>
                <a:lnTo>
                  <a:pt x="15" y="2110"/>
                </a:lnTo>
                <a:lnTo>
                  <a:pt x="10" y="2181"/>
                </a:lnTo>
                <a:lnTo>
                  <a:pt x="6" y="2259"/>
                </a:lnTo>
                <a:lnTo>
                  <a:pt x="3" y="2340"/>
                </a:lnTo>
                <a:lnTo>
                  <a:pt x="1" y="2423"/>
                </a:lnTo>
                <a:lnTo>
                  <a:pt x="0" y="2507"/>
                </a:lnTo>
                <a:lnTo>
                  <a:pt x="1" y="2588"/>
                </a:lnTo>
                <a:lnTo>
                  <a:pt x="3" y="2663"/>
                </a:lnTo>
                <a:lnTo>
                  <a:pt x="7" y="2732"/>
                </a:lnTo>
                <a:lnTo>
                  <a:pt x="12" y="2790"/>
                </a:lnTo>
                <a:lnTo>
                  <a:pt x="15" y="2815"/>
                </a:lnTo>
                <a:lnTo>
                  <a:pt x="19" y="2837"/>
                </a:lnTo>
                <a:lnTo>
                  <a:pt x="23" y="2856"/>
                </a:lnTo>
                <a:lnTo>
                  <a:pt x="27" y="2871"/>
                </a:lnTo>
                <a:lnTo>
                  <a:pt x="32" y="2882"/>
                </a:lnTo>
                <a:lnTo>
                  <a:pt x="35" y="2885"/>
                </a:lnTo>
                <a:lnTo>
                  <a:pt x="37" y="2888"/>
                </a:lnTo>
                <a:lnTo>
                  <a:pt x="37" y="2888"/>
                </a:lnTo>
                <a:lnTo>
                  <a:pt x="42" y="2891"/>
                </a:lnTo>
                <a:lnTo>
                  <a:pt x="47" y="2893"/>
                </a:lnTo>
                <a:lnTo>
                  <a:pt x="60" y="2896"/>
                </a:lnTo>
                <a:lnTo>
                  <a:pt x="76" y="2897"/>
                </a:lnTo>
                <a:lnTo>
                  <a:pt x="95" y="2897"/>
                </a:lnTo>
                <a:lnTo>
                  <a:pt x="118" y="2896"/>
                </a:lnTo>
                <a:lnTo>
                  <a:pt x="144" y="2893"/>
                </a:lnTo>
                <a:lnTo>
                  <a:pt x="171" y="2888"/>
                </a:lnTo>
                <a:lnTo>
                  <a:pt x="202" y="2883"/>
                </a:lnTo>
                <a:lnTo>
                  <a:pt x="267" y="2868"/>
                </a:lnTo>
                <a:lnTo>
                  <a:pt x="340" y="2850"/>
                </a:lnTo>
                <a:lnTo>
                  <a:pt x="416" y="2829"/>
                </a:lnTo>
                <a:lnTo>
                  <a:pt x="494" y="2804"/>
                </a:lnTo>
                <a:lnTo>
                  <a:pt x="573" y="2778"/>
                </a:lnTo>
                <a:lnTo>
                  <a:pt x="650" y="2751"/>
                </a:lnTo>
                <a:lnTo>
                  <a:pt x="724" y="2722"/>
                </a:lnTo>
                <a:lnTo>
                  <a:pt x="793" y="2694"/>
                </a:lnTo>
                <a:lnTo>
                  <a:pt x="854" y="2666"/>
                </a:lnTo>
                <a:lnTo>
                  <a:pt x="880" y="2653"/>
                </a:lnTo>
                <a:lnTo>
                  <a:pt x="904" y="2641"/>
                </a:lnTo>
                <a:lnTo>
                  <a:pt x="926" y="2628"/>
                </a:lnTo>
                <a:lnTo>
                  <a:pt x="946" y="2617"/>
                </a:lnTo>
                <a:lnTo>
                  <a:pt x="960" y="2605"/>
                </a:lnTo>
                <a:lnTo>
                  <a:pt x="972" y="2595"/>
                </a:lnTo>
                <a:lnTo>
                  <a:pt x="972" y="2595"/>
                </a:lnTo>
                <a:lnTo>
                  <a:pt x="987" y="2578"/>
                </a:lnTo>
                <a:lnTo>
                  <a:pt x="1007" y="2554"/>
                </a:lnTo>
                <a:lnTo>
                  <a:pt x="1064" y="2480"/>
                </a:lnTo>
                <a:lnTo>
                  <a:pt x="1142" y="2380"/>
                </a:lnTo>
                <a:lnTo>
                  <a:pt x="1234" y="2257"/>
                </a:lnTo>
                <a:lnTo>
                  <a:pt x="1454" y="1961"/>
                </a:lnTo>
                <a:lnTo>
                  <a:pt x="1697" y="1630"/>
                </a:lnTo>
                <a:lnTo>
                  <a:pt x="1939" y="1298"/>
                </a:lnTo>
                <a:lnTo>
                  <a:pt x="2153" y="1004"/>
                </a:lnTo>
                <a:lnTo>
                  <a:pt x="2311" y="784"/>
                </a:lnTo>
                <a:lnTo>
                  <a:pt x="2390" y="675"/>
                </a:lnTo>
                <a:lnTo>
                  <a:pt x="2390" y="675"/>
                </a:lnTo>
                <a:lnTo>
                  <a:pt x="2395" y="665"/>
                </a:lnTo>
                <a:lnTo>
                  <a:pt x="2400" y="654"/>
                </a:lnTo>
                <a:lnTo>
                  <a:pt x="2402" y="643"/>
                </a:lnTo>
                <a:lnTo>
                  <a:pt x="2403" y="631"/>
                </a:lnTo>
                <a:lnTo>
                  <a:pt x="2403" y="618"/>
                </a:lnTo>
                <a:lnTo>
                  <a:pt x="2403" y="605"/>
                </a:lnTo>
                <a:lnTo>
                  <a:pt x="2401" y="591"/>
                </a:lnTo>
                <a:lnTo>
                  <a:pt x="2397" y="577"/>
                </a:lnTo>
                <a:lnTo>
                  <a:pt x="2392" y="562"/>
                </a:lnTo>
                <a:lnTo>
                  <a:pt x="2386" y="547"/>
                </a:lnTo>
                <a:lnTo>
                  <a:pt x="2380" y="531"/>
                </a:lnTo>
                <a:lnTo>
                  <a:pt x="2373" y="514"/>
                </a:lnTo>
                <a:lnTo>
                  <a:pt x="2355" y="481"/>
                </a:lnTo>
                <a:lnTo>
                  <a:pt x="2334" y="447"/>
                </a:lnTo>
                <a:lnTo>
                  <a:pt x="2310" y="412"/>
                </a:lnTo>
                <a:lnTo>
                  <a:pt x="2284" y="378"/>
                </a:lnTo>
                <a:lnTo>
                  <a:pt x="2255" y="345"/>
                </a:lnTo>
                <a:lnTo>
                  <a:pt x="2226" y="311"/>
                </a:lnTo>
                <a:lnTo>
                  <a:pt x="2193" y="279"/>
                </a:lnTo>
                <a:lnTo>
                  <a:pt x="2161" y="248"/>
                </a:lnTo>
                <a:lnTo>
                  <a:pt x="2128" y="220"/>
                </a:lnTo>
                <a:lnTo>
                  <a:pt x="2095" y="193"/>
                </a:lnTo>
                <a:lnTo>
                  <a:pt x="2095" y="193"/>
                </a:lnTo>
                <a:close/>
                <a:moveTo>
                  <a:pt x="1398" y="308"/>
                </a:moveTo>
                <a:lnTo>
                  <a:pt x="1398" y="308"/>
                </a:lnTo>
                <a:lnTo>
                  <a:pt x="1400" y="306"/>
                </a:lnTo>
                <a:lnTo>
                  <a:pt x="1405" y="300"/>
                </a:lnTo>
                <a:lnTo>
                  <a:pt x="1415" y="294"/>
                </a:lnTo>
                <a:lnTo>
                  <a:pt x="1421" y="290"/>
                </a:lnTo>
                <a:lnTo>
                  <a:pt x="1428" y="288"/>
                </a:lnTo>
                <a:lnTo>
                  <a:pt x="1437" y="285"/>
                </a:lnTo>
                <a:lnTo>
                  <a:pt x="1445" y="284"/>
                </a:lnTo>
                <a:lnTo>
                  <a:pt x="1456" y="284"/>
                </a:lnTo>
                <a:lnTo>
                  <a:pt x="1468" y="287"/>
                </a:lnTo>
                <a:lnTo>
                  <a:pt x="1482" y="290"/>
                </a:lnTo>
                <a:lnTo>
                  <a:pt x="1495" y="295"/>
                </a:lnTo>
                <a:lnTo>
                  <a:pt x="1511" y="303"/>
                </a:lnTo>
                <a:lnTo>
                  <a:pt x="1528" y="313"/>
                </a:lnTo>
                <a:lnTo>
                  <a:pt x="1528" y="313"/>
                </a:lnTo>
                <a:lnTo>
                  <a:pt x="1542" y="325"/>
                </a:lnTo>
                <a:lnTo>
                  <a:pt x="1555" y="336"/>
                </a:lnTo>
                <a:lnTo>
                  <a:pt x="1565" y="347"/>
                </a:lnTo>
                <a:lnTo>
                  <a:pt x="1573" y="357"/>
                </a:lnTo>
                <a:lnTo>
                  <a:pt x="1580" y="368"/>
                </a:lnTo>
                <a:lnTo>
                  <a:pt x="1583" y="376"/>
                </a:lnTo>
                <a:lnTo>
                  <a:pt x="1586" y="386"/>
                </a:lnTo>
                <a:lnTo>
                  <a:pt x="1587" y="394"/>
                </a:lnTo>
                <a:lnTo>
                  <a:pt x="1588" y="401"/>
                </a:lnTo>
                <a:lnTo>
                  <a:pt x="1587" y="409"/>
                </a:lnTo>
                <a:lnTo>
                  <a:pt x="1584" y="420"/>
                </a:lnTo>
                <a:lnTo>
                  <a:pt x="1582" y="427"/>
                </a:lnTo>
                <a:lnTo>
                  <a:pt x="1581" y="429"/>
                </a:lnTo>
                <a:lnTo>
                  <a:pt x="337" y="2076"/>
                </a:lnTo>
                <a:lnTo>
                  <a:pt x="337" y="1902"/>
                </a:lnTo>
                <a:lnTo>
                  <a:pt x="239" y="1865"/>
                </a:lnTo>
                <a:lnTo>
                  <a:pt x="1398" y="308"/>
                </a:lnTo>
                <a:close/>
                <a:moveTo>
                  <a:pt x="475" y="2657"/>
                </a:moveTo>
                <a:lnTo>
                  <a:pt x="475" y="2657"/>
                </a:lnTo>
                <a:lnTo>
                  <a:pt x="473" y="2660"/>
                </a:lnTo>
                <a:lnTo>
                  <a:pt x="469" y="2664"/>
                </a:lnTo>
                <a:lnTo>
                  <a:pt x="456" y="2671"/>
                </a:lnTo>
                <a:lnTo>
                  <a:pt x="439" y="2680"/>
                </a:lnTo>
                <a:lnTo>
                  <a:pt x="417" y="2689"/>
                </a:lnTo>
                <a:lnTo>
                  <a:pt x="364" y="2709"/>
                </a:lnTo>
                <a:lnTo>
                  <a:pt x="304" y="2729"/>
                </a:lnTo>
                <a:lnTo>
                  <a:pt x="244" y="2746"/>
                </a:lnTo>
                <a:lnTo>
                  <a:pt x="216" y="2754"/>
                </a:lnTo>
                <a:lnTo>
                  <a:pt x="191" y="2760"/>
                </a:lnTo>
                <a:lnTo>
                  <a:pt x="169" y="2764"/>
                </a:lnTo>
                <a:lnTo>
                  <a:pt x="152" y="2767"/>
                </a:lnTo>
                <a:lnTo>
                  <a:pt x="140" y="2767"/>
                </a:lnTo>
                <a:lnTo>
                  <a:pt x="135" y="2766"/>
                </a:lnTo>
                <a:lnTo>
                  <a:pt x="134" y="2763"/>
                </a:lnTo>
                <a:lnTo>
                  <a:pt x="134" y="2763"/>
                </a:lnTo>
                <a:lnTo>
                  <a:pt x="130" y="2756"/>
                </a:lnTo>
                <a:lnTo>
                  <a:pt x="129" y="2743"/>
                </a:lnTo>
                <a:lnTo>
                  <a:pt x="127" y="2723"/>
                </a:lnTo>
                <a:lnTo>
                  <a:pt x="127" y="2700"/>
                </a:lnTo>
                <a:lnTo>
                  <a:pt x="125" y="2643"/>
                </a:lnTo>
                <a:lnTo>
                  <a:pt x="127" y="2581"/>
                </a:lnTo>
                <a:lnTo>
                  <a:pt x="129" y="2518"/>
                </a:lnTo>
                <a:lnTo>
                  <a:pt x="133" y="2462"/>
                </a:lnTo>
                <a:lnTo>
                  <a:pt x="135" y="2440"/>
                </a:lnTo>
                <a:lnTo>
                  <a:pt x="137" y="2423"/>
                </a:lnTo>
                <a:lnTo>
                  <a:pt x="140" y="2411"/>
                </a:lnTo>
                <a:lnTo>
                  <a:pt x="141" y="2407"/>
                </a:lnTo>
                <a:lnTo>
                  <a:pt x="142" y="2406"/>
                </a:lnTo>
                <a:lnTo>
                  <a:pt x="142" y="2406"/>
                </a:lnTo>
                <a:lnTo>
                  <a:pt x="151" y="2404"/>
                </a:lnTo>
                <a:lnTo>
                  <a:pt x="159" y="2403"/>
                </a:lnTo>
                <a:lnTo>
                  <a:pt x="170" y="2403"/>
                </a:lnTo>
                <a:lnTo>
                  <a:pt x="181" y="2404"/>
                </a:lnTo>
                <a:lnTo>
                  <a:pt x="193" y="2406"/>
                </a:lnTo>
                <a:lnTo>
                  <a:pt x="206" y="2409"/>
                </a:lnTo>
                <a:lnTo>
                  <a:pt x="234" y="2418"/>
                </a:lnTo>
                <a:lnTo>
                  <a:pt x="263" y="2432"/>
                </a:lnTo>
                <a:lnTo>
                  <a:pt x="295" y="2447"/>
                </a:lnTo>
                <a:lnTo>
                  <a:pt x="325" y="2466"/>
                </a:lnTo>
                <a:lnTo>
                  <a:pt x="355" y="2486"/>
                </a:lnTo>
                <a:lnTo>
                  <a:pt x="384" y="2508"/>
                </a:lnTo>
                <a:lnTo>
                  <a:pt x="411" y="2531"/>
                </a:lnTo>
                <a:lnTo>
                  <a:pt x="435" y="2554"/>
                </a:lnTo>
                <a:lnTo>
                  <a:pt x="445" y="2565"/>
                </a:lnTo>
                <a:lnTo>
                  <a:pt x="454" y="2577"/>
                </a:lnTo>
                <a:lnTo>
                  <a:pt x="462" y="2588"/>
                </a:lnTo>
                <a:lnTo>
                  <a:pt x="469" y="2599"/>
                </a:lnTo>
                <a:lnTo>
                  <a:pt x="474" y="2610"/>
                </a:lnTo>
                <a:lnTo>
                  <a:pt x="477" y="2620"/>
                </a:lnTo>
                <a:lnTo>
                  <a:pt x="480" y="2630"/>
                </a:lnTo>
                <a:lnTo>
                  <a:pt x="480" y="2640"/>
                </a:lnTo>
                <a:lnTo>
                  <a:pt x="479" y="2649"/>
                </a:lnTo>
                <a:lnTo>
                  <a:pt x="475" y="2657"/>
                </a:lnTo>
                <a:lnTo>
                  <a:pt x="475" y="2657"/>
                </a:lnTo>
                <a:close/>
                <a:moveTo>
                  <a:pt x="490" y="2117"/>
                </a:moveTo>
                <a:lnTo>
                  <a:pt x="1692" y="455"/>
                </a:lnTo>
                <a:lnTo>
                  <a:pt x="1692" y="455"/>
                </a:lnTo>
                <a:lnTo>
                  <a:pt x="1694" y="453"/>
                </a:lnTo>
                <a:lnTo>
                  <a:pt x="1699" y="450"/>
                </a:lnTo>
                <a:lnTo>
                  <a:pt x="1708" y="446"/>
                </a:lnTo>
                <a:lnTo>
                  <a:pt x="1713" y="444"/>
                </a:lnTo>
                <a:lnTo>
                  <a:pt x="1720" y="443"/>
                </a:lnTo>
                <a:lnTo>
                  <a:pt x="1728" y="443"/>
                </a:lnTo>
                <a:lnTo>
                  <a:pt x="1737" y="444"/>
                </a:lnTo>
                <a:lnTo>
                  <a:pt x="1748" y="445"/>
                </a:lnTo>
                <a:lnTo>
                  <a:pt x="1760" y="449"/>
                </a:lnTo>
                <a:lnTo>
                  <a:pt x="1773" y="452"/>
                </a:lnTo>
                <a:lnTo>
                  <a:pt x="1788" y="460"/>
                </a:lnTo>
                <a:lnTo>
                  <a:pt x="1803" y="468"/>
                </a:lnTo>
                <a:lnTo>
                  <a:pt x="1821" y="478"/>
                </a:lnTo>
                <a:lnTo>
                  <a:pt x="1821" y="478"/>
                </a:lnTo>
                <a:lnTo>
                  <a:pt x="1836" y="489"/>
                </a:lnTo>
                <a:lnTo>
                  <a:pt x="1849" y="499"/>
                </a:lnTo>
                <a:lnTo>
                  <a:pt x="1859" y="509"/>
                </a:lnTo>
                <a:lnTo>
                  <a:pt x="1867" y="520"/>
                </a:lnTo>
                <a:lnTo>
                  <a:pt x="1875" y="530"/>
                </a:lnTo>
                <a:lnTo>
                  <a:pt x="1880" y="539"/>
                </a:lnTo>
                <a:lnTo>
                  <a:pt x="1883" y="549"/>
                </a:lnTo>
                <a:lnTo>
                  <a:pt x="1887" y="558"/>
                </a:lnTo>
                <a:lnTo>
                  <a:pt x="1888" y="565"/>
                </a:lnTo>
                <a:lnTo>
                  <a:pt x="1888" y="572"/>
                </a:lnTo>
                <a:lnTo>
                  <a:pt x="1888" y="584"/>
                </a:lnTo>
                <a:lnTo>
                  <a:pt x="1887" y="591"/>
                </a:lnTo>
                <a:lnTo>
                  <a:pt x="1886" y="594"/>
                </a:lnTo>
                <a:lnTo>
                  <a:pt x="624" y="2291"/>
                </a:lnTo>
                <a:lnTo>
                  <a:pt x="624" y="2094"/>
                </a:lnTo>
                <a:lnTo>
                  <a:pt x="490" y="2117"/>
                </a:lnTo>
                <a:close/>
                <a:moveTo>
                  <a:pt x="2117" y="835"/>
                </a:moveTo>
                <a:lnTo>
                  <a:pt x="937" y="2462"/>
                </a:lnTo>
                <a:lnTo>
                  <a:pt x="902" y="2386"/>
                </a:lnTo>
                <a:lnTo>
                  <a:pt x="750" y="2359"/>
                </a:lnTo>
                <a:lnTo>
                  <a:pt x="1973" y="677"/>
                </a:lnTo>
                <a:lnTo>
                  <a:pt x="1973" y="677"/>
                </a:lnTo>
                <a:lnTo>
                  <a:pt x="1975" y="676"/>
                </a:lnTo>
                <a:lnTo>
                  <a:pt x="1979" y="672"/>
                </a:lnTo>
                <a:lnTo>
                  <a:pt x="1987" y="669"/>
                </a:lnTo>
                <a:lnTo>
                  <a:pt x="1992" y="669"/>
                </a:lnTo>
                <a:lnTo>
                  <a:pt x="1998" y="668"/>
                </a:lnTo>
                <a:lnTo>
                  <a:pt x="2005" y="669"/>
                </a:lnTo>
                <a:lnTo>
                  <a:pt x="2014" y="670"/>
                </a:lnTo>
                <a:lnTo>
                  <a:pt x="2022" y="674"/>
                </a:lnTo>
                <a:lnTo>
                  <a:pt x="2032" y="679"/>
                </a:lnTo>
                <a:lnTo>
                  <a:pt x="2043" y="685"/>
                </a:lnTo>
                <a:lnTo>
                  <a:pt x="2055" y="693"/>
                </a:lnTo>
                <a:lnTo>
                  <a:pt x="2067" y="704"/>
                </a:lnTo>
                <a:lnTo>
                  <a:pt x="2080" y="718"/>
                </a:lnTo>
                <a:lnTo>
                  <a:pt x="2080" y="718"/>
                </a:lnTo>
                <a:lnTo>
                  <a:pt x="2091" y="731"/>
                </a:lnTo>
                <a:lnTo>
                  <a:pt x="2101" y="741"/>
                </a:lnTo>
                <a:lnTo>
                  <a:pt x="2108" y="754"/>
                </a:lnTo>
                <a:lnTo>
                  <a:pt x="2113" y="764"/>
                </a:lnTo>
                <a:lnTo>
                  <a:pt x="2118" y="774"/>
                </a:lnTo>
                <a:lnTo>
                  <a:pt x="2120" y="784"/>
                </a:lnTo>
                <a:lnTo>
                  <a:pt x="2121" y="793"/>
                </a:lnTo>
                <a:lnTo>
                  <a:pt x="2123" y="801"/>
                </a:lnTo>
                <a:lnTo>
                  <a:pt x="2121" y="815"/>
                </a:lnTo>
                <a:lnTo>
                  <a:pt x="2120" y="826"/>
                </a:lnTo>
                <a:lnTo>
                  <a:pt x="2118" y="832"/>
                </a:lnTo>
                <a:lnTo>
                  <a:pt x="2117" y="835"/>
                </a:lnTo>
                <a:lnTo>
                  <a:pt x="2117" y="835"/>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p>
        </p:txBody>
      </p:sp>
      <p:sp>
        <p:nvSpPr>
          <p:cNvPr id="3" name="Up-Down Arrow 2"/>
          <p:cNvSpPr/>
          <p:nvPr/>
        </p:nvSpPr>
        <p:spPr>
          <a:xfrm rot="16200000">
            <a:off x="2551245" y="3029819"/>
            <a:ext cx="137430" cy="842465"/>
          </a:xfrm>
          <a:prstGeom prst="upDownArrow">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9" name="Oval 8"/>
          <p:cNvSpPr/>
          <p:nvPr/>
        </p:nvSpPr>
        <p:spPr>
          <a:xfrm>
            <a:off x="2525982" y="3347676"/>
            <a:ext cx="187954" cy="206749"/>
          </a:xfrm>
          <a:prstGeom prst="ellipse">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49" name="TextBox 48"/>
          <p:cNvSpPr txBox="1"/>
          <p:nvPr/>
        </p:nvSpPr>
        <p:spPr>
          <a:xfrm>
            <a:off x="373198" y="1937981"/>
            <a:ext cx="8543924" cy="4370427"/>
          </a:xfrm>
          <a:prstGeom prst="rect">
            <a:avLst/>
          </a:prstGeom>
          <a:noFill/>
        </p:spPr>
        <p:txBody>
          <a:bodyPr wrap="square" lIns="0" tIns="0" rIns="0" bIns="0" rtlCol="0">
            <a:spAutoFit/>
          </a:bodyPr>
          <a:lstStyle/>
          <a:p>
            <a:pPr>
              <a:buClr>
                <a:srgbClr val="0D65AC"/>
              </a:buClr>
              <a:buFont typeface="Wingdings" pitchFamily="2" charset="2"/>
              <a:buChar char="q"/>
            </a:pPr>
            <a:r>
              <a:rPr lang="en-US" sz="2800" i="1" dirty="0" smtClean="0"/>
              <a:t>Constitutional Framework</a:t>
            </a:r>
          </a:p>
          <a:p>
            <a:pPr>
              <a:buClr>
                <a:srgbClr val="0D65AC"/>
              </a:buClr>
              <a:buFont typeface="Wingdings" pitchFamily="2" charset="2"/>
              <a:buChar char="q"/>
            </a:pPr>
            <a:r>
              <a:rPr lang="en-US" sz="2800" b="1" i="1" dirty="0" smtClean="0"/>
              <a:t>The Political Context</a:t>
            </a:r>
          </a:p>
          <a:p>
            <a:pPr lvl="2">
              <a:buClr>
                <a:srgbClr val="2A9B18"/>
              </a:buClr>
              <a:buFont typeface="Wingdings" pitchFamily="2" charset="2"/>
              <a:buChar char="q"/>
            </a:pPr>
            <a:r>
              <a:rPr lang="en-US" sz="2800" i="1" dirty="0" smtClean="0"/>
              <a:t>Locating the Process</a:t>
            </a:r>
          </a:p>
          <a:p>
            <a:pPr lvl="2">
              <a:buClr>
                <a:srgbClr val="2A9B18"/>
              </a:buClr>
              <a:buFont typeface="Wingdings" pitchFamily="2" charset="2"/>
              <a:buChar char="q"/>
            </a:pPr>
            <a:r>
              <a:rPr lang="en-US" sz="2800" i="1" dirty="0" smtClean="0"/>
              <a:t>Locating the Law Makers</a:t>
            </a:r>
          </a:p>
          <a:p>
            <a:pPr>
              <a:buClr>
                <a:srgbClr val="0D65AC"/>
              </a:buClr>
              <a:buFont typeface="Wingdings" pitchFamily="2" charset="2"/>
              <a:buChar char="q"/>
            </a:pPr>
            <a:r>
              <a:rPr lang="en-US" sz="2800" b="1" i="1" dirty="0" smtClean="0"/>
              <a:t>The Institutional Context</a:t>
            </a:r>
          </a:p>
          <a:p>
            <a:pPr lvl="2">
              <a:buClr>
                <a:srgbClr val="1F7111"/>
              </a:buClr>
              <a:buFont typeface="Wingdings" pitchFamily="2" charset="2"/>
              <a:buChar char="q"/>
            </a:pPr>
            <a:r>
              <a:rPr lang="en-US" sz="2800" i="1" dirty="0" smtClean="0"/>
              <a:t>Bottlenecks </a:t>
            </a:r>
          </a:p>
          <a:p>
            <a:pPr>
              <a:buClr>
                <a:srgbClr val="0D65AC"/>
              </a:buClr>
              <a:buFont typeface="Wingdings" pitchFamily="2" charset="2"/>
              <a:buChar char="q"/>
            </a:pPr>
            <a:r>
              <a:rPr lang="en-US" sz="2800" i="1" dirty="0" smtClean="0"/>
              <a:t>Existing Efforts</a:t>
            </a:r>
          </a:p>
          <a:p>
            <a:pPr>
              <a:buClr>
                <a:srgbClr val="0D65AC"/>
              </a:buClr>
              <a:buFont typeface="Wingdings" pitchFamily="2" charset="2"/>
              <a:buChar char="q"/>
            </a:pPr>
            <a:r>
              <a:rPr lang="en-US" sz="2800" i="1" dirty="0" smtClean="0"/>
              <a:t>Road Ahead</a:t>
            </a:r>
          </a:p>
          <a:p>
            <a:pPr algn="just">
              <a:buFont typeface="Wingdings" pitchFamily="2" charset="2"/>
              <a:buChar char="Ø"/>
            </a:pPr>
            <a:endParaRPr lang="en-US" sz="2000" b="1" dirty="0" smtClean="0"/>
          </a:p>
          <a:p>
            <a:pPr algn="just">
              <a:buFont typeface="Wingdings" pitchFamily="2" charset="2"/>
              <a:buChar char="Ø"/>
            </a:pPr>
            <a:endParaRPr lang="en-US" sz="2000" b="1" dirty="0" smtClean="0">
              <a:solidFill>
                <a:schemeClr val="accent1">
                  <a:lumMod val="75000"/>
                </a:schemeClr>
              </a:solidFill>
              <a:latin typeface="Neo Sans Std Medium" pitchFamily="34" charset="0"/>
            </a:endParaRPr>
          </a:p>
          <a:p>
            <a:pPr algn="just">
              <a:buFont typeface="Wingdings" pitchFamily="2" charset="2"/>
              <a:buChar char="Ø"/>
            </a:pPr>
            <a:endParaRPr lang="en-US" sz="2000" b="1" dirty="0">
              <a:solidFill>
                <a:schemeClr val="accent1">
                  <a:lumMod val="75000"/>
                </a:schemeClr>
              </a:solidFill>
              <a:latin typeface="Neo Sans Std Medium" pitchFamily="34" charset="0"/>
            </a:endParaRPr>
          </a:p>
        </p:txBody>
      </p:sp>
      <p:sp>
        <p:nvSpPr>
          <p:cNvPr id="13" name="Rectangle 12"/>
          <p:cNvSpPr/>
          <p:nvPr/>
        </p:nvSpPr>
        <p:spPr>
          <a:xfrm>
            <a:off x="427936" y="6308408"/>
            <a:ext cx="4572000" cy="253916"/>
          </a:xfrm>
          <a:prstGeom prst="rect">
            <a:avLst/>
          </a:prstGeom>
        </p:spPr>
        <p:txBody>
          <a:bodyPr wrap="square">
            <a:spAutoFit/>
          </a:bodyPr>
          <a:lstStyle/>
          <a:p>
            <a:r>
              <a:rPr lang="en-US" sz="1050" b="1" i="1" dirty="0" smtClean="0"/>
              <a:t>What deters the unveiling of Legislative Process?</a:t>
            </a:r>
            <a:endParaRPr lang="en-US" sz="1050" dirty="0"/>
          </a:p>
        </p:txBody>
      </p:sp>
    </p:spTree>
    <p:extLst>
      <p:ext uri="{BB962C8B-B14F-4D97-AF65-F5344CB8AC3E}">
        <p14:creationId xmlns:p14="http://schemas.microsoft.com/office/powerpoint/2010/main" xmlns="" val="3796730251"/>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withEffect">
                                  <p:stCondLst>
                                    <p:cond delay="0"/>
                                  </p:stCondLst>
                                  <p:childTnLst>
                                    <p:animRot by="10800000">
                                      <p:cBhvr>
                                        <p:cTn id="6" dur="750" fill="hold"/>
                                        <p:tgtEl>
                                          <p:spTgt spid="3"/>
                                        </p:tgtEl>
                                        <p:attrNameLst>
                                          <p:attrName>r</p:attrName>
                                        </p:attrNameLst>
                                      </p:cBhvr>
                                    </p:animRot>
                                  </p:childTnLst>
                                </p:cTn>
                              </p:par>
                            </p:childTnLst>
                          </p:cTn>
                        </p:par>
                        <p:par>
                          <p:cTn id="7" fill="hold">
                            <p:stCondLst>
                              <p:cond delay="750"/>
                            </p:stCondLst>
                            <p:childTnLst>
                              <p:par>
                                <p:cTn id="8" presetID="32" presetClass="emph" presetSubtype="0" fill="hold" grpId="0" nodeType="afterEffect">
                                  <p:stCondLst>
                                    <p:cond delay="0"/>
                                  </p:stCondLst>
                                  <p:childTnLst>
                                    <p:animRot by="120000">
                                      <p:cBhvr>
                                        <p:cTn id="9" dur="75" fill="hold">
                                          <p:stCondLst>
                                            <p:cond delay="0"/>
                                          </p:stCondLst>
                                        </p:cTn>
                                        <p:tgtEl>
                                          <p:spTgt spid="39"/>
                                        </p:tgtEl>
                                        <p:attrNameLst>
                                          <p:attrName>r</p:attrName>
                                        </p:attrNameLst>
                                      </p:cBhvr>
                                    </p:animRot>
                                    <p:animRot by="-240000">
                                      <p:cBhvr>
                                        <p:cTn id="10" dur="150" fill="hold">
                                          <p:stCondLst>
                                            <p:cond delay="150"/>
                                          </p:stCondLst>
                                        </p:cTn>
                                        <p:tgtEl>
                                          <p:spTgt spid="39"/>
                                        </p:tgtEl>
                                        <p:attrNameLst>
                                          <p:attrName>r</p:attrName>
                                        </p:attrNameLst>
                                      </p:cBhvr>
                                    </p:animRot>
                                    <p:animRot by="240000">
                                      <p:cBhvr>
                                        <p:cTn id="11" dur="150" fill="hold">
                                          <p:stCondLst>
                                            <p:cond delay="300"/>
                                          </p:stCondLst>
                                        </p:cTn>
                                        <p:tgtEl>
                                          <p:spTgt spid="39"/>
                                        </p:tgtEl>
                                        <p:attrNameLst>
                                          <p:attrName>r</p:attrName>
                                        </p:attrNameLst>
                                      </p:cBhvr>
                                    </p:animRot>
                                    <p:animRot by="-240000">
                                      <p:cBhvr>
                                        <p:cTn id="12" dur="150" fill="hold">
                                          <p:stCondLst>
                                            <p:cond delay="450"/>
                                          </p:stCondLst>
                                        </p:cTn>
                                        <p:tgtEl>
                                          <p:spTgt spid="39"/>
                                        </p:tgtEl>
                                        <p:attrNameLst>
                                          <p:attrName>r</p:attrName>
                                        </p:attrNameLst>
                                      </p:cBhvr>
                                    </p:animRot>
                                    <p:animRot by="120000">
                                      <p:cBhvr>
                                        <p:cTn id="13" dur="150" fill="hold">
                                          <p:stCondLst>
                                            <p:cond delay="600"/>
                                          </p:stCondLst>
                                        </p:cTn>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indianparliament (1).jpg"/>
          <p:cNvPicPr>
            <a:picLocks noChangeAspect="1"/>
          </p:cNvPicPr>
          <p:nvPr/>
        </p:nvPicPr>
        <p:blipFill>
          <a:blip r:embed="rId5"/>
          <a:stretch>
            <a:fillRect/>
          </a:stretch>
        </p:blipFill>
        <p:spPr>
          <a:xfrm>
            <a:off x="5381393" y="3110408"/>
            <a:ext cx="3535729" cy="267321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xmlns="" val="1220212714"/>
              </p:ext>
            </p:extLst>
          </p:nvPr>
        </p:nvGraphicFramePr>
        <p:xfrm>
          <a:off x="1588" y="1588"/>
          <a:ext cx="1587" cy="1587"/>
        </p:xfrm>
        <a:graphic>
          <a:graphicData uri="http://schemas.openxmlformats.org/presentationml/2006/ole">
            <p:oleObj spid="_x0000_s29698" name="think-cell Slide" r:id="rId6" imgW="360" imgH="360" progId="">
              <p:embed/>
            </p:oleObj>
          </a:graphicData>
        </a:graphic>
      </p:graphicFrame>
      <p:sp>
        <p:nvSpPr>
          <p:cNvPr id="8" name="TextBox 7"/>
          <p:cNvSpPr txBox="1"/>
          <p:nvPr/>
        </p:nvSpPr>
        <p:spPr>
          <a:xfrm>
            <a:off x="373197" y="532264"/>
            <a:ext cx="8543925" cy="492443"/>
          </a:xfrm>
          <a:prstGeom prst="rect">
            <a:avLst/>
          </a:prstGeom>
          <a:noFill/>
        </p:spPr>
        <p:txBody>
          <a:bodyPr wrap="square" lIns="0" tIns="0" rIns="0" bIns="0" rtlCol="0">
            <a:spAutoFit/>
          </a:bodyPr>
          <a:lstStyle/>
          <a:p>
            <a:pPr algn="ctr"/>
            <a:r>
              <a:rPr lang="en-US" sz="3200" b="1" dirty="0" smtClean="0">
                <a:solidFill>
                  <a:srgbClr val="0D65AC"/>
                </a:solidFill>
              </a:rPr>
              <a:t>Constitutional Structure</a:t>
            </a:r>
            <a:endParaRPr lang="en-US" sz="3200" b="1" dirty="0">
              <a:solidFill>
                <a:srgbClr val="0D65AC"/>
              </a:solidFill>
              <a:latin typeface="Neo Sans Std" pitchFamily="34" charset="0"/>
            </a:endParaRPr>
          </a:p>
        </p:txBody>
      </p:sp>
      <p:cxnSp>
        <p:nvCxnSpPr>
          <p:cNvPr id="11" name="Straight Connector 10"/>
          <p:cNvCxnSpPr/>
          <p:nvPr/>
        </p:nvCxnSpPr>
        <p:spPr>
          <a:xfrm rot="5400000">
            <a:off x="4594178" y="-1902157"/>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39" name="Freeform 13"/>
          <p:cNvSpPr>
            <a:spLocks noEditPoints="1"/>
          </p:cNvSpPr>
          <p:nvPr/>
        </p:nvSpPr>
        <p:spPr bwMode="auto">
          <a:xfrm rot="10585247" flipV="1">
            <a:off x="4417312" y="3187267"/>
            <a:ext cx="437938" cy="527565"/>
          </a:xfrm>
          <a:custGeom>
            <a:avLst/>
            <a:gdLst>
              <a:gd name="T0" fmla="*/ 2022 w 2403"/>
              <a:gd name="T1" fmla="*/ 144 h 2897"/>
              <a:gd name="T2" fmla="*/ 1852 w 2403"/>
              <a:gd name="T3" fmla="*/ 57 h 2897"/>
              <a:gd name="T4" fmla="*/ 1632 w 2403"/>
              <a:gd name="T5" fmla="*/ 1 h 2897"/>
              <a:gd name="T6" fmla="*/ 1548 w 2403"/>
              <a:gd name="T7" fmla="*/ 2 h 2897"/>
              <a:gd name="T8" fmla="*/ 1491 w 2403"/>
              <a:gd name="T9" fmla="*/ 23 h 2897"/>
              <a:gd name="T10" fmla="*/ 785 w 2403"/>
              <a:gd name="T11" fmla="*/ 948 h 2897"/>
              <a:gd name="T12" fmla="*/ 48 w 2403"/>
              <a:gd name="T13" fmla="*/ 1933 h 2897"/>
              <a:gd name="T14" fmla="*/ 30 w 2403"/>
              <a:gd name="T15" fmla="*/ 1995 h 2897"/>
              <a:gd name="T16" fmla="*/ 3 w 2403"/>
              <a:gd name="T17" fmla="*/ 2340 h 2897"/>
              <a:gd name="T18" fmla="*/ 7 w 2403"/>
              <a:gd name="T19" fmla="*/ 2732 h 2897"/>
              <a:gd name="T20" fmla="*/ 27 w 2403"/>
              <a:gd name="T21" fmla="*/ 2871 h 2897"/>
              <a:gd name="T22" fmla="*/ 42 w 2403"/>
              <a:gd name="T23" fmla="*/ 2891 h 2897"/>
              <a:gd name="T24" fmla="*/ 118 w 2403"/>
              <a:gd name="T25" fmla="*/ 2896 h 2897"/>
              <a:gd name="T26" fmla="*/ 340 w 2403"/>
              <a:gd name="T27" fmla="*/ 2850 h 2897"/>
              <a:gd name="T28" fmla="*/ 724 w 2403"/>
              <a:gd name="T29" fmla="*/ 2722 h 2897"/>
              <a:gd name="T30" fmla="*/ 926 w 2403"/>
              <a:gd name="T31" fmla="*/ 2628 h 2897"/>
              <a:gd name="T32" fmla="*/ 987 w 2403"/>
              <a:gd name="T33" fmla="*/ 2578 h 2897"/>
              <a:gd name="T34" fmla="*/ 1454 w 2403"/>
              <a:gd name="T35" fmla="*/ 1961 h 2897"/>
              <a:gd name="T36" fmla="*/ 2390 w 2403"/>
              <a:gd name="T37" fmla="*/ 675 h 2897"/>
              <a:gd name="T38" fmla="*/ 2403 w 2403"/>
              <a:gd name="T39" fmla="*/ 631 h 2897"/>
              <a:gd name="T40" fmla="*/ 2392 w 2403"/>
              <a:gd name="T41" fmla="*/ 562 h 2897"/>
              <a:gd name="T42" fmla="*/ 2334 w 2403"/>
              <a:gd name="T43" fmla="*/ 447 h 2897"/>
              <a:gd name="T44" fmla="*/ 2193 w 2403"/>
              <a:gd name="T45" fmla="*/ 279 h 2897"/>
              <a:gd name="T46" fmla="*/ 1398 w 2403"/>
              <a:gd name="T47" fmla="*/ 308 h 2897"/>
              <a:gd name="T48" fmla="*/ 1421 w 2403"/>
              <a:gd name="T49" fmla="*/ 290 h 2897"/>
              <a:gd name="T50" fmla="*/ 1468 w 2403"/>
              <a:gd name="T51" fmla="*/ 287 h 2897"/>
              <a:gd name="T52" fmla="*/ 1528 w 2403"/>
              <a:gd name="T53" fmla="*/ 313 h 2897"/>
              <a:gd name="T54" fmla="*/ 1580 w 2403"/>
              <a:gd name="T55" fmla="*/ 368 h 2897"/>
              <a:gd name="T56" fmla="*/ 1587 w 2403"/>
              <a:gd name="T57" fmla="*/ 409 h 2897"/>
              <a:gd name="T58" fmla="*/ 337 w 2403"/>
              <a:gd name="T59" fmla="*/ 1902 h 2897"/>
              <a:gd name="T60" fmla="*/ 473 w 2403"/>
              <a:gd name="T61" fmla="*/ 2660 h 2897"/>
              <a:gd name="T62" fmla="*/ 364 w 2403"/>
              <a:gd name="T63" fmla="*/ 2709 h 2897"/>
              <a:gd name="T64" fmla="*/ 169 w 2403"/>
              <a:gd name="T65" fmla="*/ 2764 h 2897"/>
              <a:gd name="T66" fmla="*/ 134 w 2403"/>
              <a:gd name="T67" fmla="*/ 2763 h 2897"/>
              <a:gd name="T68" fmla="*/ 125 w 2403"/>
              <a:gd name="T69" fmla="*/ 2643 h 2897"/>
              <a:gd name="T70" fmla="*/ 137 w 2403"/>
              <a:gd name="T71" fmla="*/ 2423 h 2897"/>
              <a:gd name="T72" fmla="*/ 151 w 2403"/>
              <a:gd name="T73" fmla="*/ 2404 h 2897"/>
              <a:gd name="T74" fmla="*/ 206 w 2403"/>
              <a:gd name="T75" fmla="*/ 2409 h 2897"/>
              <a:gd name="T76" fmla="*/ 355 w 2403"/>
              <a:gd name="T77" fmla="*/ 2486 h 2897"/>
              <a:gd name="T78" fmla="*/ 454 w 2403"/>
              <a:gd name="T79" fmla="*/ 2577 h 2897"/>
              <a:gd name="T80" fmla="*/ 480 w 2403"/>
              <a:gd name="T81" fmla="*/ 2630 h 2897"/>
              <a:gd name="T82" fmla="*/ 490 w 2403"/>
              <a:gd name="T83" fmla="*/ 2117 h 2897"/>
              <a:gd name="T84" fmla="*/ 1708 w 2403"/>
              <a:gd name="T85" fmla="*/ 446 h 2897"/>
              <a:gd name="T86" fmla="*/ 1748 w 2403"/>
              <a:gd name="T87" fmla="*/ 445 h 2897"/>
              <a:gd name="T88" fmla="*/ 1821 w 2403"/>
              <a:gd name="T89" fmla="*/ 478 h 2897"/>
              <a:gd name="T90" fmla="*/ 1867 w 2403"/>
              <a:gd name="T91" fmla="*/ 520 h 2897"/>
              <a:gd name="T92" fmla="*/ 1888 w 2403"/>
              <a:gd name="T93" fmla="*/ 565 h 2897"/>
              <a:gd name="T94" fmla="*/ 624 w 2403"/>
              <a:gd name="T95" fmla="*/ 2291 h 2897"/>
              <a:gd name="T96" fmla="*/ 902 w 2403"/>
              <a:gd name="T97" fmla="*/ 2386 h 2897"/>
              <a:gd name="T98" fmla="*/ 1979 w 2403"/>
              <a:gd name="T99" fmla="*/ 672 h 2897"/>
              <a:gd name="T100" fmla="*/ 2014 w 2403"/>
              <a:gd name="T101" fmla="*/ 670 h 2897"/>
              <a:gd name="T102" fmla="*/ 2067 w 2403"/>
              <a:gd name="T103" fmla="*/ 704 h 2897"/>
              <a:gd name="T104" fmla="*/ 2108 w 2403"/>
              <a:gd name="T105" fmla="*/ 754 h 2897"/>
              <a:gd name="T106" fmla="*/ 2123 w 2403"/>
              <a:gd name="T107" fmla="*/ 801 h 2897"/>
              <a:gd name="T108" fmla="*/ 2117 w 2403"/>
              <a:gd name="T109" fmla="*/ 835 h 2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03" h="2897">
                <a:moveTo>
                  <a:pt x="2095" y="193"/>
                </a:moveTo>
                <a:lnTo>
                  <a:pt x="2095" y="193"/>
                </a:lnTo>
                <a:lnTo>
                  <a:pt x="2071" y="176"/>
                </a:lnTo>
                <a:lnTo>
                  <a:pt x="2046" y="159"/>
                </a:lnTo>
                <a:lnTo>
                  <a:pt x="2022" y="144"/>
                </a:lnTo>
                <a:lnTo>
                  <a:pt x="1998" y="129"/>
                </a:lnTo>
                <a:lnTo>
                  <a:pt x="1974" y="115"/>
                </a:lnTo>
                <a:lnTo>
                  <a:pt x="1948" y="101"/>
                </a:lnTo>
                <a:lnTo>
                  <a:pt x="1900" y="78"/>
                </a:lnTo>
                <a:lnTo>
                  <a:pt x="1852" y="57"/>
                </a:lnTo>
                <a:lnTo>
                  <a:pt x="1803" y="40"/>
                </a:lnTo>
                <a:lnTo>
                  <a:pt x="1757" y="25"/>
                </a:lnTo>
                <a:lnTo>
                  <a:pt x="1714" y="14"/>
                </a:lnTo>
                <a:lnTo>
                  <a:pt x="1671" y="6"/>
                </a:lnTo>
                <a:lnTo>
                  <a:pt x="1632" y="1"/>
                </a:lnTo>
                <a:lnTo>
                  <a:pt x="1613" y="0"/>
                </a:lnTo>
                <a:lnTo>
                  <a:pt x="1595" y="0"/>
                </a:lnTo>
                <a:lnTo>
                  <a:pt x="1580" y="0"/>
                </a:lnTo>
                <a:lnTo>
                  <a:pt x="1564" y="1"/>
                </a:lnTo>
                <a:lnTo>
                  <a:pt x="1548" y="2"/>
                </a:lnTo>
                <a:lnTo>
                  <a:pt x="1535" y="5"/>
                </a:lnTo>
                <a:lnTo>
                  <a:pt x="1521" y="8"/>
                </a:lnTo>
                <a:lnTo>
                  <a:pt x="1511" y="12"/>
                </a:lnTo>
                <a:lnTo>
                  <a:pt x="1500" y="17"/>
                </a:lnTo>
                <a:lnTo>
                  <a:pt x="1491" y="23"/>
                </a:lnTo>
                <a:lnTo>
                  <a:pt x="1484" y="29"/>
                </a:lnTo>
                <a:lnTo>
                  <a:pt x="1477" y="36"/>
                </a:lnTo>
                <a:lnTo>
                  <a:pt x="1477" y="36"/>
                </a:lnTo>
                <a:lnTo>
                  <a:pt x="1253" y="331"/>
                </a:lnTo>
                <a:lnTo>
                  <a:pt x="785" y="948"/>
                </a:lnTo>
                <a:lnTo>
                  <a:pt x="532" y="1283"/>
                </a:lnTo>
                <a:lnTo>
                  <a:pt x="304" y="1584"/>
                </a:lnTo>
                <a:lnTo>
                  <a:pt x="134" y="1813"/>
                </a:lnTo>
                <a:lnTo>
                  <a:pt x="78" y="1890"/>
                </a:lnTo>
                <a:lnTo>
                  <a:pt x="48" y="1933"/>
                </a:lnTo>
                <a:lnTo>
                  <a:pt x="48" y="1933"/>
                </a:lnTo>
                <a:lnTo>
                  <a:pt x="43" y="1943"/>
                </a:lnTo>
                <a:lnTo>
                  <a:pt x="38" y="1956"/>
                </a:lnTo>
                <a:lnTo>
                  <a:pt x="33" y="1974"/>
                </a:lnTo>
                <a:lnTo>
                  <a:pt x="30" y="1995"/>
                </a:lnTo>
                <a:lnTo>
                  <a:pt x="23" y="2047"/>
                </a:lnTo>
                <a:lnTo>
                  <a:pt x="15" y="2110"/>
                </a:lnTo>
                <a:lnTo>
                  <a:pt x="10" y="2181"/>
                </a:lnTo>
                <a:lnTo>
                  <a:pt x="6" y="2259"/>
                </a:lnTo>
                <a:lnTo>
                  <a:pt x="3" y="2340"/>
                </a:lnTo>
                <a:lnTo>
                  <a:pt x="1" y="2423"/>
                </a:lnTo>
                <a:lnTo>
                  <a:pt x="0" y="2507"/>
                </a:lnTo>
                <a:lnTo>
                  <a:pt x="1" y="2588"/>
                </a:lnTo>
                <a:lnTo>
                  <a:pt x="3" y="2663"/>
                </a:lnTo>
                <a:lnTo>
                  <a:pt x="7" y="2732"/>
                </a:lnTo>
                <a:lnTo>
                  <a:pt x="12" y="2790"/>
                </a:lnTo>
                <a:lnTo>
                  <a:pt x="15" y="2815"/>
                </a:lnTo>
                <a:lnTo>
                  <a:pt x="19" y="2837"/>
                </a:lnTo>
                <a:lnTo>
                  <a:pt x="23" y="2856"/>
                </a:lnTo>
                <a:lnTo>
                  <a:pt x="27" y="2871"/>
                </a:lnTo>
                <a:lnTo>
                  <a:pt x="32" y="2882"/>
                </a:lnTo>
                <a:lnTo>
                  <a:pt x="35" y="2885"/>
                </a:lnTo>
                <a:lnTo>
                  <a:pt x="37" y="2888"/>
                </a:lnTo>
                <a:lnTo>
                  <a:pt x="37" y="2888"/>
                </a:lnTo>
                <a:lnTo>
                  <a:pt x="42" y="2891"/>
                </a:lnTo>
                <a:lnTo>
                  <a:pt x="47" y="2893"/>
                </a:lnTo>
                <a:lnTo>
                  <a:pt x="60" y="2896"/>
                </a:lnTo>
                <a:lnTo>
                  <a:pt x="76" y="2897"/>
                </a:lnTo>
                <a:lnTo>
                  <a:pt x="95" y="2897"/>
                </a:lnTo>
                <a:lnTo>
                  <a:pt x="118" y="2896"/>
                </a:lnTo>
                <a:lnTo>
                  <a:pt x="144" y="2893"/>
                </a:lnTo>
                <a:lnTo>
                  <a:pt x="171" y="2888"/>
                </a:lnTo>
                <a:lnTo>
                  <a:pt x="202" y="2883"/>
                </a:lnTo>
                <a:lnTo>
                  <a:pt x="267" y="2868"/>
                </a:lnTo>
                <a:lnTo>
                  <a:pt x="340" y="2850"/>
                </a:lnTo>
                <a:lnTo>
                  <a:pt x="416" y="2829"/>
                </a:lnTo>
                <a:lnTo>
                  <a:pt x="494" y="2804"/>
                </a:lnTo>
                <a:lnTo>
                  <a:pt x="573" y="2778"/>
                </a:lnTo>
                <a:lnTo>
                  <a:pt x="650" y="2751"/>
                </a:lnTo>
                <a:lnTo>
                  <a:pt x="724" y="2722"/>
                </a:lnTo>
                <a:lnTo>
                  <a:pt x="793" y="2694"/>
                </a:lnTo>
                <a:lnTo>
                  <a:pt x="854" y="2666"/>
                </a:lnTo>
                <a:lnTo>
                  <a:pt x="880" y="2653"/>
                </a:lnTo>
                <a:lnTo>
                  <a:pt x="904" y="2641"/>
                </a:lnTo>
                <a:lnTo>
                  <a:pt x="926" y="2628"/>
                </a:lnTo>
                <a:lnTo>
                  <a:pt x="946" y="2617"/>
                </a:lnTo>
                <a:lnTo>
                  <a:pt x="960" y="2605"/>
                </a:lnTo>
                <a:lnTo>
                  <a:pt x="972" y="2595"/>
                </a:lnTo>
                <a:lnTo>
                  <a:pt x="972" y="2595"/>
                </a:lnTo>
                <a:lnTo>
                  <a:pt x="987" y="2578"/>
                </a:lnTo>
                <a:lnTo>
                  <a:pt x="1007" y="2554"/>
                </a:lnTo>
                <a:lnTo>
                  <a:pt x="1064" y="2480"/>
                </a:lnTo>
                <a:lnTo>
                  <a:pt x="1142" y="2380"/>
                </a:lnTo>
                <a:lnTo>
                  <a:pt x="1234" y="2257"/>
                </a:lnTo>
                <a:lnTo>
                  <a:pt x="1454" y="1961"/>
                </a:lnTo>
                <a:lnTo>
                  <a:pt x="1697" y="1630"/>
                </a:lnTo>
                <a:lnTo>
                  <a:pt x="1939" y="1298"/>
                </a:lnTo>
                <a:lnTo>
                  <a:pt x="2153" y="1004"/>
                </a:lnTo>
                <a:lnTo>
                  <a:pt x="2311" y="784"/>
                </a:lnTo>
                <a:lnTo>
                  <a:pt x="2390" y="675"/>
                </a:lnTo>
                <a:lnTo>
                  <a:pt x="2390" y="675"/>
                </a:lnTo>
                <a:lnTo>
                  <a:pt x="2395" y="665"/>
                </a:lnTo>
                <a:lnTo>
                  <a:pt x="2400" y="654"/>
                </a:lnTo>
                <a:lnTo>
                  <a:pt x="2402" y="643"/>
                </a:lnTo>
                <a:lnTo>
                  <a:pt x="2403" y="631"/>
                </a:lnTo>
                <a:lnTo>
                  <a:pt x="2403" y="618"/>
                </a:lnTo>
                <a:lnTo>
                  <a:pt x="2403" y="605"/>
                </a:lnTo>
                <a:lnTo>
                  <a:pt x="2401" y="591"/>
                </a:lnTo>
                <a:lnTo>
                  <a:pt x="2397" y="577"/>
                </a:lnTo>
                <a:lnTo>
                  <a:pt x="2392" y="562"/>
                </a:lnTo>
                <a:lnTo>
                  <a:pt x="2386" y="547"/>
                </a:lnTo>
                <a:lnTo>
                  <a:pt x="2380" y="531"/>
                </a:lnTo>
                <a:lnTo>
                  <a:pt x="2373" y="514"/>
                </a:lnTo>
                <a:lnTo>
                  <a:pt x="2355" y="481"/>
                </a:lnTo>
                <a:lnTo>
                  <a:pt x="2334" y="447"/>
                </a:lnTo>
                <a:lnTo>
                  <a:pt x="2310" y="412"/>
                </a:lnTo>
                <a:lnTo>
                  <a:pt x="2284" y="378"/>
                </a:lnTo>
                <a:lnTo>
                  <a:pt x="2255" y="345"/>
                </a:lnTo>
                <a:lnTo>
                  <a:pt x="2226" y="311"/>
                </a:lnTo>
                <a:lnTo>
                  <a:pt x="2193" y="279"/>
                </a:lnTo>
                <a:lnTo>
                  <a:pt x="2161" y="248"/>
                </a:lnTo>
                <a:lnTo>
                  <a:pt x="2128" y="220"/>
                </a:lnTo>
                <a:lnTo>
                  <a:pt x="2095" y="193"/>
                </a:lnTo>
                <a:lnTo>
                  <a:pt x="2095" y="193"/>
                </a:lnTo>
                <a:close/>
                <a:moveTo>
                  <a:pt x="1398" y="308"/>
                </a:moveTo>
                <a:lnTo>
                  <a:pt x="1398" y="308"/>
                </a:lnTo>
                <a:lnTo>
                  <a:pt x="1400" y="306"/>
                </a:lnTo>
                <a:lnTo>
                  <a:pt x="1405" y="300"/>
                </a:lnTo>
                <a:lnTo>
                  <a:pt x="1415" y="294"/>
                </a:lnTo>
                <a:lnTo>
                  <a:pt x="1421" y="290"/>
                </a:lnTo>
                <a:lnTo>
                  <a:pt x="1428" y="288"/>
                </a:lnTo>
                <a:lnTo>
                  <a:pt x="1437" y="285"/>
                </a:lnTo>
                <a:lnTo>
                  <a:pt x="1445" y="284"/>
                </a:lnTo>
                <a:lnTo>
                  <a:pt x="1456" y="284"/>
                </a:lnTo>
                <a:lnTo>
                  <a:pt x="1468" y="287"/>
                </a:lnTo>
                <a:lnTo>
                  <a:pt x="1482" y="290"/>
                </a:lnTo>
                <a:lnTo>
                  <a:pt x="1495" y="295"/>
                </a:lnTo>
                <a:lnTo>
                  <a:pt x="1511" y="303"/>
                </a:lnTo>
                <a:lnTo>
                  <a:pt x="1528" y="313"/>
                </a:lnTo>
                <a:lnTo>
                  <a:pt x="1528" y="313"/>
                </a:lnTo>
                <a:lnTo>
                  <a:pt x="1542" y="325"/>
                </a:lnTo>
                <a:lnTo>
                  <a:pt x="1555" y="336"/>
                </a:lnTo>
                <a:lnTo>
                  <a:pt x="1565" y="347"/>
                </a:lnTo>
                <a:lnTo>
                  <a:pt x="1573" y="357"/>
                </a:lnTo>
                <a:lnTo>
                  <a:pt x="1580" y="368"/>
                </a:lnTo>
                <a:lnTo>
                  <a:pt x="1583" y="376"/>
                </a:lnTo>
                <a:lnTo>
                  <a:pt x="1586" y="386"/>
                </a:lnTo>
                <a:lnTo>
                  <a:pt x="1587" y="394"/>
                </a:lnTo>
                <a:lnTo>
                  <a:pt x="1588" y="401"/>
                </a:lnTo>
                <a:lnTo>
                  <a:pt x="1587" y="409"/>
                </a:lnTo>
                <a:lnTo>
                  <a:pt x="1584" y="420"/>
                </a:lnTo>
                <a:lnTo>
                  <a:pt x="1582" y="427"/>
                </a:lnTo>
                <a:lnTo>
                  <a:pt x="1581" y="429"/>
                </a:lnTo>
                <a:lnTo>
                  <a:pt x="337" y="2076"/>
                </a:lnTo>
                <a:lnTo>
                  <a:pt x="337" y="1902"/>
                </a:lnTo>
                <a:lnTo>
                  <a:pt x="239" y="1865"/>
                </a:lnTo>
                <a:lnTo>
                  <a:pt x="1398" y="308"/>
                </a:lnTo>
                <a:close/>
                <a:moveTo>
                  <a:pt x="475" y="2657"/>
                </a:moveTo>
                <a:lnTo>
                  <a:pt x="475" y="2657"/>
                </a:lnTo>
                <a:lnTo>
                  <a:pt x="473" y="2660"/>
                </a:lnTo>
                <a:lnTo>
                  <a:pt x="469" y="2664"/>
                </a:lnTo>
                <a:lnTo>
                  <a:pt x="456" y="2671"/>
                </a:lnTo>
                <a:lnTo>
                  <a:pt x="439" y="2680"/>
                </a:lnTo>
                <a:lnTo>
                  <a:pt x="417" y="2689"/>
                </a:lnTo>
                <a:lnTo>
                  <a:pt x="364" y="2709"/>
                </a:lnTo>
                <a:lnTo>
                  <a:pt x="304" y="2729"/>
                </a:lnTo>
                <a:lnTo>
                  <a:pt x="244" y="2746"/>
                </a:lnTo>
                <a:lnTo>
                  <a:pt x="216" y="2754"/>
                </a:lnTo>
                <a:lnTo>
                  <a:pt x="191" y="2760"/>
                </a:lnTo>
                <a:lnTo>
                  <a:pt x="169" y="2764"/>
                </a:lnTo>
                <a:lnTo>
                  <a:pt x="152" y="2767"/>
                </a:lnTo>
                <a:lnTo>
                  <a:pt x="140" y="2767"/>
                </a:lnTo>
                <a:lnTo>
                  <a:pt x="135" y="2766"/>
                </a:lnTo>
                <a:lnTo>
                  <a:pt x="134" y="2763"/>
                </a:lnTo>
                <a:lnTo>
                  <a:pt x="134" y="2763"/>
                </a:lnTo>
                <a:lnTo>
                  <a:pt x="130" y="2756"/>
                </a:lnTo>
                <a:lnTo>
                  <a:pt x="129" y="2743"/>
                </a:lnTo>
                <a:lnTo>
                  <a:pt x="127" y="2723"/>
                </a:lnTo>
                <a:lnTo>
                  <a:pt x="127" y="2700"/>
                </a:lnTo>
                <a:lnTo>
                  <a:pt x="125" y="2643"/>
                </a:lnTo>
                <a:lnTo>
                  <a:pt x="127" y="2581"/>
                </a:lnTo>
                <a:lnTo>
                  <a:pt x="129" y="2518"/>
                </a:lnTo>
                <a:lnTo>
                  <a:pt x="133" y="2462"/>
                </a:lnTo>
                <a:lnTo>
                  <a:pt x="135" y="2440"/>
                </a:lnTo>
                <a:lnTo>
                  <a:pt x="137" y="2423"/>
                </a:lnTo>
                <a:lnTo>
                  <a:pt x="140" y="2411"/>
                </a:lnTo>
                <a:lnTo>
                  <a:pt x="141" y="2407"/>
                </a:lnTo>
                <a:lnTo>
                  <a:pt x="142" y="2406"/>
                </a:lnTo>
                <a:lnTo>
                  <a:pt x="142" y="2406"/>
                </a:lnTo>
                <a:lnTo>
                  <a:pt x="151" y="2404"/>
                </a:lnTo>
                <a:lnTo>
                  <a:pt x="159" y="2403"/>
                </a:lnTo>
                <a:lnTo>
                  <a:pt x="170" y="2403"/>
                </a:lnTo>
                <a:lnTo>
                  <a:pt x="181" y="2404"/>
                </a:lnTo>
                <a:lnTo>
                  <a:pt x="193" y="2406"/>
                </a:lnTo>
                <a:lnTo>
                  <a:pt x="206" y="2409"/>
                </a:lnTo>
                <a:lnTo>
                  <a:pt x="234" y="2418"/>
                </a:lnTo>
                <a:lnTo>
                  <a:pt x="263" y="2432"/>
                </a:lnTo>
                <a:lnTo>
                  <a:pt x="295" y="2447"/>
                </a:lnTo>
                <a:lnTo>
                  <a:pt x="325" y="2466"/>
                </a:lnTo>
                <a:lnTo>
                  <a:pt x="355" y="2486"/>
                </a:lnTo>
                <a:lnTo>
                  <a:pt x="384" y="2508"/>
                </a:lnTo>
                <a:lnTo>
                  <a:pt x="411" y="2531"/>
                </a:lnTo>
                <a:lnTo>
                  <a:pt x="435" y="2554"/>
                </a:lnTo>
                <a:lnTo>
                  <a:pt x="445" y="2565"/>
                </a:lnTo>
                <a:lnTo>
                  <a:pt x="454" y="2577"/>
                </a:lnTo>
                <a:lnTo>
                  <a:pt x="462" y="2588"/>
                </a:lnTo>
                <a:lnTo>
                  <a:pt x="469" y="2599"/>
                </a:lnTo>
                <a:lnTo>
                  <a:pt x="474" y="2610"/>
                </a:lnTo>
                <a:lnTo>
                  <a:pt x="477" y="2620"/>
                </a:lnTo>
                <a:lnTo>
                  <a:pt x="480" y="2630"/>
                </a:lnTo>
                <a:lnTo>
                  <a:pt x="480" y="2640"/>
                </a:lnTo>
                <a:lnTo>
                  <a:pt x="479" y="2649"/>
                </a:lnTo>
                <a:lnTo>
                  <a:pt x="475" y="2657"/>
                </a:lnTo>
                <a:lnTo>
                  <a:pt x="475" y="2657"/>
                </a:lnTo>
                <a:close/>
                <a:moveTo>
                  <a:pt x="490" y="2117"/>
                </a:moveTo>
                <a:lnTo>
                  <a:pt x="1692" y="455"/>
                </a:lnTo>
                <a:lnTo>
                  <a:pt x="1692" y="455"/>
                </a:lnTo>
                <a:lnTo>
                  <a:pt x="1694" y="453"/>
                </a:lnTo>
                <a:lnTo>
                  <a:pt x="1699" y="450"/>
                </a:lnTo>
                <a:lnTo>
                  <a:pt x="1708" y="446"/>
                </a:lnTo>
                <a:lnTo>
                  <a:pt x="1713" y="444"/>
                </a:lnTo>
                <a:lnTo>
                  <a:pt x="1720" y="443"/>
                </a:lnTo>
                <a:lnTo>
                  <a:pt x="1728" y="443"/>
                </a:lnTo>
                <a:lnTo>
                  <a:pt x="1737" y="444"/>
                </a:lnTo>
                <a:lnTo>
                  <a:pt x="1748" y="445"/>
                </a:lnTo>
                <a:lnTo>
                  <a:pt x="1760" y="449"/>
                </a:lnTo>
                <a:lnTo>
                  <a:pt x="1773" y="452"/>
                </a:lnTo>
                <a:lnTo>
                  <a:pt x="1788" y="460"/>
                </a:lnTo>
                <a:lnTo>
                  <a:pt x="1803" y="468"/>
                </a:lnTo>
                <a:lnTo>
                  <a:pt x="1821" y="478"/>
                </a:lnTo>
                <a:lnTo>
                  <a:pt x="1821" y="478"/>
                </a:lnTo>
                <a:lnTo>
                  <a:pt x="1836" y="489"/>
                </a:lnTo>
                <a:lnTo>
                  <a:pt x="1849" y="499"/>
                </a:lnTo>
                <a:lnTo>
                  <a:pt x="1859" y="509"/>
                </a:lnTo>
                <a:lnTo>
                  <a:pt x="1867" y="520"/>
                </a:lnTo>
                <a:lnTo>
                  <a:pt x="1875" y="530"/>
                </a:lnTo>
                <a:lnTo>
                  <a:pt x="1880" y="539"/>
                </a:lnTo>
                <a:lnTo>
                  <a:pt x="1883" y="549"/>
                </a:lnTo>
                <a:lnTo>
                  <a:pt x="1887" y="558"/>
                </a:lnTo>
                <a:lnTo>
                  <a:pt x="1888" y="565"/>
                </a:lnTo>
                <a:lnTo>
                  <a:pt x="1888" y="572"/>
                </a:lnTo>
                <a:lnTo>
                  <a:pt x="1888" y="584"/>
                </a:lnTo>
                <a:lnTo>
                  <a:pt x="1887" y="591"/>
                </a:lnTo>
                <a:lnTo>
                  <a:pt x="1886" y="594"/>
                </a:lnTo>
                <a:lnTo>
                  <a:pt x="624" y="2291"/>
                </a:lnTo>
                <a:lnTo>
                  <a:pt x="624" y="2094"/>
                </a:lnTo>
                <a:lnTo>
                  <a:pt x="490" y="2117"/>
                </a:lnTo>
                <a:close/>
                <a:moveTo>
                  <a:pt x="2117" y="835"/>
                </a:moveTo>
                <a:lnTo>
                  <a:pt x="937" y="2462"/>
                </a:lnTo>
                <a:lnTo>
                  <a:pt x="902" y="2386"/>
                </a:lnTo>
                <a:lnTo>
                  <a:pt x="750" y="2359"/>
                </a:lnTo>
                <a:lnTo>
                  <a:pt x="1973" y="677"/>
                </a:lnTo>
                <a:lnTo>
                  <a:pt x="1973" y="677"/>
                </a:lnTo>
                <a:lnTo>
                  <a:pt x="1975" y="676"/>
                </a:lnTo>
                <a:lnTo>
                  <a:pt x="1979" y="672"/>
                </a:lnTo>
                <a:lnTo>
                  <a:pt x="1987" y="669"/>
                </a:lnTo>
                <a:lnTo>
                  <a:pt x="1992" y="669"/>
                </a:lnTo>
                <a:lnTo>
                  <a:pt x="1998" y="668"/>
                </a:lnTo>
                <a:lnTo>
                  <a:pt x="2005" y="669"/>
                </a:lnTo>
                <a:lnTo>
                  <a:pt x="2014" y="670"/>
                </a:lnTo>
                <a:lnTo>
                  <a:pt x="2022" y="674"/>
                </a:lnTo>
                <a:lnTo>
                  <a:pt x="2032" y="679"/>
                </a:lnTo>
                <a:lnTo>
                  <a:pt x="2043" y="685"/>
                </a:lnTo>
                <a:lnTo>
                  <a:pt x="2055" y="693"/>
                </a:lnTo>
                <a:lnTo>
                  <a:pt x="2067" y="704"/>
                </a:lnTo>
                <a:lnTo>
                  <a:pt x="2080" y="718"/>
                </a:lnTo>
                <a:lnTo>
                  <a:pt x="2080" y="718"/>
                </a:lnTo>
                <a:lnTo>
                  <a:pt x="2091" y="731"/>
                </a:lnTo>
                <a:lnTo>
                  <a:pt x="2101" y="741"/>
                </a:lnTo>
                <a:lnTo>
                  <a:pt x="2108" y="754"/>
                </a:lnTo>
                <a:lnTo>
                  <a:pt x="2113" y="764"/>
                </a:lnTo>
                <a:lnTo>
                  <a:pt x="2118" y="774"/>
                </a:lnTo>
                <a:lnTo>
                  <a:pt x="2120" y="784"/>
                </a:lnTo>
                <a:lnTo>
                  <a:pt x="2121" y="793"/>
                </a:lnTo>
                <a:lnTo>
                  <a:pt x="2123" y="801"/>
                </a:lnTo>
                <a:lnTo>
                  <a:pt x="2121" y="815"/>
                </a:lnTo>
                <a:lnTo>
                  <a:pt x="2120" y="826"/>
                </a:lnTo>
                <a:lnTo>
                  <a:pt x="2118" y="832"/>
                </a:lnTo>
                <a:lnTo>
                  <a:pt x="2117" y="835"/>
                </a:lnTo>
                <a:lnTo>
                  <a:pt x="2117" y="835"/>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p>
        </p:txBody>
      </p:sp>
      <p:sp>
        <p:nvSpPr>
          <p:cNvPr id="3" name="Up-Down Arrow 2"/>
          <p:cNvSpPr/>
          <p:nvPr/>
        </p:nvSpPr>
        <p:spPr>
          <a:xfrm rot="16200000">
            <a:off x="2551245" y="3029819"/>
            <a:ext cx="137430" cy="842465"/>
          </a:xfrm>
          <a:prstGeom prst="upDownArrow">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9" name="Oval 8"/>
          <p:cNvSpPr/>
          <p:nvPr/>
        </p:nvSpPr>
        <p:spPr>
          <a:xfrm>
            <a:off x="2525982" y="3347676"/>
            <a:ext cx="187954" cy="206749"/>
          </a:xfrm>
          <a:prstGeom prst="ellipse">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15" name="Rectangle 14"/>
          <p:cNvSpPr/>
          <p:nvPr/>
        </p:nvSpPr>
        <p:spPr>
          <a:xfrm>
            <a:off x="373197" y="1813302"/>
            <a:ext cx="8321351" cy="3662541"/>
          </a:xfrm>
          <a:prstGeom prst="rect">
            <a:avLst/>
          </a:prstGeom>
        </p:spPr>
        <p:txBody>
          <a:bodyPr wrap="square">
            <a:spAutoFit/>
          </a:bodyPr>
          <a:lstStyle/>
          <a:p>
            <a:pPr>
              <a:buClr>
                <a:srgbClr val="0D65AC"/>
              </a:buClr>
              <a:buFont typeface="Wingdings" pitchFamily="2" charset="2"/>
              <a:buChar char="q"/>
            </a:pPr>
            <a:r>
              <a:rPr lang="en-US" sz="2800" b="1" i="1" dirty="0" smtClean="0">
                <a:solidFill>
                  <a:schemeClr val="tx2"/>
                </a:solidFill>
              </a:rPr>
              <a:t>Parliamentary Democracy of the British type with a bi cameral legislature </a:t>
            </a:r>
          </a:p>
          <a:p>
            <a:pPr>
              <a:buClr>
                <a:srgbClr val="0D65AC"/>
              </a:buClr>
              <a:buFont typeface="Wingdings" pitchFamily="2" charset="2"/>
              <a:buChar char="q"/>
            </a:pPr>
            <a:r>
              <a:rPr lang="en-US" sz="2800" b="1" i="1" dirty="0" smtClean="0">
                <a:solidFill>
                  <a:schemeClr val="tx2"/>
                </a:solidFill>
              </a:rPr>
              <a:t>Federal Form of Government</a:t>
            </a:r>
          </a:p>
          <a:p>
            <a:pPr>
              <a:buClr>
                <a:srgbClr val="0D65AC"/>
              </a:buClr>
              <a:buFont typeface="Wingdings" pitchFamily="2" charset="2"/>
              <a:buChar char="q"/>
            </a:pPr>
            <a:r>
              <a:rPr lang="en-US" sz="2800" b="1" i="1" dirty="0" smtClean="0">
                <a:solidFill>
                  <a:schemeClr val="tx2"/>
                </a:solidFill>
              </a:rPr>
              <a:t>  Powerful Parliament  </a:t>
            </a:r>
          </a:p>
          <a:p>
            <a:pPr>
              <a:buFont typeface="Wingdings" pitchFamily="2" charset="2"/>
              <a:buChar char="Ø"/>
            </a:pPr>
            <a:r>
              <a:rPr lang="en-US" sz="2000" b="1" i="1" dirty="0" smtClean="0"/>
              <a:t>to make laws on all matters included in the Union list as well as the concurrent list</a:t>
            </a:r>
          </a:p>
          <a:p>
            <a:pPr>
              <a:buFont typeface="Wingdings" pitchFamily="2" charset="2"/>
              <a:buChar char="Ø"/>
            </a:pPr>
            <a:r>
              <a:rPr lang="en-US" sz="2000" b="1" i="1" dirty="0" smtClean="0"/>
              <a:t>power to amend the constitution of India,</a:t>
            </a:r>
          </a:p>
          <a:p>
            <a:pPr>
              <a:buFont typeface="Wingdings" pitchFamily="2" charset="2"/>
              <a:buChar char="Ø"/>
            </a:pPr>
            <a:r>
              <a:rPr lang="en-US" sz="2000" b="1" i="1" dirty="0" smtClean="0"/>
              <a:t> infringe or expand fundamental rights, </a:t>
            </a:r>
          </a:p>
          <a:p>
            <a:pPr>
              <a:buFont typeface="Wingdings" pitchFamily="2" charset="2"/>
              <a:buChar char="Ø"/>
            </a:pPr>
            <a:r>
              <a:rPr lang="en-US" sz="2000" b="1" i="1" dirty="0" smtClean="0"/>
              <a:t>carve out new units  by altering the boundaries of existing units and </a:t>
            </a:r>
          </a:p>
          <a:p>
            <a:pPr>
              <a:buFont typeface="Wingdings" pitchFamily="2" charset="2"/>
              <a:buChar char="Ø"/>
            </a:pPr>
            <a:r>
              <a:rPr lang="en-US" sz="2000" b="1" i="1" dirty="0" smtClean="0"/>
              <a:t>change the name, territory and boundaries of the units</a:t>
            </a:r>
            <a:endParaRPr lang="en-US" sz="2000" dirty="0"/>
          </a:p>
        </p:txBody>
      </p:sp>
      <p:sp>
        <p:nvSpPr>
          <p:cNvPr id="16" name="Rectangle 15"/>
          <p:cNvSpPr/>
          <p:nvPr/>
        </p:nvSpPr>
        <p:spPr>
          <a:xfrm>
            <a:off x="373197" y="6396335"/>
            <a:ext cx="5276828" cy="253916"/>
          </a:xfrm>
          <a:prstGeom prst="rect">
            <a:avLst/>
          </a:prstGeom>
        </p:spPr>
        <p:txBody>
          <a:bodyPr wrap="square">
            <a:spAutoFit/>
          </a:bodyPr>
          <a:lstStyle/>
          <a:p>
            <a:r>
              <a:rPr lang="en-US" sz="1050" b="1" i="1" dirty="0" smtClean="0"/>
              <a:t>What deters the unveiling of Legislative Process?</a:t>
            </a:r>
            <a:endParaRPr lang="en-US" sz="1050" dirty="0"/>
          </a:p>
        </p:txBody>
      </p:sp>
    </p:spTree>
    <p:extLst>
      <p:ext uri="{BB962C8B-B14F-4D97-AF65-F5344CB8AC3E}">
        <p14:creationId xmlns:p14="http://schemas.microsoft.com/office/powerpoint/2010/main" xmlns="" val="3796730251"/>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withEffect">
                                  <p:stCondLst>
                                    <p:cond delay="0"/>
                                  </p:stCondLst>
                                  <p:childTnLst>
                                    <p:animRot by="10800000">
                                      <p:cBhvr>
                                        <p:cTn id="6" dur="750" fill="hold"/>
                                        <p:tgtEl>
                                          <p:spTgt spid="3"/>
                                        </p:tgtEl>
                                        <p:attrNameLst>
                                          <p:attrName>r</p:attrName>
                                        </p:attrNameLst>
                                      </p:cBhvr>
                                    </p:animRot>
                                  </p:childTnLst>
                                </p:cTn>
                              </p:par>
                            </p:childTnLst>
                          </p:cTn>
                        </p:par>
                        <p:par>
                          <p:cTn id="7" fill="hold">
                            <p:stCondLst>
                              <p:cond delay="750"/>
                            </p:stCondLst>
                            <p:childTnLst>
                              <p:par>
                                <p:cTn id="8" presetID="32" presetClass="emph" presetSubtype="0" fill="hold" grpId="0" nodeType="afterEffect">
                                  <p:stCondLst>
                                    <p:cond delay="0"/>
                                  </p:stCondLst>
                                  <p:childTnLst>
                                    <p:animRot by="120000">
                                      <p:cBhvr>
                                        <p:cTn id="9" dur="75" fill="hold">
                                          <p:stCondLst>
                                            <p:cond delay="0"/>
                                          </p:stCondLst>
                                        </p:cTn>
                                        <p:tgtEl>
                                          <p:spTgt spid="39"/>
                                        </p:tgtEl>
                                        <p:attrNameLst>
                                          <p:attrName>r</p:attrName>
                                        </p:attrNameLst>
                                      </p:cBhvr>
                                    </p:animRot>
                                    <p:animRot by="-240000">
                                      <p:cBhvr>
                                        <p:cTn id="10" dur="150" fill="hold">
                                          <p:stCondLst>
                                            <p:cond delay="150"/>
                                          </p:stCondLst>
                                        </p:cTn>
                                        <p:tgtEl>
                                          <p:spTgt spid="39"/>
                                        </p:tgtEl>
                                        <p:attrNameLst>
                                          <p:attrName>r</p:attrName>
                                        </p:attrNameLst>
                                      </p:cBhvr>
                                    </p:animRot>
                                    <p:animRot by="240000">
                                      <p:cBhvr>
                                        <p:cTn id="11" dur="150" fill="hold">
                                          <p:stCondLst>
                                            <p:cond delay="300"/>
                                          </p:stCondLst>
                                        </p:cTn>
                                        <p:tgtEl>
                                          <p:spTgt spid="39"/>
                                        </p:tgtEl>
                                        <p:attrNameLst>
                                          <p:attrName>r</p:attrName>
                                        </p:attrNameLst>
                                      </p:cBhvr>
                                    </p:animRot>
                                    <p:animRot by="-240000">
                                      <p:cBhvr>
                                        <p:cTn id="12" dur="150" fill="hold">
                                          <p:stCondLst>
                                            <p:cond delay="450"/>
                                          </p:stCondLst>
                                        </p:cTn>
                                        <p:tgtEl>
                                          <p:spTgt spid="39"/>
                                        </p:tgtEl>
                                        <p:attrNameLst>
                                          <p:attrName>r</p:attrName>
                                        </p:attrNameLst>
                                      </p:cBhvr>
                                    </p:animRot>
                                    <p:animRot by="120000">
                                      <p:cBhvr>
                                        <p:cTn id="13" dur="150" fill="hold">
                                          <p:stCondLst>
                                            <p:cond delay="600"/>
                                          </p:stCondLst>
                                        </p:cTn>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xmlns="" val="1389938963"/>
              </p:ext>
            </p:extLst>
          </p:nvPr>
        </p:nvGraphicFramePr>
        <p:xfrm>
          <a:off x="1588" y="1588"/>
          <a:ext cx="1587" cy="1587"/>
        </p:xfrm>
        <a:graphic>
          <a:graphicData uri="http://schemas.openxmlformats.org/presentationml/2006/ole">
            <p:oleObj spid="_x0000_s1052" name="think-cell Slide" r:id="rId15" imgW="360" imgH="360" progId="">
              <p:embed/>
            </p:oleObj>
          </a:graphicData>
        </a:graphic>
      </p:graphicFrame>
      <p:sp>
        <p:nvSpPr>
          <p:cNvPr id="17" name="Rectangle 16"/>
          <p:cNvSpPr/>
          <p:nvPr/>
        </p:nvSpPr>
        <p:spPr>
          <a:xfrm>
            <a:off x="309564" y="2339462"/>
            <a:ext cx="8326792" cy="590931"/>
          </a:xfrm>
          <a:prstGeom prst="rect">
            <a:avLst/>
          </a:prstGeom>
          <a:solidFill>
            <a:srgbClr val="F2F2F2"/>
          </a:solidFill>
          <a:ln>
            <a:solidFill>
              <a:schemeClr val="bg1"/>
            </a:solidFill>
          </a:ln>
          <a:effectLst>
            <a:innerShdw blurRad="63500">
              <a:prstClr val="black">
                <a:alpha val="33000"/>
              </a:prstClr>
            </a:innerShdw>
          </a:effectLst>
        </p:spPr>
        <p:style>
          <a:lnRef idx="1">
            <a:schemeClr val="accent1"/>
          </a:lnRef>
          <a:fillRef idx="3">
            <a:schemeClr val="accent1"/>
          </a:fillRef>
          <a:effectRef idx="2">
            <a:schemeClr val="accent1"/>
          </a:effectRef>
          <a:fontRef idx="minor">
            <a:schemeClr val="lt1"/>
          </a:fontRef>
        </p:style>
        <p:txBody>
          <a:bodyPr wrap="square" lIns="109728" tIns="109728" rIns="109728" bIns="109728" rtlCol="0" anchor="t">
            <a:spAutoFit/>
          </a:bodyPr>
          <a:lstStyle/>
          <a:p>
            <a:r>
              <a:rPr lang="en-US" sz="2400" i="1" dirty="0" smtClean="0">
                <a:solidFill>
                  <a:srgbClr val="0D65AC"/>
                </a:solidFill>
              </a:rPr>
              <a:t>       </a:t>
            </a:r>
            <a:r>
              <a:rPr lang="en-US" sz="2400" b="1" i="1" dirty="0" smtClean="0">
                <a:solidFill>
                  <a:schemeClr val="tx1"/>
                </a:solidFill>
              </a:rPr>
              <a:t>Determining the Policy Agenda</a:t>
            </a:r>
          </a:p>
        </p:txBody>
      </p:sp>
      <p:sp>
        <p:nvSpPr>
          <p:cNvPr id="12" name="TextBox 11"/>
          <p:cNvSpPr txBox="1"/>
          <p:nvPr/>
        </p:nvSpPr>
        <p:spPr>
          <a:xfrm>
            <a:off x="2169763" y="559832"/>
            <a:ext cx="5346915" cy="496161"/>
          </a:xfrm>
          <a:prstGeom prst="rect">
            <a:avLst/>
          </a:prstGeom>
          <a:noFill/>
        </p:spPr>
        <p:txBody>
          <a:bodyPr wrap="square" rtlCol="0">
            <a:spAutoFit/>
          </a:bodyPr>
          <a:lstStyle/>
          <a:p>
            <a:pPr algn="ctr">
              <a:lnSpc>
                <a:spcPct val="80000"/>
              </a:lnSpc>
            </a:pPr>
            <a:r>
              <a:rPr lang="en-US" sz="3200" b="1" dirty="0" smtClean="0">
                <a:solidFill>
                  <a:srgbClr val="0070C0"/>
                </a:solidFill>
                <a:latin typeface="+mn-lt"/>
              </a:rPr>
              <a:t>The Political Context</a:t>
            </a:r>
          </a:p>
        </p:txBody>
      </p:sp>
      <p:sp>
        <p:nvSpPr>
          <p:cNvPr id="78" name="Rectangle 77"/>
          <p:cNvSpPr/>
          <p:nvPr/>
        </p:nvSpPr>
        <p:spPr>
          <a:xfrm>
            <a:off x="334119" y="3012091"/>
            <a:ext cx="8326793" cy="590931"/>
          </a:xfrm>
          <a:prstGeom prst="rect">
            <a:avLst/>
          </a:prstGeom>
          <a:solidFill>
            <a:srgbClr val="F2F2F2"/>
          </a:solidFill>
          <a:ln>
            <a:solidFill>
              <a:schemeClr val="bg1"/>
            </a:solidFill>
          </a:ln>
          <a:effectLst>
            <a:innerShdw blurRad="63500">
              <a:prstClr val="black">
                <a:alpha val="33000"/>
              </a:prstClr>
            </a:innerShdw>
          </a:effectLst>
        </p:spPr>
        <p:style>
          <a:lnRef idx="1">
            <a:schemeClr val="accent1"/>
          </a:lnRef>
          <a:fillRef idx="3">
            <a:schemeClr val="accent1"/>
          </a:fillRef>
          <a:effectRef idx="2">
            <a:schemeClr val="accent1"/>
          </a:effectRef>
          <a:fontRef idx="minor">
            <a:schemeClr val="lt1"/>
          </a:fontRef>
        </p:style>
        <p:txBody>
          <a:bodyPr wrap="square" lIns="109728" tIns="109728" rIns="109728" bIns="109728" rtlCol="0" anchor="t">
            <a:spAutoFit/>
          </a:bodyPr>
          <a:lstStyle/>
          <a:p>
            <a:pPr marL="508000"/>
            <a:r>
              <a:rPr lang="en-US" sz="2400" b="1" i="1" dirty="0" smtClean="0">
                <a:solidFill>
                  <a:schemeClr val="tx1"/>
                </a:solidFill>
              </a:rPr>
              <a:t>Democratization &amp; Its Repercussions</a:t>
            </a:r>
            <a:endParaRPr lang="en-US" b="1" dirty="0" smtClean="0">
              <a:solidFill>
                <a:schemeClr val="tx1"/>
              </a:solidFill>
            </a:endParaRPr>
          </a:p>
        </p:txBody>
      </p:sp>
      <p:sp>
        <p:nvSpPr>
          <p:cNvPr id="79" name="Rectangle 78"/>
          <p:cNvSpPr/>
          <p:nvPr/>
        </p:nvSpPr>
        <p:spPr>
          <a:xfrm>
            <a:off x="334119" y="3644634"/>
            <a:ext cx="8326793" cy="590931"/>
          </a:xfrm>
          <a:prstGeom prst="rect">
            <a:avLst/>
          </a:prstGeom>
          <a:solidFill>
            <a:srgbClr val="F2F2F2"/>
          </a:solidFill>
          <a:ln>
            <a:solidFill>
              <a:schemeClr val="bg1"/>
            </a:solidFill>
          </a:ln>
          <a:effectLst>
            <a:innerShdw blurRad="63500">
              <a:prstClr val="black">
                <a:alpha val="33000"/>
              </a:prstClr>
            </a:innerShdw>
          </a:effectLst>
        </p:spPr>
        <p:style>
          <a:lnRef idx="1">
            <a:schemeClr val="accent1"/>
          </a:lnRef>
          <a:fillRef idx="3">
            <a:schemeClr val="accent1"/>
          </a:fillRef>
          <a:effectRef idx="2">
            <a:schemeClr val="accent1"/>
          </a:effectRef>
          <a:fontRef idx="minor">
            <a:schemeClr val="lt1"/>
          </a:fontRef>
        </p:style>
        <p:txBody>
          <a:bodyPr wrap="square" lIns="109728" tIns="109728" rIns="109728" bIns="109728" rtlCol="0" anchor="t">
            <a:spAutoFit/>
          </a:bodyPr>
          <a:lstStyle/>
          <a:p>
            <a:pPr marL="508000"/>
            <a:r>
              <a:rPr lang="en-US" sz="2400" b="1" i="1" dirty="0" smtClean="0">
                <a:solidFill>
                  <a:schemeClr val="tx1"/>
                </a:solidFill>
              </a:rPr>
              <a:t>Rise of Regional Parties</a:t>
            </a:r>
          </a:p>
        </p:txBody>
      </p:sp>
      <p:sp>
        <p:nvSpPr>
          <p:cNvPr id="80" name="Rectangle 79"/>
          <p:cNvSpPr/>
          <p:nvPr/>
        </p:nvSpPr>
        <p:spPr>
          <a:xfrm>
            <a:off x="292506" y="4351928"/>
            <a:ext cx="8368407" cy="590931"/>
          </a:xfrm>
          <a:prstGeom prst="rect">
            <a:avLst/>
          </a:prstGeom>
          <a:solidFill>
            <a:srgbClr val="F2F2F2"/>
          </a:solidFill>
          <a:ln>
            <a:solidFill>
              <a:schemeClr val="bg1"/>
            </a:solidFill>
          </a:ln>
          <a:effectLst>
            <a:innerShdw blurRad="63500">
              <a:prstClr val="black">
                <a:alpha val="33000"/>
              </a:prstClr>
            </a:innerShdw>
          </a:effectLst>
        </p:spPr>
        <p:style>
          <a:lnRef idx="1">
            <a:schemeClr val="accent1"/>
          </a:lnRef>
          <a:fillRef idx="3">
            <a:schemeClr val="accent1"/>
          </a:fillRef>
          <a:effectRef idx="2">
            <a:schemeClr val="accent1"/>
          </a:effectRef>
          <a:fontRef idx="minor">
            <a:schemeClr val="lt1"/>
          </a:fontRef>
        </p:style>
        <p:txBody>
          <a:bodyPr wrap="square" lIns="109728" tIns="109728" rIns="109728" bIns="109728" rtlCol="0" anchor="t">
            <a:spAutoFit/>
          </a:bodyPr>
          <a:lstStyle/>
          <a:p>
            <a:pPr marL="508000"/>
            <a:r>
              <a:rPr lang="en-US" sz="2400" b="1" i="1" dirty="0" smtClean="0">
                <a:solidFill>
                  <a:schemeClr val="tx1"/>
                </a:solidFill>
              </a:rPr>
              <a:t>Changing Socio- Economic Profile </a:t>
            </a:r>
          </a:p>
        </p:txBody>
      </p:sp>
      <p:sp>
        <p:nvSpPr>
          <p:cNvPr id="32" name="Rectangle 31"/>
          <p:cNvSpPr/>
          <p:nvPr/>
        </p:nvSpPr>
        <p:spPr>
          <a:xfrm>
            <a:off x="349649" y="5021436"/>
            <a:ext cx="8326793" cy="590931"/>
          </a:xfrm>
          <a:prstGeom prst="rect">
            <a:avLst/>
          </a:prstGeom>
          <a:solidFill>
            <a:srgbClr val="F2F2F2"/>
          </a:solidFill>
          <a:ln>
            <a:solidFill>
              <a:schemeClr val="bg1"/>
            </a:solidFill>
          </a:ln>
          <a:effectLst>
            <a:innerShdw blurRad="63500">
              <a:prstClr val="black">
                <a:alpha val="33000"/>
              </a:prstClr>
            </a:innerShdw>
          </a:effectLst>
        </p:spPr>
        <p:style>
          <a:lnRef idx="1">
            <a:schemeClr val="accent1"/>
          </a:lnRef>
          <a:fillRef idx="3">
            <a:schemeClr val="accent1"/>
          </a:fillRef>
          <a:effectRef idx="2">
            <a:schemeClr val="accent1"/>
          </a:effectRef>
          <a:fontRef idx="minor">
            <a:schemeClr val="lt1"/>
          </a:fontRef>
        </p:style>
        <p:txBody>
          <a:bodyPr wrap="square" lIns="109728" tIns="109728" rIns="109728" bIns="109728" rtlCol="0" anchor="t">
            <a:spAutoFit/>
          </a:bodyPr>
          <a:lstStyle/>
          <a:p>
            <a:pPr marL="342900" indent="-342900" defTabSz="914400" fontAlgn="auto">
              <a:spcBef>
                <a:spcPct val="20000"/>
              </a:spcBef>
              <a:spcAft>
                <a:spcPts val="0"/>
              </a:spcAft>
              <a:buClr>
                <a:srgbClr val="4F81BD"/>
              </a:buClr>
              <a:buSzPct val="70000"/>
            </a:pPr>
            <a:r>
              <a:rPr lang="en-US" sz="2400" i="1" dirty="0" smtClean="0">
                <a:solidFill>
                  <a:srgbClr val="0D65AC"/>
                </a:solidFill>
                <a:latin typeface="Franklin Gothic Book"/>
              </a:rPr>
              <a:t>       </a:t>
            </a:r>
            <a:r>
              <a:rPr lang="en-US" sz="2400" b="1" i="1" dirty="0" smtClean="0">
                <a:solidFill>
                  <a:schemeClr val="tx1"/>
                </a:solidFill>
              </a:rPr>
              <a:t>Demands of Coalition Politics </a:t>
            </a:r>
          </a:p>
        </p:txBody>
      </p:sp>
      <p:sp>
        <p:nvSpPr>
          <p:cNvPr id="41" name="Rectangle 40"/>
          <p:cNvSpPr/>
          <p:nvPr/>
        </p:nvSpPr>
        <p:spPr>
          <a:xfrm>
            <a:off x="391263" y="6387152"/>
            <a:ext cx="4572000" cy="253916"/>
          </a:xfrm>
          <a:prstGeom prst="rect">
            <a:avLst/>
          </a:prstGeom>
        </p:spPr>
        <p:txBody>
          <a:bodyPr wrap="square">
            <a:spAutoFit/>
          </a:bodyPr>
          <a:lstStyle/>
          <a:p>
            <a:r>
              <a:rPr lang="en-US" sz="1050" b="1" i="1" dirty="0" smtClean="0"/>
              <a:t>What deters the unveiling of Legislative Process?</a:t>
            </a:r>
            <a:endParaRPr lang="en-US" sz="1050" dirty="0"/>
          </a:p>
        </p:txBody>
      </p:sp>
      <p:cxnSp>
        <p:nvCxnSpPr>
          <p:cNvPr id="33" name="Straight Connector 32"/>
          <p:cNvCxnSpPr/>
          <p:nvPr/>
        </p:nvCxnSpPr>
        <p:spPr>
          <a:xfrm rot="10800000" flipV="1">
            <a:off x="2169766" y="1259172"/>
            <a:ext cx="5346913" cy="2"/>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grpSp>
        <p:nvGrpSpPr>
          <p:cNvPr id="53" name="Group 52"/>
          <p:cNvGrpSpPr/>
          <p:nvPr/>
        </p:nvGrpSpPr>
        <p:grpSpPr>
          <a:xfrm>
            <a:off x="309564" y="2367763"/>
            <a:ext cx="518790" cy="518788"/>
            <a:chOff x="349648" y="2204865"/>
            <a:chExt cx="518790" cy="518788"/>
          </a:xfrm>
        </p:grpSpPr>
        <p:sp>
          <p:nvSpPr>
            <p:cNvPr id="54" name="Oval 53"/>
            <p:cNvSpPr/>
            <p:nvPr>
              <p:custDataLst>
                <p:tags r:id="rId11"/>
              </p:custDataLst>
            </p:nvPr>
          </p:nvSpPr>
          <p:spPr>
            <a:xfrm>
              <a:off x="349648" y="2204865"/>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p:cNvSpPr/>
            <p:nvPr>
              <p:custDataLst>
                <p:tags r:id="rId12"/>
              </p:custDataLst>
            </p:nvPr>
          </p:nvSpPr>
          <p:spPr>
            <a:xfrm>
              <a:off x="391262" y="2246478"/>
              <a:ext cx="435563" cy="435563"/>
            </a:xfrm>
            <a:prstGeom prst="ellipse">
              <a:avLst/>
            </a:prstGeom>
            <a:solidFill>
              <a:srgbClr val="0D65AC"/>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1</a:t>
              </a:r>
            </a:p>
          </p:txBody>
        </p:sp>
      </p:grpSp>
      <p:grpSp>
        <p:nvGrpSpPr>
          <p:cNvPr id="58" name="Group 57"/>
          <p:cNvGrpSpPr/>
          <p:nvPr/>
        </p:nvGrpSpPr>
        <p:grpSpPr>
          <a:xfrm>
            <a:off x="308035" y="3125846"/>
            <a:ext cx="518790" cy="518788"/>
            <a:chOff x="349648" y="2204865"/>
            <a:chExt cx="518790" cy="518788"/>
          </a:xfrm>
        </p:grpSpPr>
        <p:sp>
          <p:nvSpPr>
            <p:cNvPr id="59" name="Oval 58"/>
            <p:cNvSpPr/>
            <p:nvPr>
              <p:custDataLst>
                <p:tags r:id="rId9"/>
              </p:custDataLst>
            </p:nvPr>
          </p:nvSpPr>
          <p:spPr>
            <a:xfrm>
              <a:off x="349648" y="2204865"/>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p:cNvSpPr/>
            <p:nvPr>
              <p:custDataLst>
                <p:tags r:id="rId10"/>
              </p:custDataLst>
            </p:nvPr>
          </p:nvSpPr>
          <p:spPr>
            <a:xfrm>
              <a:off x="391262" y="2246478"/>
              <a:ext cx="435563" cy="435563"/>
            </a:xfrm>
            <a:prstGeom prst="ellipse">
              <a:avLst/>
            </a:prstGeom>
            <a:solidFill>
              <a:srgbClr val="0D65AC"/>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2</a:t>
              </a:r>
            </a:p>
          </p:txBody>
        </p:sp>
      </p:grpSp>
      <p:grpSp>
        <p:nvGrpSpPr>
          <p:cNvPr id="61" name="Group 60"/>
          <p:cNvGrpSpPr/>
          <p:nvPr/>
        </p:nvGrpSpPr>
        <p:grpSpPr>
          <a:xfrm>
            <a:off x="292506" y="3716777"/>
            <a:ext cx="518790" cy="518788"/>
            <a:chOff x="349648" y="2204865"/>
            <a:chExt cx="518790" cy="518788"/>
          </a:xfrm>
        </p:grpSpPr>
        <p:sp>
          <p:nvSpPr>
            <p:cNvPr id="62" name="Oval 61"/>
            <p:cNvSpPr/>
            <p:nvPr>
              <p:custDataLst>
                <p:tags r:id="rId7"/>
              </p:custDataLst>
            </p:nvPr>
          </p:nvSpPr>
          <p:spPr>
            <a:xfrm>
              <a:off x="349648" y="2204865"/>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p:cNvSpPr/>
            <p:nvPr>
              <p:custDataLst>
                <p:tags r:id="rId8"/>
              </p:custDataLst>
            </p:nvPr>
          </p:nvSpPr>
          <p:spPr>
            <a:xfrm>
              <a:off x="391262" y="2246478"/>
              <a:ext cx="435563" cy="435563"/>
            </a:xfrm>
            <a:prstGeom prst="ellipse">
              <a:avLst/>
            </a:prstGeom>
            <a:solidFill>
              <a:srgbClr val="0D65AC"/>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3</a:t>
              </a:r>
            </a:p>
          </p:txBody>
        </p:sp>
      </p:grpSp>
      <p:grpSp>
        <p:nvGrpSpPr>
          <p:cNvPr id="64" name="Group 63"/>
          <p:cNvGrpSpPr/>
          <p:nvPr/>
        </p:nvGrpSpPr>
        <p:grpSpPr>
          <a:xfrm>
            <a:off x="267951" y="4382459"/>
            <a:ext cx="518790" cy="518788"/>
            <a:chOff x="349648" y="2204865"/>
            <a:chExt cx="518790" cy="518788"/>
          </a:xfrm>
        </p:grpSpPr>
        <p:sp>
          <p:nvSpPr>
            <p:cNvPr id="65" name="Oval 64"/>
            <p:cNvSpPr/>
            <p:nvPr>
              <p:custDataLst>
                <p:tags r:id="rId5"/>
              </p:custDataLst>
            </p:nvPr>
          </p:nvSpPr>
          <p:spPr>
            <a:xfrm>
              <a:off x="349648" y="2204865"/>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p:cNvSpPr/>
            <p:nvPr>
              <p:custDataLst>
                <p:tags r:id="rId6"/>
              </p:custDataLst>
            </p:nvPr>
          </p:nvSpPr>
          <p:spPr>
            <a:xfrm>
              <a:off x="391262" y="2246478"/>
              <a:ext cx="435563" cy="435563"/>
            </a:xfrm>
            <a:prstGeom prst="ellipse">
              <a:avLst/>
            </a:prstGeom>
            <a:solidFill>
              <a:srgbClr val="0D65AC"/>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4</a:t>
              </a:r>
            </a:p>
          </p:txBody>
        </p:sp>
      </p:grpSp>
      <p:grpSp>
        <p:nvGrpSpPr>
          <p:cNvPr id="67" name="Group 66"/>
          <p:cNvGrpSpPr/>
          <p:nvPr/>
        </p:nvGrpSpPr>
        <p:grpSpPr>
          <a:xfrm>
            <a:off x="308035" y="5006666"/>
            <a:ext cx="518790" cy="518788"/>
            <a:chOff x="349648" y="2204865"/>
            <a:chExt cx="518790" cy="518788"/>
          </a:xfrm>
        </p:grpSpPr>
        <p:sp>
          <p:nvSpPr>
            <p:cNvPr id="68" name="Oval 67"/>
            <p:cNvSpPr/>
            <p:nvPr>
              <p:custDataLst>
                <p:tags r:id="rId3"/>
              </p:custDataLst>
            </p:nvPr>
          </p:nvSpPr>
          <p:spPr>
            <a:xfrm>
              <a:off x="349648" y="2204865"/>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p:cNvSpPr/>
            <p:nvPr>
              <p:custDataLst>
                <p:tags r:id="rId4"/>
              </p:custDataLst>
            </p:nvPr>
          </p:nvSpPr>
          <p:spPr>
            <a:xfrm>
              <a:off x="391262" y="2246478"/>
              <a:ext cx="435563" cy="435563"/>
            </a:xfrm>
            <a:prstGeom prst="ellipse">
              <a:avLst/>
            </a:prstGeom>
            <a:solidFill>
              <a:srgbClr val="0D65AC"/>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solidFill>
                    <a:schemeClr val="bg1"/>
                  </a:solidFill>
                </a:rPr>
                <a:t>5</a:t>
              </a:r>
              <a:endParaRPr lang="en-US" sz="1600" b="1" dirty="0">
                <a:solidFill>
                  <a:schemeClr val="bg1"/>
                </a:solidFill>
              </a:endParaRPr>
            </a:p>
          </p:txBody>
        </p:sp>
      </p:grpSp>
      <p:pic>
        <p:nvPicPr>
          <p:cNvPr id="30" name="Picture 29" descr="Picture1.wmf"/>
          <p:cNvPicPr>
            <a:picLocks noChangeAspect="1"/>
          </p:cNvPicPr>
          <p:nvPr/>
        </p:nvPicPr>
        <p:blipFill>
          <a:blip r:embed="rId16"/>
          <a:stretch>
            <a:fillRect/>
          </a:stretch>
        </p:blipFill>
        <p:spPr>
          <a:xfrm>
            <a:off x="5696262" y="1603948"/>
            <a:ext cx="3362172" cy="4586990"/>
          </a:xfrm>
          <a:prstGeom prst="rect">
            <a:avLst/>
          </a:prstGeom>
          <a:ln w="22225" cmpd="sng">
            <a:solidFill>
              <a:srgbClr val="0070C0"/>
            </a:solidFill>
          </a:ln>
        </p:spPr>
      </p:pic>
      <p:sp>
        <p:nvSpPr>
          <p:cNvPr id="31" name="TextBox 30"/>
          <p:cNvSpPr txBox="1"/>
          <p:nvPr/>
        </p:nvSpPr>
        <p:spPr>
          <a:xfrm>
            <a:off x="5696262" y="6202486"/>
            <a:ext cx="2743200" cy="276999"/>
          </a:xfrm>
          <a:prstGeom prst="rect">
            <a:avLst/>
          </a:prstGeom>
          <a:noFill/>
        </p:spPr>
        <p:txBody>
          <a:bodyPr wrap="square" rtlCol="0">
            <a:spAutoFit/>
          </a:bodyPr>
          <a:lstStyle/>
          <a:p>
            <a:r>
              <a:rPr lang="en-US" sz="1200" i="1" dirty="0" smtClean="0"/>
              <a:t>Courtesy: Times of India</a:t>
            </a:r>
            <a:endParaRPr lang="en-US" sz="1200" i="1" dirty="0"/>
          </a:p>
        </p:txBody>
      </p:sp>
    </p:spTree>
    <p:extLst>
      <p:ext uri="{BB962C8B-B14F-4D97-AF65-F5344CB8AC3E}">
        <p14:creationId xmlns:p14="http://schemas.microsoft.com/office/powerpoint/2010/main" xmlns="" val="3176624080"/>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500" tmFilter="0, 0; .2, .5; .8, .5; 1, 0"/>
                                        <p:tgtEl>
                                          <p:spTgt spid="53"/>
                                        </p:tgtEl>
                                      </p:cBhvr>
                                    </p:animEffect>
                                    <p:animScale>
                                      <p:cBhvr>
                                        <p:cTn id="7" dur="250" autoRev="1" fill="hold"/>
                                        <p:tgtEl>
                                          <p:spTgt spid="53"/>
                                        </p:tgtEl>
                                      </p:cBhvr>
                                      <p:by x="105000" y="105000"/>
                                    </p:animScale>
                                  </p:childTnLst>
                                </p:cTn>
                              </p:par>
                            </p:childTnLst>
                          </p:cTn>
                        </p:par>
                        <p:par>
                          <p:cTn id="8" fill="hold">
                            <p:stCondLst>
                              <p:cond delay="500"/>
                            </p:stCondLst>
                            <p:childTnLst>
                              <p:par>
                                <p:cTn id="9" presetID="26" presetClass="emph" presetSubtype="0" fill="hold" nodeType="afterEffect">
                                  <p:stCondLst>
                                    <p:cond delay="0"/>
                                  </p:stCondLst>
                                  <p:childTnLst>
                                    <p:animEffect transition="out" filter="fade">
                                      <p:cBhvr>
                                        <p:cTn id="10" dur="500" tmFilter="0, 0; .2, .5; .8, .5; 1, 0"/>
                                        <p:tgtEl>
                                          <p:spTgt spid="58"/>
                                        </p:tgtEl>
                                      </p:cBhvr>
                                    </p:animEffect>
                                    <p:animScale>
                                      <p:cBhvr>
                                        <p:cTn id="11" dur="250" autoRev="1" fill="hold"/>
                                        <p:tgtEl>
                                          <p:spTgt spid="58"/>
                                        </p:tgtEl>
                                      </p:cBhvr>
                                      <p:by x="105000" y="105000"/>
                                    </p:animScale>
                                  </p:childTnLst>
                                </p:cTn>
                              </p:par>
                            </p:childTnLst>
                          </p:cTn>
                        </p:par>
                        <p:par>
                          <p:cTn id="12" fill="hold">
                            <p:stCondLst>
                              <p:cond delay="1000"/>
                            </p:stCondLst>
                            <p:childTnLst>
                              <p:par>
                                <p:cTn id="13" presetID="26" presetClass="emph" presetSubtype="0" fill="hold" nodeType="afterEffect">
                                  <p:stCondLst>
                                    <p:cond delay="0"/>
                                  </p:stCondLst>
                                  <p:childTnLst>
                                    <p:animEffect transition="out" filter="fade">
                                      <p:cBhvr>
                                        <p:cTn id="14" dur="500" tmFilter="0, 0; .2, .5; .8, .5; 1, 0"/>
                                        <p:tgtEl>
                                          <p:spTgt spid="61"/>
                                        </p:tgtEl>
                                      </p:cBhvr>
                                    </p:animEffect>
                                    <p:animScale>
                                      <p:cBhvr>
                                        <p:cTn id="15" dur="250" autoRev="1" fill="hold"/>
                                        <p:tgtEl>
                                          <p:spTgt spid="61"/>
                                        </p:tgtEl>
                                      </p:cBhvr>
                                      <p:by x="105000" y="105000"/>
                                    </p:animScale>
                                  </p:childTnLst>
                                </p:cTn>
                              </p:par>
                            </p:childTnLst>
                          </p:cTn>
                        </p:par>
                        <p:par>
                          <p:cTn id="16" fill="hold">
                            <p:stCondLst>
                              <p:cond delay="1500"/>
                            </p:stCondLst>
                            <p:childTnLst>
                              <p:par>
                                <p:cTn id="17" presetID="26" presetClass="emph" presetSubtype="0" fill="hold" nodeType="afterEffect">
                                  <p:stCondLst>
                                    <p:cond delay="0"/>
                                  </p:stCondLst>
                                  <p:childTnLst>
                                    <p:animEffect transition="out" filter="fade">
                                      <p:cBhvr>
                                        <p:cTn id="18" dur="500" tmFilter="0, 0; .2, .5; .8, .5; 1, 0"/>
                                        <p:tgtEl>
                                          <p:spTgt spid="64"/>
                                        </p:tgtEl>
                                      </p:cBhvr>
                                    </p:animEffect>
                                    <p:animScale>
                                      <p:cBhvr>
                                        <p:cTn id="19" dur="250" autoRev="1" fill="hold"/>
                                        <p:tgtEl>
                                          <p:spTgt spid="64"/>
                                        </p:tgtEl>
                                      </p:cBhvr>
                                      <p:by x="105000" y="105000"/>
                                    </p:animScale>
                                  </p:childTnLst>
                                </p:cTn>
                              </p:par>
                            </p:childTnLst>
                          </p:cTn>
                        </p:par>
                        <p:par>
                          <p:cTn id="20" fill="hold">
                            <p:stCondLst>
                              <p:cond delay="2000"/>
                            </p:stCondLst>
                            <p:childTnLst>
                              <p:par>
                                <p:cTn id="21" presetID="26" presetClass="emph" presetSubtype="0" fill="hold" nodeType="afterEffect">
                                  <p:stCondLst>
                                    <p:cond delay="0"/>
                                  </p:stCondLst>
                                  <p:childTnLst>
                                    <p:animEffect transition="out" filter="fade">
                                      <p:cBhvr>
                                        <p:cTn id="22" dur="500" tmFilter="0, 0; .2, .5; .8, .5; 1, 0"/>
                                        <p:tgtEl>
                                          <p:spTgt spid="67"/>
                                        </p:tgtEl>
                                      </p:cBhvr>
                                    </p:animEffect>
                                    <p:animScale>
                                      <p:cBhvr>
                                        <p:cTn id="23" dur="250" autoRev="1" fill="hold"/>
                                        <p:tgtEl>
                                          <p:spTgt spid="67"/>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73196" y="6387871"/>
            <a:ext cx="3830313" cy="272338"/>
          </a:xfrm>
        </p:spPr>
        <p:txBody>
          <a:bodyPr/>
          <a:lstStyle/>
          <a:p>
            <a:pPr algn="l">
              <a:defRPr/>
            </a:pPr>
            <a:r>
              <a:rPr lang="en-US" b="1" dirty="0" smtClean="0"/>
              <a:t>What deters the unveiling of Legislative Process?</a:t>
            </a:r>
            <a:endParaRPr lang="en-US" b="1" dirty="0"/>
          </a:p>
        </p:txBody>
      </p:sp>
      <p:sp>
        <p:nvSpPr>
          <p:cNvPr id="4" name="Slide Number Placeholder 3"/>
          <p:cNvSpPr>
            <a:spLocks noGrp="1"/>
          </p:cNvSpPr>
          <p:nvPr>
            <p:ph type="sldNum" sz="quarter" idx="12"/>
          </p:nvPr>
        </p:nvSpPr>
        <p:spPr/>
        <p:txBody>
          <a:bodyPr/>
          <a:lstStyle/>
          <a:p>
            <a:fld id="{EA72F2ED-C0F1-A14B-BA46-C5847C658EB2}" type="slidenum">
              <a:rPr lang="en-US" smtClean="0"/>
              <a:pPr/>
              <a:t>6</a:t>
            </a:fld>
            <a:endParaRPr lang="en-US" dirty="0"/>
          </a:p>
        </p:txBody>
      </p:sp>
      <p:pic>
        <p:nvPicPr>
          <p:cNvPr id="7" name="Picture 6" descr="Lok-Sabha-Elections.jpg"/>
          <p:cNvPicPr>
            <a:picLocks noChangeAspect="1"/>
          </p:cNvPicPr>
          <p:nvPr/>
        </p:nvPicPr>
        <p:blipFill>
          <a:blip r:embed="rId3"/>
          <a:stretch>
            <a:fillRect/>
          </a:stretch>
        </p:blipFill>
        <p:spPr>
          <a:xfrm>
            <a:off x="4833097" y="749472"/>
            <a:ext cx="4017061" cy="2642239"/>
          </a:xfrm>
          <a:prstGeom prst="rect">
            <a:avLst/>
          </a:prstGeom>
        </p:spPr>
      </p:pic>
      <p:pic>
        <p:nvPicPr>
          <p:cNvPr id="10" name="Picture 9" descr="india-general-election-f.jpg"/>
          <p:cNvPicPr>
            <a:picLocks noChangeAspect="1"/>
          </p:cNvPicPr>
          <p:nvPr/>
        </p:nvPicPr>
        <p:blipFill>
          <a:blip r:embed="rId4"/>
          <a:stretch>
            <a:fillRect/>
          </a:stretch>
        </p:blipFill>
        <p:spPr>
          <a:xfrm>
            <a:off x="254000" y="3391711"/>
            <a:ext cx="8890000" cy="2996160"/>
          </a:xfrm>
          <a:prstGeom prst="rect">
            <a:avLst/>
          </a:prstGeom>
        </p:spPr>
      </p:pic>
      <p:pic>
        <p:nvPicPr>
          <p:cNvPr id="11" name="Picture 10" descr="voting.jpg"/>
          <p:cNvPicPr>
            <a:picLocks noChangeAspect="1"/>
          </p:cNvPicPr>
          <p:nvPr/>
        </p:nvPicPr>
        <p:blipFill>
          <a:blip r:embed="rId5"/>
          <a:stretch>
            <a:fillRect/>
          </a:stretch>
        </p:blipFill>
        <p:spPr>
          <a:xfrm>
            <a:off x="127000" y="749472"/>
            <a:ext cx="4076510" cy="2642239"/>
          </a:xfrm>
          <a:prstGeom prst="rect">
            <a:avLst/>
          </a:prstGeom>
        </p:spPr>
      </p:pic>
      <p:sp>
        <p:nvSpPr>
          <p:cNvPr id="8" name="TextBox 7"/>
          <p:cNvSpPr txBox="1"/>
          <p:nvPr/>
        </p:nvSpPr>
        <p:spPr>
          <a:xfrm>
            <a:off x="1873770" y="299803"/>
            <a:ext cx="5366479" cy="714042"/>
          </a:xfrm>
          <a:prstGeom prst="rect">
            <a:avLst/>
          </a:prstGeom>
          <a:noFill/>
        </p:spPr>
        <p:txBody>
          <a:bodyPr wrap="square" rtlCol="0">
            <a:spAutoFit/>
          </a:bodyPr>
          <a:lstStyle/>
          <a:p>
            <a:pPr lvl="0" algn="ctr">
              <a:lnSpc>
                <a:spcPct val="80000"/>
              </a:lnSpc>
            </a:pPr>
            <a:r>
              <a:rPr lang="en-US" sz="2800" b="1" dirty="0" smtClean="0">
                <a:solidFill>
                  <a:prstClr val="black"/>
                </a:solidFill>
              </a:rPr>
              <a:t>Democratization </a:t>
            </a:r>
          </a:p>
          <a:p>
            <a:endParaRPr lang="en-US" b="1" u="sng" dirty="0"/>
          </a:p>
        </p:txBody>
      </p:sp>
      <p:sp>
        <p:nvSpPr>
          <p:cNvPr id="9" name="TextBox 8"/>
          <p:cNvSpPr txBox="1"/>
          <p:nvPr/>
        </p:nvSpPr>
        <p:spPr>
          <a:xfrm>
            <a:off x="7045377" y="5557363"/>
            <a:ext cx="599607" cy="307777"/>
          </a:xfrm>
          <a:prstGeom prst="rect">
            <a:avLst/>
          </a:prstGeom>
          <a:solidFill>
            <a:srgbClr val="003399"/>
          </a:solidFill>
        </p:spPr>
        <p:txBody>
          <a:bodyPr wrap="square" rtlCol="0">
            <a:spAutoFit/>
          </a:bodyPr>
          <a:lstStyle/>
          <a:p>
            <a:r>
              <a:rPr lang="en-US" sz="1400" b="1" dirty="0" smtClean="0">
                <a:solidFill>
                  <a:schemeClr val="bg1"/>
                </a:solidFill>
              </a:rPr>
              <a:t>856</a:t>
            </a:r>
            <a:endParaRPr lang="en-US" sz="1400" b="1" dirty="0">
              <a:solidFill>
                <a:schemeClr val="bg1"/>
              </a:solidFill>
            </a:endParaRPr>
          </a:p>
        </p:txBody>
      </p:sp>
    </p:spTree>
  </p:cSld>
  <p:clrMapOvr>
    <a:masterClrMapping/>
  </p:clrMapOvr>
  <p:transition spd="med">
    <p:plus/>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A72F2ED-C0F1-A14B-BA46-C5847C658EB2}" type="slidenum">
              <a:rPr lang="en-US" smtClean="0"/>
              <a:pPr/>
              <a:t>7</a:t>
            </a:fld>
            <a:endParaRPr lang="en-US" dirty="0"/>
          </a:p>
        </p:txBody>
      </p:sp>
      <p:sp>
        <p:nvSpPr>
          <p:cNvPr id="5" name="Footer Placeholder 4"/>
          <p:cNvSpPr>
            <a:spLocks noGrp="1"/>
          </p:cNvSpPr>
          <p:nvPr>
            <p:ph type="ftr" sz="quarter" idx="11"/>
          </p:nvPr>
        </p:nvSpPr>
        <p:spPr>
          <a:xfrm>
            <a:off x="343595" y="6373735"/>
            <a:ext cx="3382244" cy="273051"/>
          </a:xfrm>
        </p:spPr>
        <p:txBody>
          <a:bodyPr/>
          <a:lstStyle/>
          <a:p>
            <a:pPr>
              <a:defRPr/>
            </a:pPr>
            <a:r>
              <a:rPr lang="en-US" b="1" i="1" dirty="0" smtClean="0"/>
              <a:t>What deters the unveiling of Legislative Process?</a:t>
            </a:r>
            <a:endParaRPr lang="en-US" b="1" i="1" dirty="0"/>
          </a:p>
        </p:txBody>
      </p:sp>
      <p:graphicFrame>
        <p:nvGraphicFramePr>
          <p:cNvPr id="15" name="Chart 14"/>
          <p:cNvGraphicFramePr/>
          <p:nvPr>
            <p:extLst>
              <p:ext uri="{D42A27DB-BD31-4B8C-83A1-F6EECF244321}">
                <p14:modId xmlns:p14="http://schemas.microsoft.com/office/powerpoint/2010/main" xmlns="" val="2327894035"/>
              </p:ext>
            </p:extLst>
          </p:nvPr>
        </p:nvGraphicFramePr>
        <p:xfrm>
          <a:off x="2833688" y="1235679"/>
          <a:ext cx="6130430" cy="4850328"/>
        </p:xfrm>
        <a:graphic>
          <a:graphicData uri="http://schemas.openxmlformats.org/drawingml/2006/chart">
            <c:chart xmlns:c="http://schemas.openxmlformats.org/drawingml/2006/chart" xmlns:r="http://schemas.openxmlformats.org/officeDocument/2006/relationships" r:id="rId6"/>
          </a:graphicData>
        </a:graphic>
      </p:graphicFrame>
      <p:sp>
        <p:nvSpPr>
          <p:cNvPr id="33" name="Rectangle 32"/>
          <p:cNvSpPr/>
          <p:nvPr>
            <p:custDataLst>
              <p:tags r:id="rId1"/>
            </p:custDataLst>
          </p:nvPr>
        </p:nvSpPr>
        <p:spPr>
          <a:xfrm>
            <a:off x="343594" y="2363762"/>
            <a:ext cx="2911050" cy="78019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US" b="1" i="1" dirty="0" smtClean="0">
                <a:solidFill>
                  <a:schemeClr val="tx1"/>
                </a:solidFill>
                <a:latin typeface="Calibri" charset="0"/>
                <a:ea typeface="ＭＳ Ｐゴシック" charset="0"/>
                <a:cs typeface="ＭＳ Ｐゴシック" charset="0"/>
              </a:rPr>
              <a:t>Voter Turn out has increased from 45% to 66 % in 2004 </a:t>
            </a:r>
            <a:endParaRPr lang="en-US" b="1" i="1" dirty="0">
              <a:solidFill>
                <a:schemeClr val="tx1"/>
              </a:solidFill>
              <a:latin typeface="Calibri" charset="0"/>
              <a:ea typeface="ＭＳ Ｐゴシック" charset="0"/>
              <a:cs typeface="ＭＳ Ｐゴシック" charset="0"/>
            </a:endParaRPr>
          </a:p>
        </p:txBody>
      </p:sp>
      <p:cxnSp>
        <p:nvCxnSpPr>
          <p:cNvPr id="34" name="Straight Connector 33"/>
          <p:cNvCxnSpPr/>
          <p:nvPr>
            <p:custDataLst>
              <p:tags r:id="rId2"/>
            </p:custDataLst>
          </p:nvPr>
        </p:nvCxnSpPr>
        <p:spPr>
          <a:xfrm flipV="1">
            <a:off x="344487" y="3293030"/>
            <a:ext cx="2413003" cy="1"/>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36" name="Rectangle 35"/>
          <p:cNvSpPr/>
          <p:nvPr>
            <p:custDataLst>
              <p:tags r:id="rId3"/>
            </p:custDataLst>
          </p:nvPr>
        </p:nvSpPr>
        <p:spPr>
          <a:xfrm>
            <a:off x="247997" y="3278821"/>
            <a:ext cx="2749203" cy="9711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Aft>
                <a:spcPts val="600"/>
              </a:spcAft>
            </a:pPr>
            <a:r>
              <a:rPr lang="en-US" sz="2000" b="1" i="1" dirty="0" smtClean="0">
                <a:solidFill>
                  <a:schemeClr val="tx1"/>
                </a:solidFill>
                <a:latin typeface="Calibri" charset="0"/>
                <a:ea typeface="ＭＳ Ｐゴシック" charset="0"/>
                <a:cs typeface="ＭＳ Ｐゴシック" charset="0"/>
              </a:rPr>
              <a:t>The</a:t>
            </a:r>
            <a:r>
              <a:rPr lang="en-US" b="1" i="1" dirty="0" smtClean="0">
                <a:solidFill>
                  <a:schemeClr val="tx1"/>
                </a:solidFill>
                <a:latin typeface="Calibri" charset="0"/>
                <a:ea typeface="ＭＳ Ｐゴシック" charset="0"/>
                <a:cs typeface="ＭＳ Ｐゴシック" charset="0"/>
              </a:rPr>
              <a:t> increase in turn out has been due to the participation of Marginalized</a:t>
            </a:r>
            <a:endParaRPr lang="en-US" sz="1000" b="1" i="1" dirty="0">
              <a:solidFill>
                <a:schemeClr val="tx1"/>
              </a:solidFill>
              <a:latin typeface="Calibri" charset="0"/>
              <a:ea typeface="ＭＳ Ｐゴシック" charset="0"/>
              <a:cs typeface="ＭＳ Ｐゴシック" charset="0"/>
            </a:endParaRPr>
          </a:p>
        </p:txBody>
      </p:sp>
      <p:cxnSp>
        <p:nvCxnSpPr>
          <p:cNvPr id="37" name="Straight Connector 36"/>
          <p:cNvCxnSpPr/>
          <p:nvPr>
            <p:custDataLst>
              <p:tags r:id="rId4"/>
            </p:custDataLst>
          </p:nvPr>
        </p:nvCxnSpPr>
        <p:spPr>
          <a:xfrm flipV="1">
            <a:off x="344487" y="4371368"/>
            <a:ext cx="2413003" cy="1"/>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2833688" y="564304"/>
            <a:ext cx="3166540" cy="496161"/>
          </a:xfrm>
          <a:prstGeom prst="rect">
            <a:avLst/>
          </a:prstGeom>
          <a:noFill/>
        </p:spPr>
        <p:txBody>
          <a:bodyPr wrap="square" rtlCol="0">
            <a:spAutoFit/>
          </a:bodyPr>
          <a:lstStyle/>
          <a:p>
            <a:pPr algn="ctr">
              <a:lnSpc>
                <a:spcPct val="80000"/>
              </a:lnSpc>
            </a:pPr>
            <a:r>
              <a:rPr lang="en-US" sz="3200" b="1" dirty="0" smtClean="0"/>
              <a:t>Democratization </a:t>
            </a:r>
            <a:endParaRPr lang="en-US" sz="3200" b="1" dirty="0"/>
          </a:p>
        </p:txBody>
      </p:sp>
      <p:sp>
        <p:nvSpPr>
          <p:cNvPr id="16" name="TextBox 15"/>
          <p:cNvSpPr txBox="1"/>
          <p:nvPr/>
        </p:nvSpPr>
        <p:spPr>
          <a:xfrm>
            <a:off x="7255239" y="6397401"/>
            <a:ext cx="1708879" cy="369332"/>
          </a:xfrm>
          <a:prstGeom prst="rect">
            <a:avLst/>
          </a:prstGeom>
          <a:solidFill>
            <a:schemeClr val="bg1">
              <a:lumMod val="95000"/>
            </a:schemeClr>
          </a:solidFill>
        </p:spPr>
        <p:txBody>
          <a:bodyPr wrap="square" rtlCol="0">
            <a:spAutoFit/>
          </a:bodyPr>
          <a:lstStyle/>
          <a:p>
            <a:endParaRPr lang="en-US" dirty="0"/>
          </a:p>
        </p:txBody>
      </p:sp>
      <p:cxnSp>
        <p:nvCxnSpPr>
          <p:cNvPr id="12" name="Straight Connector 11"/>
          <p:cNvCxnSpPr/>
          <p:nvPr/>
        </p:nvCxnSpPr>
        <p:spPr>
          <a:xfrm rot="5400000">
            <a:off x="4594178" y="-1902157"/>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13" name="TextBox 1"/>
          <p:cNvSpPr txBox="1"/>
          <p:nvPr/>
        </p:nvSpPr>
        <p:spPr>
          <a:xfrm>
            <a:off x="3462663" y="6086007"/>
            <a:ext cx="3599434" cy="23434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1200" b="1" i="1" dirty="0" smtClean="0"/>
              <a:t>Source: Election Commission of India</a:t>
            </a:r>
            <a:endParaRPr lang="en-US" sz="1200" b="1" i="1" dirty="0"/>
          </a:p>
        </p:txBody>
      </p:sp>
    </p:spTree>
    <p:extLst>
      <p:ext uri="{BB962C8B-B14F-4D97-AF65-F5344CB8AC3E}">
        <p14:creationId xmlns:p14="http://schemas.microsoft.com/office/powerpoint/2010/main" xmlns="" val="3694392065"/>
      </p:ext>
    </p:extLst>
  </p:cSld>
  <p:clrMapOvr>
    <a:masterClrMapping/>
  </p:clrMapOvr>
  <p:transition spd="med">
    <p:plus/>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xmlns="" val="1220212714"/>
              </p:ext>
            </p:extLst>
          </p:nvPr>
        </p:nvGraphicFramePr>
        <p:xfrm>
          <a:off x="1588" y="1588"/>
          <a:ext cx="1587" cy="1587"/>
        </p:xfrm>
        <a:graphic>
          <a:graphicData uri="http://schemas.openxmlformats.org/presentationml/2006/ole">
            <p:oleObj spid="_x0000_s31746" name="think-cell Slide" r:id="rId4" imgW="360" imgH="360" progId="">
              <p:embed/>
            </p:oleObj>
          </a:graphicData>
        </a:graphic>
      </p:graphicFrame>
      <p:sp>
        <p:nvSpPr>
          <p:cNvPr id="8" name="TextBox 7"/>
          <p:cNvSpPr txBox="1"/>
          <p:nvPr/>
        </p:nvSpPr>
        <p:spPr>
          <a:xfrm>
            <a:off x="373197" y="532264"/>
            <a:ext cx="8543925" cy="492443"/>
          </a:xfrm>
          <a:prstGeom prst="rect">
            <a:avLst/>
          </a:prstGeom>
          <a:noFill/>
          <a:ln cmpd="sng">
            <a:noFill/>
          </a:ln>
        </p:spPr>
        <p:txBody>
          <a:bodyPr wrap="square" lIns="0" tIns="0" rIns="0" bIns="0" rtlCol="0">
            <a:spAutoFit/>
          </a:bodyPr>
          <a:lstStyle/>
          <a:p>
            <a:pPr algn="ctr"/>
            <a:r>
              <a:rPr lang="en-US" sz="3200" b="1" dirty="0" smtClean="0">
                <a:solidFill>
                  <a:srgbClr val="0D65AC"/>
                </a:solidFill>
                <a:latin typeface="+mj-lt"/>
              </a:rPr>
              <a:t>Vote Share</a:t>
            </a:r>
            <a:endParaRPr lang="en-US" sz="3200" b="1" dirty="0">
              <a:solidFill>
                <a:srgbClr val="0D65AC"/>
              </a:solidFill>
              <a:latin typeface="+mj-lt"/>
            </a:endParaRPr>
          </a:p>
        </p:txBody>
      </p:sp>
      <p:cxnSp>
        <p:nvCxnSpPr>
          <p:cNvPr id="11" name="Straight Connector 10"/>
          <p:cNvCxnSpPr/>
          <p:nvPr/>
        </p:nvCxnSpPr>
        <p:spPr>
          <a:xfrm rot="5400000">
            <a:off x="4594178" y="-1902157"/>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39" name="Freeform 13"/>
          <p:cNvSpPr>
            <a:spLocks noEditPoints="1"/>
          </p:cNvSpPr>
          <p:nvPr/>
        </p:nvSpPr>
        <p:spPr bwMode="auto">
          <a:xfrm rot="10585247" flipV="1">
            <a:off x="4417312" y="3187267"/>
            <a:ext cx="437938" cy="527565"/>
          </a:xfrm>
          <a:custGeom>
            <a:avLst/>
            <a:gdLst>
              <a:gd name="T0" fmla="*/ 2022 w 2403"/>
              <a:gd name="T1" fmla="*/ 144 h 2897"/>
              <a:gd name="T2" fmla="*/ 1852 w 2403"/>
              <a:gd name="T3" fmla="*/ 57 h 2897"/>
              <a:gd name="T4" fmla="*/ 1632 w 2403"/>
              <a:gd name="T5" fmla="*/ 1 h 2897"/>
              <a:gd name="T6" fmla="*/ 1548 w 2403"/>
              <a:gd name="T7" fmla="*/ 2 h 2897"/>
              <a:gd name="T8" fmla="*/ 1491 w 2403"/>
              <a:gd name="T9" fmla="*/ 23 h 2897"/>
              <a:gd name="T10" fmla="*/ 785 w 2403"/>
              <a:gd name="T11" fmla="*/ 948 h 2897"/>
              <a:gd name="T12" fmla="*/ 48 w 2403"/>
              <a:gd name="T13" fmla="*/ 1933 h 2897"/>
              <a:gd name="T14" fmla="*/ 30 w 2403"/>
              <a:gd name="T15" fmla="*/ 1995 h 2897"/>
              <a:gd name="T16" fmla="*/ 3 w 2403"/>
              <a:gd name="T17" fmla="*/ 2340 h 2897"/>
              <a:gd name="T18" fmla="*/ 7 w 2403"/>
              <a:gd name="T19" fmla="*/ 2732 h 2897"/>
              <a:gd name="T20" fmla="*/ 27 w 2403"/>
              <a:gd name="T21" fmla="*/ 2871 h 2897"/>
              <a:gd name="T22" fmla="*/ 42 w 2403"/>
              <a:gd name="T23" fmla="*/ 2891 h 2897"/>
              <a:gd name="T24" fmla="*/ 118 w 2403"/>
              <a:gd name="T25" fmla="*/ 2896 h 2897"/>
              <a:gd name="T26" fmla="*/ 340 w 2403"/>
              <a:gd name="T27" fmla="*/ 2850 h 2897"/>
              <a:gd name="T28" fmla="*/ 724 w 2403"/>
              <a:gd name="T29" fmla="*/ 2722 h 2897"/>
              <a:gd name="T30" fmla="*/ 926 w 2403"/>
              <a:gd name="T31" fmla="*/ 2628 h 2897"/>
              <a:gd name="T32" fmla="*/ 987 w 2403"/>
              <a:gd name="T33" fmla="*/ 2578 h 2897"/>
              <a:gd name="T34" fmla="*/ 1454 w 2403"/>
              <a:gd name="T35" fmla="*/ 1961 h 2897"/>
              <a:gd name="T36" fmla="*/ 2390 w 2403"/>
              <a:gd name="T37" fmla="*/ 675 h 2897"/>
              <a:gd name="T38" fmla="*/ 2403 w 2403"/>
              <a:gd name="T39" fmla="*/ 631 h 2897"/>
              <a:gd name="T40" fmla="*/ 2392 w 2403"/>
              <a:gd name="T41" fmla="*/ 562 h 2897"/>
              <a:gd name="T42" fmla="*/ 2334 w 2403"/>
              <a:gd name="T43" fmla="*/ 447 h 2897"/>
              <a:gd name="T44" fmla="*/ 2193 w 2403"/>
              <a:gd name="T45" fmla="*/ 279 h 2897"/>
              <a:gd name="T46" fmla="*/ 1398 w 2403"/>
              <a:gd name="T47" fmla="*/ 308 h 2897"/>
              <a:gd name="T48" fmla="*/ 1421 w 2403"/>
              <a:gd name="T49" fmla="*/ 290 h 2897"/>
              <a:gd name="T50" fmla="*/ 1468 w 2403"/>
              <a:gd name="T51" fmla="*/ 287 h 2897"/>
              <a:gd name="T52" fmla="*/ 1528 w 2403"/>
              <a:gd name="T53" fmla="*/ 313 h 2897"/>
              <a:gd name="T54" fmla="*/ 1580 w 2403"/>
              <a:gd name="T55" fmla="*/ 368 h 2897"/>
              <a:gd name="T56" fmla="*/ 1587 w 2403"/>
              <a:gd name="T57" fmla="*/ 409 h 2897"/>
              <a:gd name="T58" fmla="*/ 337 w 2403"/>
              <a:gd name="T59" fmla="*/ 1902 h 2897"/>
              <a:gd name="T60" fmla="*/ 473 w 2403"/>
              <a:gd name="T61" fmla="*/ 2660 h 2897"/>
              <a:gd name="T62" fmla="*/ 364 w 2403"/>
              <a:gd name="T63" fmla="*/ 2709 h 2897"/>
              <a:gd name="T64" fmla="*/ 169 w 2403"/>
              <a:gd name="T65" fmla="*/ 2764 h 2897"/>
              <a:gd name="T66" fmla="*/ 134 w 2403"/>
              <a:gd name="T67" fmla="*/ 2763 h 2897"/>
              <a:gd name="T68" fmla="*/ 125 w 2403"/>
              <a:gd name="T69" fmla="*/ 2643 h 2897"/>
              <a:gd name="T70" fmla="*/ 137 w 2403"/>
              <a:gd name="T71" fmla="*/ 2423 h 2897"/>
              <a:gd name="T72" fmla="*/ 151 w 2403"/>
              <a:gd name="T73" fmla="*/ 2404 h 2897"/>
              <a:gd name="T74" fmla="*/ 206 w 2403"/>
              <a:gd name="T75" fmla="*/ 2409 h 2897"/>
              <a:gd name="T76" fmla="*/ 355 w 2403"/>
              <a:gd name="T77" fmla="*/ 2486 h 2897"/>
              <a:gd name="T78" fmla="*/ 454 w 2403"/>
              <a:gd name="T79" fmla="*/ 2577 h 2897"/>
              <a:gd name="T80" fmla="*/ 480 w 2403"/>
              <a:gd name="T81" fmla="*/ 2630 h 2897"/>
              <a:gd name="T82" fmla="*/ 490 w 2403"/>
              <a:gd name="T83" fmla="*/ 2117 h 2897"/>
              <a:gd name="T84" fmla="*/ 1708 w 2403"/>
              <a:gd name="T85" fmla="*/ 446 h 2897"/>
              <a:gd name="T86" fmla="*/ 1748 w 2403"/>
              <a:gd name="T87" fmla="*/ 445 h 2897"/>
              <a:gd name="T88" fmla="*/ 1821 w 2403"/>
              <a:gd name="T89" fmla="*/ 478 h 2897"/>
              <a:gd name="T90" fmla="*/ 1867 w 2403"/>
              <a:gd name="T91" fmla="*/ 520 h 2897"/>
              <a:gd name="T92" fmla="*/ 1888 w 2403"/>
              <a:gd name="T93" fmla="*/ 565 h 2897"/>
              <a:gd name="T94" fmla="*/ 624 w 2403"/>
              <a:gd name="T95" fmla="*/ 2291 h 2897"/>
              <a:gd name="T96" fmla="*/ 902 w 2403"/>
              <a:gd name="T97" fmla="*/ 2386 h 2897"/>
              <a:gd name="T98" fmla="*/ 1979 w 2403"/>
              <a:gd name="T99" fmla="*/ 672 h 2897"/>
              <a:gd name="T100" fmla="*/ 2014 w 2403"/>
              <a:gd name="T101" fmla="*/ 670 h 2897"/>
              <a:gd name="T102" fmla="*/ 2067 w 2403"/>
              <a:gd name="T103" fmla="*/ 704 h 2897"/>
              <a:gd name="T104" fmla="*/ 2108 w 2403"/>
              <a:gd name="T105" fmla="*/ 754 h 2897"/>
              <a:gd name="T106" fmla="*/ 2123 w 2403"/>
              <a:gd name="T107" fmla="*/ 801 h 2897"/>
              <a:gd name="T108" fmla="*/ 2117 w 2403"/>
              <a:gd name="T109" fmla="*/ 835 h 2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03" h="2897">
                <a:moveTo>
                  <a:pt x="2095" y="193"/>
                </a:moveTo>
                <a:lnTo>
                  <a:pt x="2095" y="193"/>
                </a:lnTo>
                <a:lnTo>
                  <a:pt x="2071" y="176"/>
                </a:lnTo>
                <a:lnTo>
                  <a:pt x="2046" y="159"/>
                </a:lnTo>
                <a:lnTo>
                  <a:pt x="2022" y="144"/>
                </a:lnTo>
                <a:lnTo>
                  <a:pt x="1998" y="129"/>
                </a:lnTo>
                <a:lnTo>
                  <a:pt x="1974" y="115"/>
                </a:lnTo>
                <a:lnTo>
                  <a:pt x="1948" y="101"/>
                </a:lnTo>
                <a:lnTo>
                  <a:pt x="1900" y="78"/>
                </a:lnTo>
                <a:lnTo>
                  <a:pt x="1852" y="57"/>
                </a:lnTo>
                <a:lnTo>
                  <a:pt x="1803" y="40"/>
                </a:lnTo>
                <a:lnTo>
                  <a:pt x="1757" y="25"/>
                </a:lnTo>
                <a:lnTo>
                  <a:pt x="1714" y="14"/>
                </a:lnTo>
                <a:lnTo>
                  <a:pt x="1671" y="6"/>
                </a:lnTo>
                <a:lnTo>
                  <a:pt x="1632" y="1"/>
                </a:lnTo>
                <a:lnTo>
                  <a:pt x="1613" y="0"/>
                </a:lnTo>
                <a:lnTo>
                  <a:pt x="1595" y="0"/>
                </a:lnTo>
                <a:lnTo>
                  <a:pt x="1580" y="0"/>
                </a:lnTo>
                <a:lnTo>
                  <a:pt x="1564" y="1"/>
                </a:lnTo>
                <a:lnTo>
                  <a:pt x="1548" y="2"/>
                </a:lnTo>
                <a:lnTo>
                  <a:pt x="1535" y="5"/>
                </a:lnTo>
                <a:lnTo>
                  <a:pt x="1521" y="8"/>
                </a:lnTo>
                <a:lnTo>
                  <a:pt x="1511" y="12"/>
                </a:lnTo>
                <a:lnTo>
                  <a:pt x="1500" y="17"/>
                </a:lnTo>
                <a:lnTo>
                  <a:pt x="1491" y="23"/>
                </a:lnTo>
                <a:lnTo>
                  <a:pt x="1484" y="29"/>
                </a:lnTo>
                <a:lnTo>
                  <a:pt x="1477" y="36"/>
                </a:lnTo>
                <a:lnTo>
                  <a:pt x="1477" y="36"/>
                </a:lnTo>
                <a:lnTo>
                  <a:pt x="1253" y="331"/>
                </a:lnTo>
                <a:lnTo>
                  <a:pt x="785" y="948"/>
                </a:lnTo>
                <a:lnTo>
                  <a:pt x="532" y="1283"/>
                </a:lnTo>
                <a:lnTo>
                  <a:pt x="304" y="1584"/>
                </a:lnTo>
                <a:lnTo>
                  <a:pt x="134" y="1813"/>
                </a:lnTo>
                <a:lnTo>
                  <a:pt x="78" y="1890"/>
                </a:lnTo>
                <a:lnTo>
                  <a:pt x="48" y="1933"/>
                </a:lnTo>
                <a:lnTo>
                  <a:pt x="48" y="1933"/>
                </a:lnTo>
                <a:lnTo>
                  <a:pt x="43" y="1943"/>
                </a:lnTo>
                <a:lnTo>
                  <a:pt x="38" y="1956"/>
                </a:lnTo>
                <a:lnTo>
                  <a:pt x="33" y="1974"/>
                </a:lnTo>
                <a:lnTo>
                  <a:pt x="30" y="1995"/>
                </a:lnTo>
                <a:lnTo>
                  <a:pt x="23" y="2047"/>
                </a:lnTo>
                <a:lnTo>
                  <a:pt x="15" y="2110"/>
                </a:lnTo>
                <a:lnTo>
                  <a:pt x="10" y="2181"/>
                </a:lnTo>
                <a:lnTo>
                  <a:pt x="6" y="2259"/>
                </a:lnTo>
                <a:lnTo>
                  <a:pt x="3" y="2340"/>
                </a:lnTo>
                <a:lnTo>
                  <a:pt x="1" y="2423"/>
                </a:lnTo>
                <a:lnTo>
                  <a:pt x="0" y="2507"/>
                </a:lnTo>
                <a:lnTo>
                  <a:pt x="1" y="2588"/>
                </a:lnTo>
                <a:lnTo>
                  <a:pt x="3" y="2663"/>
                </a:lnTo>
                <a:lnTo>
                  <a:pt x="7" y="2732"/>
                </a:lnTo>
                <a:lnTo>
                  <a:pt x="12" y="2790"/>
                </a:lnTo>
                <a:lnTo>
                  <a:pt x="15" y="2815"/>
                </a:lnTo>
                <a:lnTo>
                  <a:pt x="19" y="2837"/>
                </a:lnTo>
                <a:lnTo>
                  <a:pt x="23" y="2856"/>
                </a:lnTo>
                <a:lnTo>
                  <a:pt x="27" y="2871"/>
                </a:lnTo>
                <a:lnTo>
                  <a:pt x="32" y="2882"/>
                </a:lnTo>
                <a:lnTo>
                  <a:pt x="35" y="2885"/>
                </a:lnTo>
                <a:lnTo>
                  <a:pt x="37" y="2888"/>
                </a:lnTo>
                <a:lnTo>
                  <a:pt x="37" y="2888"/>
                </a:lnTo>
                <a:lnTo>
                  <a:pt x="42" y="2891"/>
                </a:lnTo>
                <a:lnTo>
                  <a:pt x="47" y="2893"/>
                </a:lnTo>
                <a:lnTo>
                  <a:pt x="60" y="2896"/>
                </a:lnTo>
                <a:lnTo>
                  <a:pt x="76" y="2897"/>
                </a:lnTo>
                <a:lnTo>
                  <a:pt x="95" y="2897"/>
                </a:lnTo>
                <a:lnTo>
                  <a:pt x="118" y="2896"/>
                </a:lnTo>
                <a:lnTo>
                  <a:pt x="144" y="2893"/>
                </a:lnTo>
                <a:lnTo>
                  <a:pt x="171" y="2888"/>
                </a:lnTo>
                <a:lnTo>
                  <a:pt x="202" y="2883"/>
                </a:lnTo>
                <a:lnTo>
                  <a:pt x="267" y="2868"/>
                </a:lnTo>
                <a:lnTo>
                  <a:pt x="340" y="2850"/>
                </a:lnTo>
                <a:lnTo>
                  <a:pt x="416" y="2829"/>
                </a:lnTo>
                <a:lnTo>
                  <a:pt x="494" y="2804"/>
                </a:lnTo>
                <a:lnTo>
                  <a:pt x="573" y="2778"/>
                </a:lnTo>
                <a:lnTo>
                  <a:pt x="650" y="2751"/>
                </a:lnTo>
                <a:lnTo>
                  <a:pt x="724" y="2722"/>
                </a:lnTo>
                <a:lnTo>
                  <a:pt x="793" y="2694"/>
                </a:lnTo>
                <a:lnTo>
                  <a:pt x="854" y="2666"/>
                </a:lnTo>
                <a:lnTo>
                  <a:pt x="880" y="2653"/>
                </a:lnTo>
                <a:lnTo>
                  <a:pt x="904" y="2641"/>
                </a:lnTo>
                <a:lnTo>
                  <a:pt x="926" y="2628"/>
                </a:lnTo>
                <a:lnTo>
                  <a:pt x="946" y="2617"/>
                </a:lnTo>
                <a:lnTo>
                  <a:pt x="960" y="2605"/>
                </a:lnTo>
                <a:lnTo>
                  <a:pt x="972" y="2595"/>
                </a:lnTo>
                <a:lnTo>
                  <a:pt x="972" y="2595"/>
                </a:lnTo>
                <a:lnTo>
                  <a:pt x="987" y="2578"/>
                </a:lnTo>
                <a:lnTo>
                  <a:pt x="1007" y="2554"/>
                </a:lnTo>
                <a:lnTo>
                  <a:pt x="1064" y="2480"/>
                </a:lnTo>
                <a:lnTo>
                  <a:pt x="1142" y="2380"/>
                </a:lnTo>
                <a:lnTo>
                  <a:pt x="1234" y="2257"/>
                </a:lnTo>
                <a:lnTo>
                  <a:pt x="1454" y="1961"/>
                </a:lnTo>
                <a:lnTo>
                  <a:pt x="1697" y="1630"/>
                </a:lnTo>
                <a:lnTo>
                  <a:pt x="1939" y="1298"/>
                </a:lnTo>
                <a:lnTo>
                  <a:pt x="2153" y="1004"/>
                </a:lnTo>
                <a:lnTo>
                  <a:pt x="2311" y="784"/>
                </a:lnTo>
                <a:lnTo>
                  <a:pt x="2390" y="675"/>
                </a:lnTo>
                <a:lnTo>
                  <a:pt x="2390" y="675"/>
                </a:lnTo>
                <a:lnTo>
                  <a:pt x="2395" y="665"/>
                </a:lnTo>
                <a:lnTo>
                  <a:pt x="2400" y="654"/>
                </a:lnTo>
                <a:lnTo>
                  <a:pt x="2402" y="643"/>
                </a:lnTo>
                <a:lnTo>
                  <a:pt x="2403" y="631"/>
                </a:lnTo>
                <a:lnTo>
                  <a:pt x="2403" y="618"/>
                </a:lnTo>
                <a:lnTo>
                  <a:pt x="2403" y="605"/>
                </a:lnTo>
                <a:lnTo>
                  <a:pt x="2401" y="591"/>
                </a:lnTo>
                <a:lnTo>
                  <a:pt x="2397" y="577"/>
                </a:lnTo>
                <a:lnTo>
                  <a:pt x="2392" y="562"/>
                </a:lnTo>
                <a:lnTo>
                  <a:pt x="2386" y="547"/>
                </a:lnTo>
                <a:lnTo>
                  <a:pt x="2380" y="531"/>
                </a:lnTo>
                <a:lnTo>
                  <a:pt x="2373" y="514"/>
                </a:lnTo>
                <a:lnTo>
                  <a:pt x="2355" y="481"/>
                </a:lnTo>
                <a:lnTo>
                  <a:pt x="2334" y="447"/>
                </a:lnTo>
                <a:lnTo>
                  <a:pt x="2310" y="412"/>
                </a:lnTo>
                <a:lnTo>
                  <a:pt x="2284" y="378"/>
                </a:lnTo>
                <a:lnTo>
                  <a:pt x="2255" y="345"/>
                </a:lnTo>
                <a:lnTo>
                  <a:pt x="2226" y="311"/>
                </a:lnTo>
                <a:lnTo>
                  <a:pt x="2193" y="279"/>
                </a:lnTo>
                <a:lnTo>
                  <a:pt x="2161" y="248"/>
                </a:lnTo>
                <a:lnTo>
                  <a:pt x="2128" y="220"/>
                </a:lnTo>
                <a:lnTo>
                  <a:pt x="2095" y="193"/>
                </a:lnTo>
                <a:lnTo>
                  <a:pt x="2095" y="193"/>
                </a:lnTo>
                <a:close/>
                <a:moveTo>
                  <a:pt x="1398" y="308"/>
                </a:moveTo>
                <a:lnTo>
                  <a:pt x="1398" y="308"/>
                </a:lnTo>
                <a:lnTo>
                  <a:pt x="1400" y="306"/>
                </a:lnTo>
                <a:lnTo>
                  <a:pt x="1405" y="300"/>
                </a:lnTo>
                <a:lnTo>
                  <a:pt x="1415" y="294"/>
                </a:lnTo>
                <a:lnTo>
                  <a:pt x="1421" y="290"/>
                </a:lnTo>
                <a:lnTo>
                  <a:pt x="1428" y="288"/>
                </a:lnTo>
                <a:lnTo>
                  <a:pt x="1437" y="285"/>
                </a:lnTo>
                <a:lnTo>
                  <a:pt x="1445" y="284"/>
                </a:lnTo>
                <a:lnTo>
                  <a:pt x="1456" y="284"/>
                </a:lnTo>
                <a:lnTo>
                  <a:pt x="1468" y="287"/>
                </a:lnTo>
                <a:lnTo>
                  <a:pt x="1482" y="290"/>
                </a:lnTo>
                <a:lnTo>
                  <a:pt x="1495" y="295"/>
                </a:lnTo>
                <a:lnTo>
                  <a:pt x="1511" y="303"/>
                </a:lnTo>
                <a:lnTo>
                  <a:pt x="1528" y="313"/>
                </a:lnTo>
                <a:lnTo>
                  <a:pt x="1528" y="313"/>
                </a:lnTo>
                <a:lnTo>
                  <a:pt x="1542" y="325"/>
                </a:lnTo>
                <a:lnTo>
                  <a:pt x="1555" y="336"/>
                </a:lnTo>
                <a:lnTo>
                  <a:pt x="1565" y="347"/>
                </a:lnTo>
                <a:lnTo>
                  <a:pt x="1573" y="357"/>
                </a:lnTo>
                <a:lnTo>
                  <a:pt x="1580" y="368"/>
                </a:lnTo>
                <a:lnTo>
                  <a:pt x="1583" y="376"/>
                </a:lnTo>
                <a:lnTo>
                  <a:pt x="1586" y="386"/>
                </a:lnTo>
                <a:lnTo>
                  <a:pt x="1587" y="394"/>
                </a:lnTo>
                <a:lnTo>
                  <a:pt x="1588" y="401"/>
                </a:lnTo>
                <a:lnTo>
                  <a:pt x="1587" y="409"/>
                </a:lnTo>
                <a:lnTo>
                  <a:pt x="1584" y="420"/>
                </a:lnTo>
                <a:lnTo>
                  <a:pt x="1582" y="427"/>
                </a:lnTo>
                <a:lnTo>
                  <a:pt x="1581" y="429"/>
                </a:lnTo>
                <a:lnTo>
                  <a:pt x="337" y="2076"/>
                </a:lnTo>
                <a:lnTo>
                  <a:pt x="337" y="1902"/>
                </a:lnTo>
                <a:lnTo>
                  <a:pt x="239" y="1865"/>
                </a:lnTo>
                <a:lnTo>
                  <a:pt x="1398" y="308"/>
                </a:lnTo>
                <a:close/>
                <a:moveTo>
                  <a:pt x="475" y="2657"/>
                </a:moveTo>
                <a:lnTo>
                  <a:pt x="475" y="2657"/>
                </a:lnTo>
                <a:lnTo>
                  <a:pt x="473" y="2660"/>
                </a:lnTo>
                <a:lnTo>
                  <a:pt x="469" y="2664"/>
                </a:lnTo>
                <a:lnTo>
                  <a:pt x="456" y="2671"/>
                </a:lnTo>
                <a:lnTo>
                  <a:pt x="439" y="2680"/>
                </a:lnTo>
                <a:lnTo>
                  <a:pt x="417" y="2689"/>
                </a:lnTo>
                <a:lnTo>
                  <a:pt x="364" y="2709"/>
                </a:lnTo>
                <a:lnTo>
                  <a:pt x="304" y="2729"/>
                </a:lnTo>
                <a:lnTo>
                  <a:pt x="244" y="2746"/>
                </a:lnTo>
                <a:lnTo>
                  <a:pt x="216" y="2754"/>
                </a:lnTo>
                <a:lnTo>
                  <a:pt x="191" y="2760"/>
                </a:lnTo>
                <a:lnTo>
                  <a:pt x="169" y="2764"/>
                </a:lnTo>
                <a:lnTo>
                  <a:pt x="152" y="2767"/>
                </a:lnTo>
                <a:lnTo>
                  <a:pt x="140" y="2767"/>
                </a:lnTo>
                <a:lnTo>
                  <a:pt x="135" y="2766"/>
                </a:lnTo>
                <a:lnTo>
                  <a:pt x="134" y="2763"/>
                </a:lnTo>
                <a:lnTo>
                  <a:pt x="134" y="2763"/>
                </a:lnTo>
                <a:lnTo>
                  <a:pt x="130" y="2756"/>
                </a:lnTo>
                <a:lnTo>
                  <a:pt x="129" y="2743"/>
                </a:lnTo>
                <a:lnTo>
                  <a:pt x="127" y="2723"/>
                </a:lnTo>
                <a:lnTo>
                  <a:pt x="127" y="2700"/>
                </a:lnTo>
                <a:lnTo>
                  <a:pt x="125" y="2643"/>
                </a:lnTo>
                <a:lnTo>
                  <a:pt x="127" y="2581"/>
                </a:lnTo>
                <a:lnTo>
                  <a:pt x="129" y="2518"/>
                </a:lnTo>
                <a:lnTo>
                  <a:pt x="133" y="2462"/>
                </a:lnTo>
                <a:lnTo>
                  <a:pt x="135" y="2440"/>
                </a:lnTo>
                <a:lnTo>
                  <a:pt x="137" y="2423"/>
                </a:lnTo>
                <a:lnTo>
                  <a:pt x="140" y="2411"/>
                </a:lnTo>
                <a:lnTo>
                  <a:pt x="141" y="2407"/>
                </a:lnTo>
                <a:lnTo>
                  <a:pt x="142" y="2406"/>
                </a:lnTo>
                <a:lnTo>
                  <a:pt x="142" y="2406"/>
                </a:lnTo>
                <a:lnTo>
                  <a:pt x="151" y="2404"/>
                </a:lnTo>
                <a:lnTo>
                  <a:pt x="159" y="2403"/>
                </a:lnTo>
                <a:lnTo>
                  <a:pt x="170" y="2403"/>
                </a:lnTo>
                <a:lnTo>
                  <a:pt x="181" y="2404"/>
                </a:lnTo>
                <a:lnTo>
                  <a:pt x="193" y="2406"/>
                </a:lnTo>
                <a:lnTo>
                  <a:pt x="206" y="2409"/>
                </a:lnTo>
                <a:lnTo>
                  <a:pt x="234" y="2418"/>
                </a:lnTo>
                <a:lnTo>
                  <a:pt x="263" y="2432"/>
                </a:lnTo>
                <a:lnTo>
                  <a:pt x="295" y="2447"/>
                </a:lnTo>
                <a:lnTo>
                  <a:pt x="325" y="2466"/>
                </a:lnTo>
                <a:lnTo>
                  <a:pt x="355" y="2486"/>
                </a:lnTo>
                <a:lnTo>
                  <a:pt x="384" y="2508"/>
                </a:lnTo>
                <a:lnTo>
                  <a:pt x="411" y="2531"/>
                </a:lnTo>
                <a:lnTo>
                  <a:pt x="435" y="2554"/>
                </a:lnTo>
                <a:lnTo>
                  <a:pt x="445" y="2565"/>
                </a:lnTo>
                <a:lnTo>
                  <a:pt x="454" y="2577"/>
                </a:lnTo>
                <a:lnTo>
                  <a:pt x="462" y="2588"/>
                </a:lnTo>
                <a:lnTo>
                  <a:pt x="469" y="2599"/>
                </a:lnTo>
                <a:lnTo>
                  <a:pt x="474" y="2610"/>
                </a:lnTo>
                <a:lnTo>
                  <a:pt x="477" y="2620"/>
                </a:lnTo>
                <a:lnTo>
                  <a:pt x="480" y="2630"/>
                </a:lnTo>
                <a:lnTo>
                  <a:pt x="480" y="2640"/>
                </a:lnTo>
                <a:lnTo>
                  <a:pt x="479" y="2649"/>
                </a:lnTo>
                <a:lnTo>
                  <a:pt x="475" y="2657"/>
                </a:lnTo>
                <a:lnTo>
                  <a:pt x="475" y="2657"/>
                </a:lnTo>
                <a:close/>
                <a:moveTo>
                  <a:pt x="490" y="2117"/>
                </a:moveTo>
                <a:lnTo>
                  <a:pt x="1692" y="455"/>
                </a:lnTo>
                <a:lnTo>
                  <a:pt x="1692" y="455"/>
                </a:lnTo>
                <a:lnTo>
                  <a:pt x="1694" y="453"/>
                </a:lnTo>
                <a:lnTo>
                  <a:pt x="1699" y="450"/>
                </a:lnTo>
                <a:lnTo>
                  <a:pt x="1708" y="446"/>
                </a:lnTo>
                <a:lnTo>
                  <a:pt x="1713" y="444"/>
                </a:lnTo>
                <a:lnTo>
                  <a:pt x="1720" y="443"/>
                </a:lnTo>
                <a:lnTo>
                  <a:pt x="1728" y="443"/>
                </a:lnTo>
                <a:lnTo>
                  <a:pt x="1737" y="444"/>
                </a:lnTo>
                <a:lnTo>
                  <a:pt x="1748" y="445"/>
                </a:lnTo>
                <a:lnTo>
                  <a:pt x="1760" y="449"/>
                </a:lnTo>
                <a:lnTo>
                  <a:pt x="1773" y="452"/>
                </a:lnTo>
                <a:lnTo>
                  <a:pt x="1788" y="460"/>
                </a:lnTo>
                <a:lnTo>
                  <a:pt x="1803" y="468"/>
                </a:lnTo>
                <a:lnTo>
                  <a:pt x="1821" y="478"/>
                </a:lnTo>
                <a:lnTo>
                  <a:pt x="1821" y="478"/>
                </a:lnTo>
                <a:lnTo>
                  <a:pt x="1836" y="489"/>
                </a:lnTo>
                <a:lnTo>
                  <a:pt x="1849" y="499"/>
                </a:lnTo>
                <a:lnTo>
                  <a:pt x="1859" y="509"/>
                </a:lnTo>
                <a:lnTo>
                  <a:pt x="1867" y="520"/>
                </a:lnTo>
                <a:lnTo>
                  <a:pt x="1875" y="530"/>
                </a:lnTo>
                <a:lnTo>
                  <a:pt x="1880" y="539"/>
                </a:lnTo>
                <a:lnTo>
                  <a:pt x="1883" y="549"/>
                </a:lnTo>
                <a:lnTo>
                  <a:pt x="1887" y="558"/>
                </a:lnTo>
                <a:lnTo>
                  <a:pt x="1888" y="565"/>
                </a:lnTo>
                <a:lnTo>
                  <a:pt x="1888" y="572"/>
                </a:lnTo>
                <a:lnTo>
                  <a:pt x="1888" y="584"/>
                </a:lnTo>
                <a:lnTo>
                  <a:pt x="1887" y="591"/>
                </a:lnTo>
                <a:lnTo>
                  <a:pt x="1886" y="594"/>
                </a:lnTo>
                <a:lnTo>
                  <a:pt x="624" y="2291"/>
                </a:lnTo>
                <a:lnTo>
                  <a:pt x="624" y="2094"/>
                </a:lnTo>
                <a:lnTo>
                  <a:pt x="490" y="2117"/>
                </a:lnTo>
                <a:close/>
                <a:moveTo>
                  <a:pt x="2117" y="835"/>
                </a:moveTo>
                <a:lnTo>
                  <a:pt x="937" y="2462"/>
                </a:lnTo>
                <a:lnTo>
                  <a:pt x="902" y="2386"/>
                </a:lnTo>
                <a:lnTo>
                  <a:pt x="750" y="2359"/>
                </a:lnTo>
                <a:lnTo>
                  <a:pt x="1973" y="677"/>
                </a:lnTo>
                <a:lnTo>
                  <a:pt x="1973" y="677"/>
                </a:lnTo>
                <a:lnTo>
                  <a:pt x="1975" y="676"/>
                </a:lnTo>
                <a:lnTo>
                  <a:pt x="1979" y="672"/>
                </a:lnTo>
                <a:lnTo>
                  <a:pt x="1987" y="669"/>
                </a:lnTo>
                <a:lnTo>
                  <a:pt x="1992" y="669"/>
                </a:lnTo>
                <a:lnTo>
                  <a:pt x="1998" y="668"/>
                </a:lnTo>
                <a:lnTo>
                  <a:pt x="2005" y="669"/>
                </a:lnTo>
                <a:lnTo>
                  <a:pt x="2014" y="670"/>
                </a:lnTo>
                <a:lnTo>
                  <a:pt x="2022" y="674"/>
                </a:lnTo>
                <a:lnTo>
                  <a:pt x="2032" y="679"/>
                </a:lnTo>
                <a:lnTo>
                  <a:pt x="2043" y="685"/>
                </a:lnTo>
                <a:lnTo>
                  <a:pt x="2055" y="693"/>
                </a:lnTo>
                <a:lnTo>
                  <a:pt x="2067" y="704"/>
                </a:lnTo>
                <a:lnTo>
                  <a:pt x="2080" y="718"/>
                </a:lnTo>
                <a:lnTo>
                  <a:pt x="2080" y="718"/>
                </a:lnTo>
                <a:lnTo>
                  <a:pt x="2091" y="731"/>
                </a:lnTo>
                <a:lnTo>
                  <a:pt x="2101" y="741"/>
                </a:lnTo>
                <a:lnTo>
                  <a:pt x="2108" y="754"/>
                </a:lnTo>
                <a:lnTo>
                  <a:pt x="2113" y="764"/>
                </a:lnTo>
                <a:lnTo>
                  <a:pt x="2118" y="774"/>
                </a:lnTo>
                <a:lnTo>
                  <a:pt x="2120" y="784"/>
                </a:lnTo>
                <a:lnTo>
                  <a:pt x="2121" y="793"/>
                </a:lnTo>
                <a:lnTo>
                  <a:pt x="2123" y="801"/>
                </a:lnTo>
                <a:lnTo>
                  <a:pt x="2121" y="815"/>
                </a:lnTo>
                <a:lnTo>
                  <a:pt x="2120" y="826"/>
                </a:lnTo>
                <a:lnTo>
                  <a:pt x="2118" y="832"/>
                </a:lnTo>
                <a:lnTo>
                  <a:pt x="2117" y="835"/>
                </a:lnTo>
                <a:lnTo>
                  <a:pt x="2117" y="835"/>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p>
        </p:txBody>
      </p:sp>
      <p:sp>
        <p:nvSpPr>
          <p:cNvPr id="3" name="Up-Down Arrow 2"/>
          <p:cNvSpPr/>
          <p:nvPr/>
        </p:nvSpPr>
        <p:spPr>
          <a:xfrm rot="16200000">
            <a:off x="2551245" y="3029819"/>
            <a:ext cx="137430" cy="842465"/>
          </a:xfrm>
          <a:prstGeom prst="upDownArrow">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9" name="Oval 8"/>
          <p:cNvSpPr/>
          <p:nvPr/>
        </p:nvSpPr>
        <p:spPr>
          <a:xfrm>
            <a:off x="2525982" y="3347676"/>
            <a:ext cx="187954" cy="206749"/>
          </a:xfrm>
          <a:prstGeom prst="ellipse">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graphicFrame>
        <p:nvGraphicFramePr>
          <p:cNvPr id="18" name="Content Placeholder 3"/>
          <p:cNvGraphicFramePr>
            <a:graphicFrameLocks/>
          </p:cNvGraphicFramePr>
          <p:nvPr/>
        </p:nvGraphicFramePr>
        <p:xfrm>
          <a:off x="1014483" y="1554163"/>
          <a:ext cx="7733732" cy="4525962"/>
        </p:xfrm>
        <a:graphic>
          <a:graphicData uri="http://schemas.openxmlformats.org/drawingml/2006/chart">
            <c:chart xmlns:c="http://schemas.openxmlformats.org/drawingml/2006/chart" xmlns:r="http://schemas.openxmlformats.org/officeDocument/2006/relationships" r:id="rId5"/>
          </a:graphicData>
        </a:graphic>
      </p:graphicFrame>
      <p:sp>
        <p:nvSpPr>
          <p:cNvPr id="19" name="Rectangle 18"/>
          <p:cNvSpPr/>
          <p:nvPr/>
        </p:nvSpPr>
        <p:spPr>
          <a:xfrm>
            <a:off x="373197" y="6387152"/>
            <a:ext cx="4572000" cy="253916"/>
          </a:xfrm>
          <a:prstGeom prst="rect">
            <a:avLst/>
          </a:prstGeom>
        </p:spPr>
        <p:txBody>
          <a:bodyPr>
            <a:spAutoFit/>
          </a:bodyPr>
          <a:lstStyle/>
          <a:p>
            <a:r>
              <a:rPr lang="en-US" sz="1050" b="1" i="1" dirty="0" smtClean="0"/>
              <a:t>What deters the unveiling of Legislative Process?</a:t>
            </a:r>
            <a:endParaRPr lang="en-US" sz="1050" dirty="0"/>
          </a:p>
        </p:txBody>
      </p:sp>
      <p:sp>
        <p:nvSpPr>
          <p:cNvPr id="12" name="TextBox 1"/>
          <p:cNvSpPr txBox="1"/>
          <p:nvPr/>
        </p:nvSpPr>
        <p:spPr>
          <a:xfrm>
            <a:off x="5148781" y="6203177"/>
            <a:ext cx="3599434" cy="23434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1200" b="1" i="1" dirty="0" smtClean="0"/>
              <a:t>Source: Election Commission of India</a:t>
            </a:r>
            <a:endParaRPr lang="en-US" sz="1200" b="1" i="1" dirty="0"/>
          </a:p>
        </p:txBody>
      </p:sp>
    </p:spTree>
    <p:extLst>
      <p:ext uri="{BB962C8B-B14F-4D97-AF65-F5344CB8AC3E}">
        <p14:creationId xmlns:p14="http://schemas.microsoft.com/office/powerpoint/2010/main" xmlns="" val="3796730251"/>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withEffect">
                                  <p:stCondLst>
                                    <p:cond delay="0"/>
                                  </p:stCondLst>
                                  <p:childTnLst>
                                    <p:animRot by="10800000">
                                      <p:cBhvr>
                                        <p:cTn id="6" dur="750" fill="hold"/>
                                        <p:tgtEl>
                                          <p:spTgt spid="3"/>
                                        </p:tgtEl>
                                        <p:attrNameLst>
                                          <p:attrName>r</p:attrName>
                                        </p:attrNameLst>
                                      </p:cBhvr>
                                    </p:animRot>
                                  </p:childTnLst>
                                </p:cTn>
                              </p:par>
                            </p:childTnLst>
                          </p:cTn>
                        </p:par>
                        <p:par>
                          <p:cTn id="7" fill="hold">
                            <p:stCondLst>
                              <p:cond delay="750"/>
                            </p:stCondLst>
                            <p:childTnLst>
                              <p:par>
                                <p:cTn id="8" presetID="32" presetClass="emph" presetSubtype="0" fill="hold" grpId="0" nodeType="afterEffect">
                                  <p:stCondLst>
                                    <p:cond delay="0"/>
                                  </p:stCondLst>
                                  <p:childTnLst>
                                    <p:animRot by="120000">
                                      <p:cBhvr>
                                        <p:cTn id="9" dur="75" fill="hold">
                                          <p:stCondLst>
                                            <p:cond delay="0"/>
                                          </p:stCondLst>
                                        </p:cTn>
                                        <p:tgtEl>
                                          <p:spTgt spid="39"/>
                                        </p:tgtEl>
                                        <p:attrNameLst>
                                          <p:attrName>r</p:attrName>
                                        </p:attrNameLst>
                                      </p:cBhvr>
                                    </p:animRot>
                                    <p:animRot by="-240000">
                                      <p:cBhvr>
                                        <p:cTn id="10" dur="150" fill="hold">
                                          <p:stCondLst>
                                            <p:cond delay="150"/>
                                          </p:stCondLst>
                                        </p:cTn>
                                        <p:tgtEl>
                                          <p:spTgt spid="39"/>
                                        </p:tgtEl>
                                        <p:attrNameLst>
                                          <p:attrName>r</p:attrName>
                                        </p:attrNameLst>
                                      </p:cBhvr>
                                    </p:animRot>
                                    <p:animRot by="240000">
                                      <p:cBhvr>
                                        <p:cTn id="11" dur="150" fill="hold">
                                          <p:stCondLst>
                                            <p:cond delay="300"/>
                                          </p:stCondLst>
                                        </p:cTn>
                                        <p:tgtEl>
                                          <p:spTgt spid="39"/>
                                        </p:tgtEl>
                                        <p:attrNameLst>
                                          <p:attrName>r</p:attrName>
                                        </p:attrNameLst>
                                      </p:cBhvr>
                                    </p:animRot>
                                    <p:animRot by="-240000">
                                      <p:cBhvr>
                                        <p:cTn id="12" dur="150" fill="hold">
                                          <p:stCondLst>
                                            <p:cond delay="450"/>
                                          </p:stCondLst>
                                        </p:cTn>
                                        <p:tgtEl>
                                          <p:spTgt spid="39"/>
                                        </p:tgtEl>
                                        <p:attrNameLst>
                                          <p:attrName>r</p:attrName>
                                        </p:attrNameLst>
                                      </p:cBhvr>
                                    </p:animRot>
                                    <p:animRot by="120000">
                                      <p:cBhvr>
                                        <p:cTn id="13" dur="150" fill="hold">
                                          <p:stCondLst>
                                            <p:cond delay="600"/>
                                          </p:stCondLst>
                                        </p:cTn>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xmlns="" val="1220212714"/>
              </p:ext>
            </p:extLst>
          </p:nvPr>
        </p:nvGraphicFramePr>
        <p:xfrm>
          <a:off x="1588" y="1588"/>
          <a:ext cx="1587" cy="1587"/>
        </p:xfrm>
        <a:graphic>
          <a:graphicData uri="http://schemas.openxmlformats.org/presentationml/2006/ole">
            <p:oleObj spid="_x0000_s32770" name="think-cell Slide" r:id="rId4" imgW="360" imgH="360" progId="">
              <p:embed/>
            </p:oleObj>
          </a:graphicData>
        </a:graphic>
      </p:graphicFrame>
      <p:sp>
        <p:nvSpPr>
          <p:cNvPr id="8" name="TextBox 7"/>
          <p:cNvSpPr txBox="1"/>
          <p:nvPr/>
        </p:nvSpPr>
        <p:spPr>
          <a:xfrm>
            <a:off x="373197" y="532264"/>
            <a:ext cx="8543925" cy="492443"/>
          </a:xfrm>
          <a:prstGeom prst="rect">
            <a:avLst/>
          </a:prstGeom>
          <a:noFill/>
        </p:spPr>
        <p:txBody>
          <a:bodyPr wrap="square" lIns="0" tIns="0" rIns="0" bIns="0" rtlCol="0">
            <a:spAutoFit/>
          </a:bodyPr>
          <a:lstStyle/>
          <a:p>
            <a:pPr algn="ctr"/>
            <a:r>
              <a:rPr lang="en-US" sz="3200" b="1" dirty="0" smtClean="0">
                <a:solidFill>
                  <a:srgbClr val="0D65AC"/>
                </a:solidFill>
                <a:latin typeface="+mj-lt"/>
              </a:rPr>
              <a:t>Seat Share</a:t>
            </a:r>
            <a:endParaRPr lang="en-US" sz="3200" b="1" dirty="0">
              <a:solidFill>
                <a:srgbClr val="0D65AC"/>
              </a:solidFill>
              <a:latin typeface="+mj-lt"/>
            </a:endParaRPr>
          </a:p>
        </p:txBody>
      </p:sp>
      <p:cxnSp>
        <p:nvCxnSpPr>
          <p:cNvPr id="11" name="Straight Connector 10"/>
          <p:cNvCxnSpPr/>
          <p:nvPr/>
        </p:nvCxnSpPr>
        <p:spPr>
          <a:xfrm rot="5400000">
            <a:off x="4594178" y="-1902157"/>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39" name="Freeform 13"/>
          <p:cNvSpPr>
            <a:spLocks noEditPoints="1"/>
          </p:cNvSpPr>
          <p:nvPr/>
        </p:nvSpPr>
        <p:spPr bwMode="auto">
          <a:xfrm rot="10585247" flipV="1">
            <a:off x="4417312" y="3187267"/>
            <a:ext cx="437938" cy="527565"/>
          </a:xfrm>
          <a:custGeom>
            <a:avLst/>
            <a:gdLst>
              <a:gd name="T0" fmla="*/ 2022 w 2403"/>
              <a:gd name="T1" fmla="*/ 144 h 2897"/>
              <a:gd name="T2" fmla="*/ 1852 w 2403"/>
              <a:gd name="T3" fmla="*/ 57 h 2897"/>
              <a:gd name="T4" fmla="*/ 1632 w 2403"/>
              <a:gd name="T5" fmla="*/ 1 h 2897"/>
              <a:gd name="T6" fmla="*/ 1548 w 2403"/>
              <a:gd name="T7" fmla="*/ 2 h 2897"/>
              <a:gd name="T8" fmla="*/ 1491 w 2403"/>
              <a:gd name="T9" fmla="*/ 23 h 2897"/>
              <a:gd name="T10" fmla="*/ 785 w 2403"/>
              <a:gd name="T11" fmla="*/ 948 h 2897"/>
              <a:gd name="T12" fmla="*/ 48 w 2403"/>
              <a:gd name="T13" fmla="*/ 1933 h 2897"/>
              <a:gd name="T14" fmla="*/ 30 w 2403"/>
              <a:gd name="T15" fmla="*/ 1995 h 2897"/>
              <a:gd name="T16" fmla="*/ 3 w 2403"/>
              <a:gd name="T17" fmla="*/ 2340 h 2897"/>
              <a:gd name="T18" fmla="*/ 7 w 2403"/>
              <a:gd name="T19" fmla="*/ 2732 h 2897"/>
              <a:gd name="T20" fmla="*/ 27 w 2403"/>
              <a:gd name="T21" fmla="*/ 2871 h 2897"/>
              <a:gd name="T22" fmla="*/ 42 w 2403"/>
              <a:gd name="T23" fmla="*/ 2891 h 2897"/>
              <a:gd name="T24" fmla="*/ 118 w 2403"/>
              <a:gd name="T25" fmla="*/ 2896 h 2897"/>
              <a:gd name="T26" fmla="*/ 340 w 2403"/>
              <a:gd name="T27" fmla="*/ 2850 h 2897"/>
              <a:gd name="T28" fmla="*/ 724 w 2403"/>
              <a:gd name="T29" fmla="*/ 2722 h 2897"/>
              <a:gd name="T30" fmla="*/ 926 w 2403"/>
              <a:gd name="T31" fmla="*/ 2628 h 2897"/>
              <a:gd name="T32" fmla="*/ 987 w 2403"/>
              <a:gd name="T33" fmla="*/ 2578 h 2897"/>
              <a:gd name="T34" fmla="*/ 1454 w 2403"/>
              <a:gd name="T35" fmla="*/ 1961 h 2897"/>
              <a:gd name="T36" fmla="*/ 2390 w 2403"/>
              <a:gd name="T37" fmla="*/ 675 h 2897"/>
              <a:gd name="T38" fmla="*/ 2403 w 2403"/>
              <a:gd name="T39" fmla="*/ 631 h 2897"/>
              <a:gd name="T40" fmla="*/ 2392 w 2403"/>
              <a:gd name="T41" fmla="*/ 562 h 2897"/>
              <a:gd name="T42" fmla="*/ 2334 w 2403"/>
              <a:gd name="T43" fmla="*/ 447 h 2897"/>
              <a:gd name="T44" fmla="*/ 2193 w 2403"/>
              <a:gd name="T45" fmla="*/ 279 h 2897"/>
              <a:gd name="T46" fmla="*/ 1398 w 2403"/>
              <a:gd name="T47" fmla="*/ 308 h 2897"/>
              <a:gd name="T48" fmla="*/ 1421 w 2403"/>
              <a:gd name="T49" fmla="*/ 290 h 2897"/>
              <a:gd name="T50" fmla="*/ 1468 w 2403"/>
              <a:gd name="T51" fmla="*/ 287 h 2897"/>
              <a:gd name="T52" fmla="*/ 1528 w 2403"/>
              <a:gd name="T53" fmla="*/ 313 h 2897"/>
              <a:gd name="T54" fmla="*/ 1580 w 2403"/>
              <a:gd name="T55" fmla="*/ 368 h 2897"/>
              <a:gd name="T56" fmla="*/ 1587 w 2403"/>
              <a:gd name="T57" fmla="*/ 409 h 2897"/>
              <a:gd name="T58" fmla="*/ 337 w 2403"/>
              <a:gd name="T59" fmla="*/ 1902 h 2897"/>
              <a:gd name="T60" fmla="*/ 473 w 2403"/>
              <a:gd name="T61" fmla="*/ 2660 h 2897"/>
              <a:gd name="T62" fmla="*/ 364 w 2403"/>
              <a:gd name="T63" fmla="*/ 2709 h 2897"/>
              <a:gd name="T64" fmla="*/ 169 w 2403"/>
              <a:gd name="T65" fmla="*/ 2764 h 2897"/>
              <a:gd name="T66" fmla="*/ 134 w 2403"/>
              <a:gd name="T67" fmla="*/ 2763 h 2897"/>
              <a:gd name="T68" fmla="*/ 125 w 2403"/>
              <a:gd name="T69" fmla="*/ 2643 h 2897"/>
              <a:gd name="T70" fmla="*/ 137 w 2403"/>
              <a:gd name="T71" fmla="*/ 2423 h 2897"/>
              <a:gd name="T72" fmla="*/ 151 w 2403"/>
              <a:gd name="T73" fmla="*/ 2404 h 2897"/>
              <a:gd name="T74" fmla="*/ 206 w 2403"/>
              <a:gd name="T75" fmla="*/ 2409 h 2897"/>
              <a:gd name="T76" fmla="*/ 355 w 2403"/>
              <a:gd name="T77" fmla="*/ 2486 h 2897"/>
              <a:gd name="T78" fmla="*/ 454 w 2403"/>
              <a:gd name="T79" fmla="*/ 2577 h 2897"/>
              <a:gd name="T80" fmla="*/ 480 w 2403"/>
              <a:gd name="T81" fmla="*/ 2630 h 2897"/>
              <a:gd name="T82" fmla="*/ 490 w 2403"/>
              <a:gd name="T83" fmla="*/ 2117 h 2897"/>
              <a:gd name="T84" fmla="*/ 1708 w 2403"/>
              <a:gd name="T85" fmla="*/ 446 h 2897"/>
              <a:gd name="T86" fmla="*/ 1748 w 2403"/>
              <a:gd name="T87" fmla="*/ 445 h 2897"/>
              <a:gd name="T88" fmla="*/ 1821 w 2403"/>
              <a:gd name="T89" fmla="*/ 478 h 2897"/>
              <a:gd name="T90" fmla="*/ 1867 w 2403"/>
              <a:gd name="T91" fmla="*/ 520 h 2897"/>
              <a:gd name="T92" fmla="*/ 1888 w 2403"/>
              <a:gd name="T93" fmla="*/ 565 h 2897"/>
              <a:gd name="T94" fmla="*/ 624 w 2403"/>
              <a:gd name="T95" fmla="*/ 2291 h 2897"/>
              <a:gd name="T96" fmla="*/ 902 w 2403"/>
              <a:gd name="T97" fmla="*/ 2386 h 2897"/>
              <a:gd name="T98" fmla="*/ 1979 w 2403"/>
              <a:gd name="T99" fmla="*/ 672 h 2897"/>
              <a:gd name="T100" fmla="*/ 2014 w 2403"/>
              <a:gd name="T101" fmla="*/ 670 h 2897"/>
              <a:gd name="T102" fmla="*/ 2067 w 2403"/>
              <a:gd name="T103" fmla="*/ 704 h 2897"/>
              <a:gd name="T104" fmla="*/ 2108 w 2403"/>
              <a:gd name="T105" fmla="*/ 754 h 2897"/>
              <a:gd name="T106" fmla="*/ 2123 w 2403"/>
              <a:gd name="T107" fmla="*/ 801 h 2897"/>
              <a:gd name="T108" fmla="*/ 2117 w 2403"/>
              <a:gd name="T109" fmla="*/ 835 h 2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03" h="2897">
                <a:moveTo>
                  <a:pt x="2095" y="193"/>
                </a:moveTo>
                <a:lnTo>
                  <a:pt x="2095" y="193"/>
                </a:lnTo>
                <a:lnTo>
                  <a:pt x="2071" y="176"/>
                </a:lnTo>
                <a:lnTo>
                  <a:pt x="2046" y="159"/>
                </a:lnTo>
                <a:lnTo>
                  <a:pt x="2022" y="144"/>
                </a:lnTo>
                <a:lnTo>
                  <a:pt x="1998" y="129"/>
                </a:lnTo>
                <a:lnTo>
                  <a:pt x="1974" y="115"/>
                </a:lnTo>
                <a:lnTo>
                  <a:pt x="1948" y="101"/>
                </a:lnTo>
                <a:lnTo>
                  <a:pt x="1900" y="78"/>
                </a:lnTo>
                <a:lnTo>
                  <a:pt x="1852" y="57"/>
                </a:lnTo>
                <a:lnTo>
                  <a:pt x="1803" y="40"/>
                </a:lnTo>
                <a:lnTo>
                  <a:pt x="1757" y="25"/>
                </a:lnTo>
                <a:lnTo>
                  <a:pt x="1714" y="14"/>
                </a:lnTo>
                <a:lnTo>
                  <a:pt x="1671" y="6"/>
                </a:lnTo>
                <a:lnTo>
                  <a:pt x="1632" y="1"/>
                </a:lnTo>
                <a:lnTo>
                  <a:pt x="1613" y="0"/>
                </a:lnTo>
                <a:lnTo>
                  <a:pt x="1595" y="0"/>
                </a:lnTo>
                <a:lnTo>
                  <a:pt x="1580" y="0"/>
                </a:lnTo>
                <a:lnTo>
                  <a:pt x="1564" y="1"/>
                </a:lnTo>
                <a:lnTo>
                  <a:pt x="1548" y="2"/>
                </a:lnTo>
                <a:lnTo>
                  <a:pt x="1535" y="5"/>
                </a:lnTo>
                <a:lnTo>
                  <a:pt x="1521" y="8"/>
                </a:lnTo>
                <a:lnTo>
                  <a:pt x="1511" y="12"/>
                </a:lnTo>
                <a:lnTo>
                  <a:pt x="1500" y="17"/>
                </a:lnTo>
                <a:lnTo>
                  <a:pt x="1491" y="23"/>
                </a:lnTo>
                <a:lnTo>
                  <a:pt x="1484" y="29"/>
                </a:lnTo>
                <a:lnTo>
                  <a:pt x="1477" y="36"/>
                </a:lnTo>
                <a:lnTo>
                  <a:pt x="1477" y="36"/>
                </a:lnTo>
                <a:lnTo>
                  <a:pt x="1253" y="331"/>
                </a:lnTo>
                <a:lnTo>
                  <a:pt x="785" y="948"/>
                </a:lnTo>
                <a:lnTo>
                  <a:pt x="532" y="1283"/>
                </a:lnTo>
                <a:lnTo>
                  <a:pt x="304" y="1584"/>
                </a:lnTo>
                <a:lnTo>
                  <a:pt x="134" y="1813"/>
                </a:lnTo>
                <a:lnTo>
                  <a:pt x="78" y="1890"/>
                </a:lnTo>
                <a:lnTo>
                  <a:pt x="48" y="1933"/>
                </a:lnTo>
                <a:lnTo>
                  <a:pt x="48" y="1933"/>
                </a:lnTo>
                <a:lnTo>
                  <a:pt x="43" y="1943"/>
                </a:lnTo>
                <a:lnTo>
                  <a:pt x="38" y="1956"/>
                </a:lnTo>
                <a:lnTo>
                  <a:pt x="33" y="1974"/>
                </a:lnTo>
                <a:lnTo>
                  <a:pt x="30" y="1995"/>
                </a:lnTo>
                <a:lnTo>
                  <a:pt x="23" y="2047"/>
                </a:lnTo>
                <a:lnTo>
                  <a:pt x="15" y="2110"/>
                </a:lnTo>
                <a:lnTo>
                  <a:pt x="10" y="2181"/>
                </a:lnTo>
                <a:lnTo>
                  <a:pt x="6" y="2259"/>
                </a:lnTo>
                <a:lnTo>
                  <a:pt x="3" y="2340"/>
                </a:lnTo>
                <a:lnTo>
                  <a:pt x="1" y="2423"/>
                </a:lnTo>
                <a:lnTo>
                  <a:pt x="0" y="2507"/>
                </a:lnTo>
                <a:lnTo>
                  <a:pt x="1" y="2588"/>
                </a:lnTo>
                <a:lnTo>
                  <a:pt x="3" y="2663"/>
                </a:lnTo>
                <a:lnTo>
                  <a:pt x="7" y="2732"/>
                </a:lnTo>
                <a:lnTo>
                  <a:pt x="12" y="2790"/>
                </a:lnTo>
                <a:lnTo>
                  <a:pt x="15" y="2815"/>
                </a:lnTo>
                <a:lnTo>
                  <a:pt x="19" y="2837"/>
                </a:lnTo>
                <a:lnTo>
                  <a:pt x="23" y="2856"/>
                </a:lnTo>
                <a:lnTo>
                  <a:pt x="27" y="2871"/>
                </a:lnTo>
                <a:lnTo>
                  <a:pt x="32" y="2882"/>
                </a:lnTo>
                <a:lnTo>
                  <a:pt x="35" y="2885"/>
                </a:lnTo>
                <a:lnTo>
                  <a:pt x="37" y="2888"/>
                </a:lnTo>
                <a:lnTo>
                  <a:pt x="37" y="2888"/>
                </a:lnTo>
                <a:lnTo>
                  <a:pt x="42" y="2891"/>
                </a:lnTo>
                <a:lnTo>
                  <a:pt x="47" y="2893"/>
                </a:lnTo>
                <a:lnTo>
                  <a:pt x="60" y="2896"/>
                </a:lnTo>
                <a:lnTo>
                  <a:pt x="76" y="2897"/>
                </a:lnTo>
                <a:lnTo>
                  <a:pt x="95" y="2897"/>
                </a:lnTo>
                <a:lnTo>
                  <a:pt x="118" y="2896"/>
                </a:lnTo>
                <a:lnTo>
                  <a:pt x="144" y="2893"/>
                </a:lnTo>
                <a:lnTo>
                  <a:pt x="171" y="2888"/>
                </a:lnTo>
                <a:lnTo>
                  <a:pt x="202" y="2883"/>
                </a:lnTo>
                <a:lnTo>
                  <a:pt x="267" y="2868"/>
                </a:lnTo>
                <a:lnTo>
                  <a:pt x="340" y="2850"/>
                </a:lnTo>
                <a:lnTo>
                  <a:pt x="416" y="2829"/>
                </a:lnTo>
                <a:lnTo>
                  <a:pt x="494" y="2804"/>
                </a:lnTo>
                <a:lnTo>
                  <a:pt x="573" y="2778"/>
                </a:lnTo>
                <a:lnTo>
                  <a:pt x="650" y="2751"/>
                </a:lnTo>
                <a:lnTo>
                  <a:pt x="724" y="2722"/>
                </a:lnTo>
                <a:lnTo>
                  <a:pt x="793" y="2694"/>
                </a:lnTo>
                <a:lnTo>
                  <a:pt x="854" y="2666"/>
                </a:lnTo>
                <a:lnTo>
                  <a:pt x="880" y="2653"/>
                </a:lnTo>
                <a:lnTo>
                  <a:pt x="904" y="2641"/>
                </a:lnTo>
                <a:lnTo>
                  <a:pt x="926" y="2628"/>
                </a:lnTo>
                <a:lnTo>
                  <a:pt x="946" y="2617"/>
                </a:lnTo>
                <a:lnTo>
                  <a:pt x="960" y="2605"/>
                </a:lnTo>
                <a:lnTo>
                  <a:pt x="972" y="2595"/>
                </a:lnTo>
                <a:lnTo>
                  <a:pt x="972" y="2595"/>
                </a:lnTo>
                <a:lnTo>
                  <a:pt x="987" y="2578"/>
                </a:lnTo>
                <a:lnTo>
                  <a:pt x="1007" y="2554"/>
                </a:lnTo>
                <a:lnTo>
                  <a:pt x="1064" y="2480"/>
                </a:lnTo>
                <a:lnTo>
                  <a:pt x="1142" y="2380"/>
                </a:lnTo>
                <a:lnTo>
                  <a:pt x="1234" y="2257"/>
                </a:lnTo>
                <a:lnTo>
                  <a:pt x="1454" y="1961"/>
                </a:lnTo>
                <a:lnTo>
                  <a:pt x="1697" y="1630"/>
                </a:lnTo>
                <a:lnTo>
                  <a:pt x="1939" y="1298"/>
                </a:lnTo>
                <a:lnTo>
                  <a:pt x="2153" y="1004"/>
                </a:lnTo>
                <a:lnTo>
                  <a:pt x="2311" y="784"/>
                </a:lnTo>
                <a:lnTo>
                  <a:pt x="2390" y="675"/>
                </a:lnTo>
                <a:lnTo>
                  <a:pt x="2390" y="675"/>
                </a:lnTo>
                <a:lnTo>
                  <a:pt x="2395" y="665"/>
                </a:lnTo>
                <a:lnTo>
                  <a:pt x="2400" y="654"/>
                </a:lnTo>
                <a:lnTo>
                  <a:pt x="2402" y="643"/>
                </a:lnTo>
                <a:lnTo>
                  <a:pt x="2403" y="631"/>
                </a:lnTo>
                <a:lnTo>
                  <a:pt x="2403" y="618"/>
                </a:lnTo>
                <a:lnTo>
                  <a:pt x="2403" y="605"/>
                </a:lnTo>
                <a:lnTo>
                  <a:pt x="2401" y="591"/>
                </a:lnTo>
                <a:lnTo>
                  <a:pt x="2397" y="577"/>
                </a:lnTo>
                <a:lnTo>
                  <a:pt x="2392" y="562"/>
                </a:lnTo>
                <a:lnTo>
                  <a:pt x="2386" y="547"/>
                </a:lnTo>
                <a:lnTo>
                  <a:pt x="2380" y="531"/>
                </a:lnTo>
                <a:lnTo>
                  <a:pt x="2373" y="514"/>
                </a:lnTo>
                <a:lnTo>
                  <a:pt x="2355" y="481"/>
                </a:lnTo>
                <a:lnTo>
                  <a:pt x="2334" y="447"/>
                </a:lnTo>
                <a:lnTo>
                  <a:pt x="2310" y="412"/>
                </a:lnTo>
                <a:lnTo>
                  <a:pt x="2284" y="378"/>
                </a:lnTo>
                <a:lnTo>
                  <a:pt x="2255" y="345"/>
                </a:lnTo>
                <a:lnTo>
                  <a:pt x="2226" y="311"/>
                </a:lnTo>
                <a:lnTo>
                  <a:pt x="2193" y="279"/>
                </a:lnTo>
                <a:lnTo>
                  <a:pt x="2161" y="248"/>
                </a:lnTo>
                <a:lnTo>
                  <a:pt x="2128" y="220"/>
                </a:lnTo>
                <a:lnTo>
                  <a:pt x="2095" y="193"/>
                </a:lnTo>
                <a:lnTo>
                  <a:pt x="2095" y="193"/>
                </a:lnTo>
                <a:close/>
                <a:moveTo>
                  <a:pt x="1398" y="308"/>
                </a:moveTo>
                <a:lnTo>
                  <a:pt x="1398" y="308"/>
                </a:lnTo>
                <a:lnTo>
                  <a:pt x="1400" y="306"/>
                </a:lnTo>
                <a:lnTo>
                  <a:pt x="1405" y="300"/>
                </a:lnTo>
                <a:lnTo>
                  <a:pt x="1415" y="294"/>
                </a:lnTo>
                <a:lnTo>
                  <a:pt x="1421" y="290"/>
                </a:lnTo>
                <a:lnTo>
                  <a:pt x="1428" y="288"/>
                </a:lnTo>
                <a:lnTo>
                  <a:pt x="1437" y="285"/>
                </a:lnTo>
                <a:lnTo>
                  <a:pt x="1445" y="284"/>
                </a:lnTo>
                <a:lnTo>
                  <a:pt x="1456" y="284"/>
                </a:lnTo>
                <a:lnTo>
                  <a:pt x="1468" y="287"/>
                </a:lnTo>
                <a:lnTo>
                  <a:pt x="1482" y="290"/>
                </a:lnTo>
                <a:lnTo>
                  <a:pt x="1495" y="295"/>
                </a:lnTo>
                <a:lnTo>
                  <a:pt x="1511" y="303"/>
                </a:lnTo>
                <a:lnTo>
                  <a:pt x="1528" y="313"/>
                </a:lnTo>
                <a:lnTo>
                  <a:pt x="1528" y="313"/>
                </a:lnTo>
                <a:lnTo>
                  <a:pt x="1542" y="325"/>
                </a:lnTo>
                <a:lnTo>
                  <a:pt x="1555" y="336"/>
                </a:lnTo>
                <a:lnTo>
                  <a:pt x="1565" y="347"/>
                </a:lnTo>
                <a:lnTo>
                  <a:pt x="1573" y="357"/>
                </a:lnTo>
                <a:lnTo>
                  <a:pt x="1580" y="368"/>
                </a:lnTo>
                <a:lnTo>
                  <a:pt x="1583" y="376"/>
                </a:lnTo>
                <a:lnTo>
                  <a:pt x="1586" y="386"/>
                </a:lnTo>
                <a:lnTo>
                  <a:pt x="1587" y="394"/>
                </a:lnTo>
                <a:lnTo>
                  <a:pt x="1588" y="401"/>
                </a:lnTo>
                <a:lnTo>
                  <a:pt x="1587" y="409"/>
                </a:lnTo>
                <a:lnTo>
                  <a:pt x="1584" y="420"/>
                </a:lnTo>
                <a:lnTo>
                  <a:pt x="1582" y="427"/>
                </a:lnTo>
                <a:lnTo>
                  <a:pt x="1581" y="429"/>
                </a:lnTo>
                <a:lnTo>
                  <a:pt x="337" y="2076"/>
                </a:lnTo>
                <a:lnTo>
                  <a:pt x="337" y="1902"/>
                </a:lnTo>
                <a:lnTo>
                  <a:pt x="239" y="1865"/>
                </a:lnTo>
                <a:lnTo>
                  <a:pt x="1398" y="308"/>
                </a:lnTo>
                <a:close/>
                <a:moveTo>
                  <a:pt x="475" y="2657"/>
                </a:moveTo>
                <a:lnTo>
                  <a:pt x="475" y="2657"/>
                </a:lnTo>
                <a:lnTo>
                  <a:pt x="473" y="2660"/>
                </a:lnTo>
                <a:lnTo>
                  <a:pt x="469" y="2664"/>
                </a:lnTo>
                <a:lnTo>
                  <a:pt x="456" y="2671"/>
                </a:lnTo>
                <a:lnTo>
                  <a:pt x="439" y="2680"/>
                </a:lnTo>
                <a:lnTo>
                  <a:pt x="417" y="2689"/>
                </a:lnTo>
                <a:lnTo>
                  <a:pt x="364" y="2709"/>
                </a:lnTo>
                <a:lnTo>
                  <a:pt x="304" y="2729"/>
                </a:lnTo>
                <a:lnTo>
                  <a:pt x="244" y="2746"/>
                </a:lnTo>
                <a:lnTo>
                  <a:pt x="216" y="2754"/>
                </a:lnTo>
                <a:lnTo>
                  <a:pt x="191" y="2760"/>
                </a:lnTo>
                <a:lnTo>
                  <a:pt x="169" y="2764"/>
                </a:lnTo>
                <a:lnTo>
                  <a:pt x="152" y="2767"/>
                </a:lnTo>
                <a:lnTo>
                  <a:pt x="140" y="2767"/>
                </a:lnTo>
                <a:lnTo>
                  <a:pt x="135" y="2766"/>
                </a:lnTo>
                <a:lnTo>
                  <a:pt x="134" y="2763"/>
                </a:lnTo>
                <a:lnTo>
                  <a:pt x="134" y="2763"/>
                </a:lnTo>
                <a:lnTo>
                  <a:pt x="130" y="2756"/>
                </a:lnTo>
                <a:lnTo>
                  <a:pt x="129" y="2743"/>
                </a:lnTo>
                <a:lnTo>
                  <a:pt x="127" y="2723"/>
                </a:lnTo>
                <a:lnTo>
                  <a:pt x="127" y="2700"/>
                </a:lnTo>
                <a:lnTo>
                  <a:pt x="125" y="2643"/>
                </a:lnTo>
                <a:lnTo>
                  <a:pt x="127" y="2581"/>
                </a:lnTo>
                <a:lnTo>
                  <a:pt x="129" y="2518"/>
                </a:lnTo>
                <a:lnTo>
                  <a:pt x="133" y="2462"/>
                </a:lnTo>
                <a:lnTo>
                  <a:pt x="135" y="2440"/>
                </a:lnTo>
                <a:lnTo>
                  <a:pt x="137" y="2423"/>
                </a:lnTo>
                <a:lnTo>
                  <a:pt x="140" y="2411"/>
                </a:lnTo>
                <a:lnTo>
                  <a:pt x="141" y="2407"/>
                </a:lnTo>
                <a:lnTo>
                  <a:pt x="142" y="2406"/>
                </a:lnTo>
                <a:lnTo>
                  <a:pt x="142" y="2406"/>
                </a:lnTo>
                <a:lnTo>
                  <a:pt x="151" y="2404"/>
                </a:lnTo>
                <a:lnTo>
                  <a:pt x="159" y="2403"/>
                </a:lnTo>
                <a:lnTo>
                  <a:pt x="170" y="2403"/>
                </a:lnTo>
                <a:lnTo>
                  <a:pt x="181" y="2404"/>
                </a:lnTo>
                <a:lnTo>
                  <a:pt x="193" y="2406"/>
                </a:lnTo>
                <a:lnTo>
                  <a:pt x="206" y="2409"/>
                </a:lnTo>
                <a:lnTo>
                  <a:pt x="234" y="2418"/>
                </a:lnTo>
                <a:lnTo>
                  <a:pt x="263" y="2432"/>
                </a:lnTo>
                <a:lnTo>
                  <a:pt x="295" y="2447"/>
                </a:lnTo>
                <a:lnTo>
                  <a:pt x="325" y="2466"/>
                </a:lnTo>
                <a:lnTo>
                  <a:pt x="355" y="2486"/>
                </a:lnTo>
                <a:lnTo>
                  <a:pt x="384" y="2508"/>
                </a:lnTo>
                <a:lnTo>
                  <a:pt x="411" y="2531"/>
                </a:lnTo>
                <a:lnTo>
                  <a:pt x="435" y="2554"/>
                </a:lnTo>
                <a:lnTo>
                  <a:pt x="445" y="2565"/>
                </a:lnTo>
                <a:lnTo>
                  <a:pt x="454" y="2577"/>
                </a:lnTo>
                <a:lnTo>
                  <a:pt x="462" y="2588"/>
                </a:lnTo>
                <a:lnTo>
                  <a:pt x="469" y="2599"/>
                </a:lnTo>
                <a:lnTo>
                  <a:pt x="474" y="2610"/>
                </a:lnTo>
                <a:lnTo>
                  <a:pt x="477" y="2620"/>
                </a:lnTo>
                <a:lnTo>
                  <a:pt x="480" y="2630"/>
                </a:lnTo>
                <a:lnTo>
                  <a:pt x="480" y="2640"/>
                </a:lnTo>
                <a:lnTo>
                  <a:pt x="479" y="2649"/>
                </a:lnTo>
                <a:lnTo>
                  <a:pt x="475" y="2657"/>
                </a:lnTo>
                <a:lnTo>
                  <a:pt x="475" y="2657"/>
                </a:lnTo>
                <a:close/>
                <a:moveTo>
                  <a:pt x="490" y="2117"/>
                </a:moveTo>
                <a:lnTo>
                  <a:pt x="1692" y="455"/>
                </a:lnTo>
                <a:lnTo>
                  <a:pt x="1692" y="455"/>
                </a:lnTo>
                <a:lnTo>
                  <a:pt x="1694" y="453"/>
                </a:lnTo>
                <a:lnTo>
                  <a:pt x="1699" y="450"/>
                </a:lnTo>
                <a:lnTo>
                  <a:pt x="1708" y="446"/>
                </a:lnTo>
                <a:lnTo>
                  <a:pt x="1713" y="444"/>
                </a:lnTo>
                <a:lnTo>
                  <a:pt x="1720" y="443"/>
                </a:lnTo>
                <a:lnTo>
                  <a:pt x="1728" y="443"/>
                </a:lnTo>
                <a:lnTo>
                  <a:pt x="1737" y="444"/>
                </a:lnTo>
                <a:lnTo>
                  <a:pt x="1748" y="445"/>
                </a:lnTo>
                <a:lnTo>
                  <a:pt x="1760" y="449"/>
                </a:lnTo>
                <a:lnTo>
                  <a:pt x="1773" y="452"/>
                </a:lnTo>
                <a:lnTo>
                  <a:pt x="1788" y="460"/>
                </a:lnTo>
                <a:lnTo>
                  <a:pt x="1803" y="468"/>
                </a:lnTo>
                <a:lnTo>
                  <a:pt x="1821" y="478"/>
                </a:lnTo>
                <a:lnTo>
                  <a:pt x="1821" y="478"/>
                </a:lnTo>
                <a:lnTo>
                  <a:pt x="1836" y="489"/>
                </a:lnTo>
                <a:lnTo>
                  <a:pt x="1849" y="499"/>
                </a:lnTo>
                <a:lnTo>
                  <a:pt x="1859" y="509"/>
                </a:lnTo>
                <a:lnTo>
                  <a:pt x="1867" y="520"/>
                </a:lnTo>
                <a:lnTo>
                  <a:pt x="1875" y="530"/>
                </a:lnTo>
                <a:lnTo>
                  <a:pt x="1880" y="539"/>
                </a:lnTo>
                <a:lnTo>
                  <a:pt x="1883" y="549"/>
                </a:lnTo>
                <a:lnTo>
                  <a:pt x="1887" y="558"/>
                </a:lnTo>
                <a:lnTo>
                  <a:pt x="1888" y="565"/>
                </a:lnTo>
                <a:lnTo>
                  <a:pt x="1888" y="572"/>
                </a:lnTo>
                <a:lnTo>
                  <a:pt x="1888" y="584"/>
                </a:lnTo>
                <a:lnTo>
                  <a:pt x="1887" y="591"/>
                </a:lnTo>
                <a:lnTo>
                  <a:pt x="1886" y="594"/>
                </a:lnTo>
                <a:lnTo>
                  <a:pt x="624" y="2291"/>
                </a:lnTo>
                <a:lnTo>
                  <a:pt x="624" y="2094"/>
                </a:lnTo>
                <a:lnTo>
                  <a:pt x="490" y="2117"/>
                </a:lnTo>
                <a:close/>
                <a:moveTo>
                  <a:pt x="2117" y="835"/>
                </a:moveTo>
                <a:lnTo>
                  <a:pt x="937" y="2462"/>
                </a:lnTo>
                <a:lnTo>
                  <a:pt x="902" y="2386"/>
                </a:lnTo>
                <a:lnTo>
                  <a:pt x="750" y="2359"/>
                </a:lnTo>
                <a:lnTo>
                  <a:pt x="1973" y="677"/>
                </a:lnTo>
                <a:lnTo>
                  <a:pt x="1973" y="677"/>
                </a:lnTo>
                <a:lnTo>
                  <a:pt x="1975" y="676"/>
                </a:lnTo>
                <a:lnTo>
                  <a:pt x="1979" y="672"/>
                </a:lnTo>
                <a:lnTo>
                  <a:pt x="1987" y="669"/>
                </a:lnTo>
                <a:lnTo>
                  <a:pt x="1992" y="669"/>
                </a:lnTo>
                <a:lnTo>
                  <a:pt x="1998" y="668"/>
                </a:lnTo>
                <a:lnTo>
                  <a:pt x="2005" y="669"/>
                </a:lnTo>
                <a:lnTo>
                  <a:pt x="2014" y="670"/>
                </a:lnTo>
                <a:lnTo>
                  <a:pt x="2022" y="674"/>
                </a:lnTo>
                <a:lnTo>
                  <a:pt x="2032" y="679"/>
                </a:lnTo>
                <a:lnTo>
                  <a:pt x="2043" y="685"/>
                </a:lnTo>
                <a:lnTo>
                  <a:pt x="2055" y="693"/>
                </a:lnTo>
                <a:lnTo>
                  <a:pt x="2067" y="704"/>
                </a:lnTo>
                <a:lnTo>
                  <a:pt x="2080" y="718"/>
                </a:lnTo>
                <a:lnTo>
                  <a:pt x="2080" y="718"/>
                </a:lnTo>
                <a:lnTo>
                  <a:pt x="2091" y="731"/>
                </a:lnTo>
                <a:lnTo>
                  <a:pt x="2101" y="741"/>
                </a:lnTo>
                <a:lnTo>
                  <a:pt x="2108" y="754"/>
                </a:lnTo>
                <a:lnTo>
                  <a:pt x="2113" y="764"/>
                </a:lnTo>
                <a:lnTo>
                  <a:pt x="2118" y="774"/>
                </a:lnTo>
                <a:lnTo>
                  <a:pt x="2120" y="784"/>
                </a:lnTo>
                <a:lnTo>
                  <a:pt x="2121" y="793"/>
                </a:lnTo>
                <a:lnTo>
                  <a:pt x="2123" y="801"/>
                </a:lnTo>
                <a:lnTo>
                  <a:pt x="2121" y="815"/>
                </a:lnTo>
                <a:lnTo>
                  <a:pt x="2120" y="826"/>
                </a:lnTo>
                <a:lnTo>
                  <a:pt x="2118" y="832"/>
                </a:lnTo>
                <a:lnTo>
                  <a:pt x="2117" y="835"/>
                </a:lnTo>
                <a:lnTo>
                  <a:pt x="2117" y="835"/>
                </a:lnTo>
                <a:close/>
              </a:path>
            </a:pathLst>
          </a:custGeom>
          <a:solidFill>
            <a:schemeClr val="bg1"/>
          </a:solidFill>
          <a:ln>
            <a:noFill/>
          </a:ln>
          <a:effectLst/>
          <a:extLst/>
        </p:spPr>
        <p:txBody>
          <a:bodyPr vert="horz" wrap="square" lIns="91440" tIns="45720" rIns="91440" bIns="45720" numCol="1" anchor="t" anchorCtr="0" compatLnSpc="1">
            <a:prstTxWarp prst="textNoShape">
              <a:avLst/>
            </a:prstTxWarp>
          </a:bodyPr>
          <a:lstStyle/>
          <a:p>
            <a:endParaRPr lang="en-US"/>
          </a:p>
        </p:txBody>
      </p:sp>
      <p:sp>
        <p:nvSpPr>
          <p:cNvPr id="3" name="Up-Down Arrow 2"/>
          <p:cNvSpPr/>
          <p:nvPr/>
        </p:nvSpPr>
        <p:spPr>
          <a:xfrm rot="16200000">
            <a:off x="2551245" y="3029819"/>
            <a:ext cx="137430" cy="842465"/>
          </a:xfrm>
          <a:prstGeom prst="upDownArrow">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sp>
        <p:nvSpPr>
          <p:cNvPr id="9" name="Oval 8"/>
          <p:cNvSpPr/>
          <p:nvPr/>
        </p:nvSpPr>
        <p:spPr>
          <a:xfrm>
            <a:off x="2525982" y="3347676"/>
            <a:ext cx="187954" cy="206749"/>
          </a:xfrm>
          <a:prstGeom prst="ellipse">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a:solidFill>
                <a:schemeClr val="tx1"/>
              </a:solidFill>
              <a:latin typeface="Calibri" charset="0"/>
              <a:ea typeface="ＭＳ Ｐゴシック" charset="0"/>
              <a:cs typeface="ＭＳ Ｐゴシック" charset="0"/>
            </a:endParaRPr>
          </a:p>
        </p:txBody>
      </p:sp>
      <p:graphicFrame>
        <p:nvGraphicFramePr>
          <p:cNvPr id="14" name="Content Placeholder 3"/>
          <p:cNvGraphicFramePr>
            <a:graphicFrameLocks/>
          </p:cNvGraphicFramePr>
          <p:nvPr/>
        </p:nvGraphicFramePr>
        <p:xfrm>
          <a:off x="304800" y="1554163"/>
          <a:ext cx="8686800" cy="4525962"/>
        </p:xfrm>
        <a:graphic>
          <a:graphicData uri="http://schemas.openxmlformats.org/drawingml/2006/chart">
            <c:chart xmlns:c="http://schemas.openxmlformats.org/drawingml/2006/chart" xmlns:r="http://schemas.openxmlformats.org/officeDocument/2006/relationships" r:id="rId5"/>
          </a:graphicData>
        </a:graphic>
      </p:graphicFrame>
      <p:sp>
        <p:nvSpPr>
          <p:cNvPr id="15" name="Rectangle 14"/>
          <p:cNvSpPr/>
          <p:nvPr/>
        </p:nvSpPr>
        <p:spPr>
          <a:xfrm>
            <a:off x="373197" y="6291618"/>
            <a:ext cx="4572000" cy="253916"/>
          </a:xfrm>
          <a:prstGeom prst="rect">
            <a:avLst/>
          </a:prstGeom>
        </p:spPr>
        <p:txBody>
          <a:bodyPr>
            <a:spAutoFit/>
          </a:bodyPr>
          <a:lstStyle/>
          <a:p>
            <a:r>
              <a:rPr lang="en-US" sz="1050" b="1" i="1" dirty="0" smtClean="0"/>
              <a:t>What deters the unveiling of Legislative Process?</a:t>
            </a:r>
            <a:endParaRPr lang="en-US" sz="1050" dirty="0"/>
          </a:p>
        </p:txBody>
      </p:sp>
      <p:sp>
        <p:nvSpPr>
          <p:cNvPr id="10" name="TextBox 1"/>
          <p:cNvSpPr txBox="1"/>
          <p:nvPr/>
        </p:nvSpPr>
        <p:spPr>
          <a:xfrm>
            <a:off x="5392166" y="6291618"/>
            <a:ext cx="3599434" cy="23434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1200" b="1" i="1" dirty="0" smtClean="0"/>
              <a:t>Source: Election Commission of India</a:t>
            </a:r>
            <a:endParaRPr lang="en-US" sz="1200" b="1" i="1" dirty="0"/>
          </a:p>
        </p:txBody>
      </p:sp>
    </p:spTree>
    <p:extLst>
      <p:ext uri="{BB962C8B-B14F-4D97-AF65-F5344CB8AC3E}">
        <p14:creationId xmlns:p14="http://schemas.microsoft.com/office/powerpoint/2010/main" xmlns="" val="3796730251"/>
      </p:ext>
    </p:extLst>
  </p:cSld>
  <p:clrMapOvr>
    <a:masterClrMapping/>
  </p:clrMapOvr>
  <p:transition spd="med">
    <p:plus/>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grpId="0" nodeType="withEffect">
                                  <p:stCondLst>
                                    <p:cond delay="0"/>
                                  </p:stCondLst>
                                  <p:childTnLst>
                                    <p:animRot by="10800000">
                                      <p:cBhvr>
                                        <p:cTn id="6" dur="750" fill="hold"/>
                                        <p:tgtEl>
                                          <p:spTgt spid="3"/>
                                        </p:tgtEl>
                                        <p:attrNameLst>
                                          <p:attrName>r</p:attrName>
                                        </p:attrNameLst>
                                      </p:cBhvr>
                                    </p:animRot>
                                  </p:childTnLst>
                                </p:cTn>
                              </p:par>
                            </p:childTnLst>
                          </p:cTn>
                        </p:par>
                        <p:par>
                          <p:cTn id="7" fill="hold">
                            <p:stCondLst>
                              <p:cond delay="750"/>
                            </p:stCondLst>
                            <p:childTnLst>
                              <p:par>
                                <p:cTn id="8" presetID="32" presetClass="emph" presetSubtype="0" fill="hold" grpId="0" nodeType="afterEffect">
                                  <p:stCondLst>
                                    <p:cond delay="0"/>
                                  </p:stCondLst>
                                  <p:childTnLst>
                                    <p:animRot by="120000">
                                      <p:cBhvr>
                                        <p:cTn id="9" dur="75" fill="hold">
                                          <p:stCondLst>
                                            <p:cond delay="0"/>
                                          </p:stCondLst>
                                        </p:cTn>
                                        <p:tgtEl>
                                          <p:spTgt spid="39"/>
                                        </p:tgtEl>
                                        <p:attrNameLst>
                                          <p:attrName>r</p:attrName>
                                        </p:attrNameLst>
                                      </p:cBhvr>
                                    </p:animRot>
                                    <p:animRot by="-240000">
                                      <p:cBhvr>
                                        <p:cTn id="10" dur="150" fill="hold">
                                          <p:stCondLst>
                                            <p:cond delay="150"/>
                                          </p:stCondLst>
                                        </p:cTn>
                                        <p:tgtEl>
                                          <p:spTgt spid="39"/>
                                        </p:tgtEl>
                                        <p:attrNameLst>
                                          <p:attrName>r</p:attrName>
                                        </p:attrNameLst>
                                      </p:cBhvr>
                                    </p:animRot>
                                    <p:animRot by="240000">
                                      <p:cBhvr>
                                        <p:cTn id="11" dur="150" fill="hold">
                                          <p:stCondLst>
                                            <p:cond delay="300"/>
                                          </p:stCondLst>
                                        </p:cTn>
                                        <p:tgtEl>
                                          <p:spTgt spid="39"/>
                                        </p:tgtEl>
                                        <p:attrNameLst>
                                          <p:attrName>r</p:attrName>
                                        </p:attrNameLst>
                                      </p:cBhvr>
                                    </p:animRot>
                                    <p:animRot by="-240000">
                                      <p:cBhvr>
                                        <p:cTn id="12" dur="150" fill="hold">
                                          <p:stCondLst>
                                            <p:cond delay="450"/>
                                          </p:stCondLst>
                                        </p:cTn>
                                        <p:tgtEl>
                                          <p:spTgt spid="39"/>
                                        </p:tgtEl>
                                        <p:attrNameLst>
                                          <p:attrName>r</p:attrName>
                                        </p:attrNameLst>
                                      </p:cBhvr>
                                    </p:animRot>
                                    <p:animRot by="120000">
                                      <p:cBhvr>
                                        <p:cTn id="13" dur="150" fill="hold">
                                          <p:stCondLst>
                                            <p:cond delay="600"/>
                                          </p:stCondLst>
                                        </p:cTn>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6"/>
  <p:tag name="ISPRING_RESOURCE_PATHS_HASH" val="ca6bf3abc8c515d48857a5c5328843bb275e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r3XjWkxTUKzWTSRTXIQ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LYD9aQSMUqJMk5ISYVq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YmW247poUK3Q0wNEaGD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bLU_sSKEkqMjoj5tlSL5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EnAkV1onE2N7.V9Bbsa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KVaRzja8EutGZJOI5b4y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woD3omsBU.x.xuAdF1f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c10gjctN0ugbaIuYknR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woD3omsBU.x.xuAdF1f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c10gjctN0ugbaIuYknR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woD3omsBU.x.xuAdF1f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c10gjctN0ugbaIuYknR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woD3omsBU.x.xuAdF1fN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c10gjctN0ugbaIuYknR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woD3omsBU.x.xuAdF1f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c10gjctN0ugbaIuYknR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zAJZ7eT4EqAeyuXcrWx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UYykd8OFk6ihscMyODj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8nARKF4c0CDEiVFX.qTc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UYykd8OFk6ihscMyODj4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8nARKF4c0CDEiVFX.qTc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woD3omsBU.x.xuAdF1f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oj4mRtWCkWpiJRF8nlUs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c10gjctN0ugbaIuYknR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woD3omsBU.x.xuAdF1fN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c10gjctN0ugbaIuYknRt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woD3omsBU.x.xuAdF1f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c10gjctN0ugbaIuYknRt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woD3omsBU.x.xuAdF1f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c10gjctN0ugbaIuYknR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woD3omsBU.x.xuAdF1f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c10gjctN0ugbaIuYknRt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qiBdfhJEk260P2v9cIwk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HTH0WPnIUSXM3OEG734.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HTH0WPnIUSXM3OEG734.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ByN6GcW5U6DgW4WMfHPg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ABfV6Bu5kuf8ipCUTvp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aZJwkorUKoUko2E56V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vpQffNWUUeMVqiBTcaGq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lzoUt1AuUG3d8xCLkoA7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7I2D3185XEShxMiabSvHa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gUipdJAsEi3Ce8hp5JP2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o_MlhArrUC8qoZFzvTYQ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3f9Fc7JYNUSV2rAG8CSIf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XgfozCt2EeHKuprByT71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huaxj9csUGM5zbqyECg.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2FXkE2KQV02Jsd7hKvJV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SFqKI5xoi0G6oYrmC2Mm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Am7kFJl.0yPqit8x_xK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7pOV4L7pUyEw5oWWHa7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21W8u4NIcU2MvuUljT2h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Override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image" Target="../media/image9.jpeg"/></Relationships>
</file>

<file path=ppt/theme/_rels/themeOverride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image" Target="../media/image9.jpeg"/></Relationships>
</file>

<file path=ppt/theme/_rels/themeOverr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image" Target="../media/image9.jpeg"/></Relationships>
</file>

<file path=ppt/theme/_rels/themeOverr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image" Target="../media/image9.jpeg"/></Relationships>
</file>

<file path=ppt/theme/theme1.xml><?xml version="1.0" encoding="utf-8"?>
<a:theme xmlns:a="http://schemas.openxmlformats.org/drawingml/2006/main" name="Default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rek">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blipFill>
        <a:blip xmlns:r="http://schemas.openxmlformats.org/officeDocument/2006/relationships" r:embed="rId1">
          <a:duotone>
            <a:schemeClr val="phClr">
              <a:shade val="90000"/>
              <a:satMod val="150000"/>
            </a:schemeClr>
            <a:schemeClr val="phClr">
              <a:tint val="88000"/>
              <a:satMod val="105000"/>
            </a:schemeClr>
          </a:duotone>
        </a:blip>
        <a:tile tx="0" ty="0" sx="95000" sy="95000" flip="none" algn="t"/>
      </a:blipFill>
      <a:blipFill>
        <a:blip xmlns:r="http://schemas.openxmlformats.org/officeDocument/2006/relationships" r:embed="rId2">
          <a:duotone>
            <a:schemeClr val="phClr">
              <a:shade val="30000"/>
              <a:satMod val="455000"/>
            </a:schemeClr>
            <a:schemeClr val="phClr">
              <a:tint val="95000"/>
              <a:satMod val="120000"/>
            </a:schemeClr>
          </a:duotone>
        </a:blip>
        <a:stretch>
          <a:fillRect/>
        </a:stretch>
      </a:blip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rek">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blipFill>
        <a:blip xmlns:r="http://schemas.openxmlformats.org/officeDocument/2006/relationships" r:embed="rId1">
          <a:duotone>
            <a:schemeClr val="phClr">
              <a:shade val="90000"/>
              <a:satMod val="150000"/>
            </a:schemeClr>
            <a:schemeClr val="phClr">
              <a:tint val="88000"/>
              <a:satMod val="105000"/>
            </a:schemeClr>
          </a:duotone>
        </a:blip>
        <a:tile tx="0" ty="0" sx="95000" sy="95000" flip="none" algn="t"/>
      </a:blipFill>
      <a:blipFill>
        <a:blip xmlns:r="http://schemas.openxmlformats.org/officeDocument/2006/relationships" r:embed="rId2">
          <a:duotone>
            <a:schemeClr val="phClr">
              <a:shade val="30000"/>
              <a:satMod val="455000"/>
            </a:schemeClr>
            <a:schemeClr val="phClr">
              <a:tint val="95000"/>
              <a:satMod val="120000"/>
            </a:schemeClr>
          </a:duotone>
        </a:blip>
        <a:stretch>
          <a:fillRect/>
        </a:stretch>
      </a:blip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rek">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blipFill>
        <a:blip xmlns:r="http://schemas.openxmlformats.org/officeDocument/2006/relationships" r:embed="rId1">
          <a:duotone>
            <a:schemeClr val="phClr">
              <a:shade val="90000"/>
              <a:satMod val="150000"/>
            </a:schemeClr>
            <a:schemeClr val="phClr">
              <a:tint val="88000"/>
              <a:satMod val="105000"/>
            </a:schemeClr>
          </a:duotone>
        </a:blip>
        <a:tile tx="0" ty="0" sx="95000" sy="95000" flip="none" algn="t"/>
      </a:blipFill>
      <a:blipFill>
        <a:blip xmlns:r="http://schemas.openxmlformats.org/officeDocument/2006/relationships" r:embed="rId2">
          <a:duotone>
            <a:schemeClr val="phClr">
              <a:shade val="30000"/>
              <a:satMod val="455000"/>
            </a:schemeClr>
            <a:schemeClr val="phClr">
              <a:tint val="95000"/>
              <a:satMod val="120000"/>
            </a:schemeClr>
          </a:duotone>
        </a:blip>
        <a:stretch>
          <a:fillRect/>
        </a:stretch>
      </a:blip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rek">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blipFill>
        <a:blip xmlns:r="http://schemas.openxmlformats.org/officeDocument/2006/relationships" r:embed="rId1">
          <a:duotone>
            <a:schemeClr val="phClr">
              <a:shade val="90000"/>
              <a:satMod val="150000"/>
            </a:schemeClr>
            <a:schemeClr val="phClr">
              <a:tint val="88000"/>
              <a:satMod val="105000"/>
            </a:schemeClr>
          </a:duotone>
        </a:blip>
        <a:tile tx="0" ty="0" sx="95000" sy="95000" flip="none" algn="t"/>
      </a:blipFill>
      <a:blipFill>
        <a:blip xmlns:r="http://schemas.openxmlformats.org/officeDocument/2006/relationships" r:embed="rId2">
          <a:duotone>
            <a:schemeClr val="phClr">
              <a:shade val="30000"/>
              <a:satMod val="455000"/>
            </a:schemeClr>
            <a:schemeClr val="phClr">
              <a:tint val="95000"/>
              <a:satMod val="120000"/>
            </a:schemeClr>
          </a:duotone>
        </a:blip>
        <a:stretch>
          <a:fillRect/>
        </a:stretch>
      </a:blipFill>
    </a:bgFillStyleLst>
  </a:fmtScheme>
</a:themeOverride>
</file>

<file path=docProps/app.xml><?xml version="1.0" encoding="utf-8"?>
<Properties xmlns="http://schemas.openxmlformats.org/officeDocument/2006/extended-properties" xmlns:vt="http://schemas.openxmlformats.org/officeDocument/2006/docPropsVTypes">
  <Template/>
  <TotalTime>2337</TotalTime>
  <Words>1251</Words>
  <Application>Microsoft Office PowerPoint</Application>
  <PresentationFormat>On-screen Show (4:3)</PresentationFormat>
  <Paragraphs>216</Paragraphs>
  <Slides>25</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7" baseType="lpstr">
      <vt:lpstr>Default Theme</vt:lpstr>
      <vt:lpstr>think-cell Slide</vt:lpstr>
      <vt:lpstr>Slide 1</vt:lpstr>
      <vt:lpstr>  Problem  </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Report of the National Advisory Committee</vt:lpstr>
      <vt:lpstr>Slide 17</vt:lpstr>
      <vt:lpstr>Slide 18</vt:lpstr>
      <vt:lpstr>Slide 19</vt:lpstr>
      <vt:lpstr>Slide 20</vt:lpstr>
      <vt:lpstr>Slide 21</vt:lpstr>
      <vt:lpstr>Slide 22</vt:lpstr>
      <vt:lpstr>Slide 23</vt:lpstr>
      <vt:lpstr>Slide 24</vt:lpstr>
      <vt:lpstr>Slide 2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ers Kabel</dc:creator>
  <cp:lastModifiedBy>User</cp:lastModifiedBy>
  <cp:revision>260</cp:revision>
  <dcterms:created xsi:type="dcterms:W3CDTF">2013-01-18T11:43:45Z</dcterms:created>
  <dcterms:modified xsi:type="dcterms:W3CDTF">2014-06-01T05:53:34Z</dcterms:modified>
</cp:coreProperties>
</file>